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5"/>
    <p:sldMasterId id="2147483655" r:id="rId6"/>
    <p:sldMasterId id="2147483662" r:id="rId7"/>
  </p:sldMasterIdLst>
  <p:notesMasterIdLst>
    <p:notesMasterId r:id="rId19"/>
  </p:notesMasterIdLst>
  <p:handoutMasterIdLst>
    <p:handoutMasterId r:id="rId20"/>
  </p:handoutMasterIdLst>
  <p:sldIdLst>
    <p:sldId id="1795" r:id="rId8"/>
    <p:sldId id="1819" r:id="rId9"/>
    <p:sldId id="1827" r:id="rId10"/>
    <p:sldId id="1828" r:id="rId11"/>
    <p:sldId id="1829" r:id="rId12"/>
    <p:sldId id="1931" r:id="rId13"/>
    <p:sldId id="1932" r:id="rId14"/>
    <p:sldId id="1830" r:id="rId15"/>
    <p:sldId id="1796" r:id="rId16"/>
    <p:sldId id="1831" r:id="rId17"/>
    <p:sldId id="1825" r:id="rId18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82" autoAdjust="0"/>
    <p:restoredTop sz="96182" autoAdjust="0"/>
  </p:normalViewPr>
  <p:slideViewPr>
    <p:cSldViewPr snapToGrid="0">
      <p:cViewPr varScale="1">
        <p:scale>
          <a:sx n="111" d="100"/>
          <a:sy n="111" d="100"/>
        </p:scale>
        <p:origin x="112" y="10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3/7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7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7380" y="727075"/>
            <a:ext cx="7754432" cy="5410955"/>
          </a:xfrm>
          <a:prstGeom prst="rect">
            <a:avLst/>
          </a:prstGeom>
        </p:spPr>
      </p:pic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37829"/>
            <a:ext cx="573072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681032" y="3979144"/>
            <a:ext cx="5730725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681032" y="1032093"/>
            <a:ext cx="5730725" cy="268983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29637"/>
            <a:ext cx="573072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7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4" name="组合 883"/>
          <p:cNvGrpSpPr/>
          <p:nvPr userDrawn="1"/>
        </p:nvGrpSpPr>
        <p:grpSpPr>
          <a:xfrm>
            <a:off x="1489176" y="971624"/>
            <a:ext cx="9213647" cy="5579937"/>
            <a:chOff x="3495675" y="3145028"/>
            <a:chExt cx="5136597" cy="3110808"/>
          </a:xfrm>
        </p:grpSpPr>
        <p:sp>
          <p:nvSpPr>
            <p:cNvPr id="230" name="任意多边形: 形状 229"/>
            <p:cNvSpPr/>
            <p:nvPr userDrawn="1"/>
          </p:nvSpPr>
          <p:spPr>
            <a:xfrm>
              <a:off x="3495675" y="3145028"/>
              <a:ext cx="5136597" cy="3110808"/>
            </a:xfrm>
            <a:custGeom>
              <a:avLst/>
              <a:gdLst>
                <a:gd name="connsiteX0" fmla="*/ 2463672 w 5200650"/>
                <a:gd name="connsiteY0" fmla="*/ 3146743 h 3149600"/>
                <a:gd name="connsiteX1" fmla="*/ 5197982 w 5200650"/>
                <a:gd name="connsiteY1" fmla="*/ 1550352 h 3149600"/>
                <a:gd name="connsiteX2" fmla="*/ 2471292 w 5200650"/>
                <a:gd name="connsiteY2" fmla="*/ 4763 h 3149600"/>
                <a:gd name="connsiteX3" fmla="*/ 1973452 w 5200650"/>
                <a:gd name="connsiteY3" fmla="*/ 205422 h 3149600"/>
                <a:gd name="connsiteX4" fmla="*/ 1312417 w 5200650"/>
                <a:gd name="connsiteY4" fmla="*/ 502602 h 3149600"/>
                <a:gd name="connsiteX5" fmla="*/ 1149222 w 5200650"/>
                <a:gd name="connsiteY5" fmla="*/ 940752 h 3149600"/>
                <a:gd name="connsiteX6" fmla="*/ 131317 w 5200650"/>
                <a:gd name="connsiteY6" fmla="*/ 1342072 h 3149600"/>
                <a:gd name="connsiteX7" fmla="*/ 153542 w 5200650"/>
                <a:gd name="connsiteY7" fmla="*/ 1839913 h 3149600"/>
                <a:gd name="connsiteX8" fmla="*/ 2463672 w 5200650"/>
                <a:gd name="connsiteY8" fmla="*/ 3146743 h 314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00650" h="3149600">
                  <a:moveTo>
                    <a:pt x="2463672" y="3146743"/>
                  </a:moveTo>
                  <a:lnTo>
                    <a:pt x="5197982" y="1550352"/>
                  </a:lnTo>
                  <a:lnTo>
                    <a:pt x="2471292" y="4763"/>
                  </a:lnTo>
                  <a:cubicBezTo>
                    <a:pt x="2411602" y="167958"/>
                    <a:pt x="2144267" y="205422"/>
                    <a:pt x="1973452" y="205422"/>
                  </a:cubicBezTo>
                  <a:cubicBezTo>
                    <a:pt x="1802637" y="205422"/>
                    <a:pt x="1260347" y="331788"/>
                    <a:pt x="1312417" y="502602"/>
                  </a:cubicBezTo>
                  <a:cubicBezTo>
                    <a:pt x="1364487" y="673417"/>
                    <a:pt x="1267967" y="844233"/>
                    <a:pt x="1149222" y="940752"/>
                  </a:cubicBezTo>
                  <a:cubicBezTo>
                    <a:pt x="1030477" y="1037272"/>
                    <a:pt x="428497" y="1193483"/>
                    <a:pt x="131317" y="1342072"/>
                  </a:cubicBezTo>
                  <a:cubicBezTo>
                    <a:pt x="-165863" y="1490663"/>
                    <a:pt x="153542" y="1839913"/>
                    <a:pt x="153542" y="1839913"/>
                  </a:cubicBezTo>
                  <a:lnTo>
                    <a:pt x="2463672" y="3146743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1" name="任意多边形: 形状 230"/>
            <p:cNvSpPr/>
            <p:nvPr userDrawn="1"/>
          </p:nvSpPr>
          <p:spPr>
            <a:xfrm>
              <a:off x="3667082" y="3346352"/>
              <a:ext cx="4108022" cy="2678054"/>
            </a:xfrm>
            <a:custGeom>
              <a:avLst/>
              <a:gdLst>
                <a:gd name="connsiteX0" fmla="*/ 2469198 w 4159250"/>
                <a:gd name="connsiteY0" fmla="*/ 2367598 h 2711450"/>
                <a:gd name="connsiteX1" fmla="*/ 4156393 w 4159250"/>
                <a:gd name="connsiteY1" fmla="*/ 1391603 h 2711450"/>
                <a:gd name="connsiteX2" fmla="*/ 1742123 w 4159250"/>
                <a:gd name="connsiteY2" fmla="*/ 4763 h 2711450"/>
                <a:gd name="connsiteX3" fmla="*/ 1683067 w 4159250"/>
                <a:gd name="connsiteY3" fmla="*/ 12383 h 2711450"/>
                <a:gd name="connsiteX4" fmla="*/ 2263458 w 4159250"/>
                <a:gd name="connsiteY4" fmla="*/ 345758 h 2711450"/>
                <a:gd name="connsiteX5" fmla="*/ 4763 w 4159250"/>
                <a:gd name="connsiteY5" fmla="*/ 1650683 h 2711450"/>
                <a:gd name="connsiteX6" fmla="*/ 40958 w 4159250"/>
                <a:gd name="connsiteY6" fmla="*/ 1671003 h 2711450"/>
                <a:gd name="connsiteX7" fmla="*/ 2299652 w 4159250"/>
                <a:gd name="connsiteY7" fmla="*/ 366713 h 2711450"/>
                <a:gd name="connsiteX8" fmla="*/ 2736533 w 4159250"/>
                <a:gd name="connsiteY8" fmla="*/ 617538 h 2711450"/>
                <a:gd name="connsiteX9" fmla="*/ 445452 w 4159250"/>
                <a:gd name="connsiteY9" fmla="*/ 1898967 h 2711450"/>
                <a:gd name="connsiteX10" fmla="*/ 482283 w 4159250"/>
                <a:gd name="connsiteY10" fmla="*/ 1919923 h 2711450"/>
                <a:gd name="connsiteX11" fmla="*/ 2772727 w 4159250"/>
                <a:gd name="connsiteY11" fmla="*/ 638492 h 2711450"/>
                <a:gd name="connsiteX12" fmla="*/ 3169602 w 4159250"/>
                <a:gd name="connsiteY12" fmla="*/ 866458 h 2711450"/>
                <a:gd name="connsiteX13" fmla="*/ 928052 w 4159250"/>
                <a:gd name="connsiteY13" fmla="*/ 2172018 h 2711450"/>
                <a:gd name="connsiteX14" fmla="*/ 964248 w 4159250"/>
                <a:gd name="connsiteY14" fmla="*/ 2192338 h 2711450"/>
                <a:gd name="connsiteX15" fmla="*/ 1524317 w 4159250"/>
                <a:gd name="connsiteY15" fmla="*/ 1865948 h 2711450"/>
                <a:gd name="connsiteX16" fmla="*/ 1927542 w 4159250"/>
                <a:gd name="connsiteY16" fmla="*/ 2097723 h 2711450"/>
                <a:gd name="connsiteX17" fmla="*/ 1363027 w 4159250"/>
                <a:gd name="connsiteY17" fmla="*/ 2417128 h 2711450"/>
                <a:gd name="connsiteX18" fmla="*/ 1399858 w 4159250"/>
                <a:gd name="connsiteY18" fmla="*/ 2438083 h 2711450"/>
                <a:gd name="connsiteX19" fmla="*/ 1964373 w 4159250"/>
                <a:gd name="connsiteY19" fmla="*/ 2119313 h 2711450"/>
                <a:gd name="connsiteX20" fmla="*/ 2396808 w 4159250"/>
                <a:gd name="connsiteY20" fmla="*/ 2368233 h 2711450"/>
                <a:gd name="connsiteX21" fmla="*/ 1842452 w 4159250"/>
                <a:gd name="connsiteY21" fmla="*/ 2688908 h 2711450"/>
                <a:gd name="connsiteX22" fmla="*/ 1878648 w 4159250"/>
                <a:gd name="connsiteY22" fmla="*/ 2709228 h 2711450"/>
                <a:gd name="connsiteX23" fmla="*/ 2432368 w 4159250"/>
                <a:gd name="connsiteY23" fmla="*/ 2389188 h 2711450"/>
                <a:gd name="connsiteX24" fmla="*/ 2831148 w 4159250"/>
                <a:gd name="connsiteY24" fmla="*/ 2618423 h 2711450"/>
                <a:gd name="connsiteX25" fmla="*/ 2867343 w 4159250"/>
                <a:gd name="connsiteY25" fmla="*/ 2597468 h 2711450"/>
                <a:gd name="connsiteX26" fmla="*/ 2469198 w 4159250"/>
                <a:gd name="connsiteY26" fmla="*/ 2367598 h 2711450"/>
                <a:gd name="connsiteX27" fmla="*/ 1561148 w 4159250"/>
                <a:gd name="connsiteY27" fmla="*/ 1845628 h 2711450"/>
                <a:gd name="connsiteX28" fmla="*/ 3206433 w 4159250"/>
                <a:gd name="connsiteY28" fmla="*/ 887413 h 2711450"/>
                <a:gd name="connsiteX29" fmla="*/ 3635693 w 4159250"/>
                <a:gd name="connsiteY29" fmla="*/ 1133792 h 2711450"/>
                <a:gd name="connsiteX30" fmla="*/ 1965642 w 4159250"/>
                <a:gd name="connsiteY30" fmla="*/ 2077403 h 2711450"/>
                <a:gd name="connsiteX31" fmla="*/ 1561148 w 4159250"/>
                <a:gd name="connsiteY31" fmla="*/ 1845628 h 2711450"/>
                <a:gd name="connsiteX32" fmla="*/ 2433002 w 4159250"/>
                <a:gd name="connsiteY32" fmla="*/ 2347278 h 2711450"/>
                <a:gd name="connsiteX33" fmla="*/ 2001202 w 4159250"/>
                <a:gd name="connsiteY33" fmla="*/ 2098993 h 2711450"/>
                <a:gd name="connsiteX34" fmla="*/ 3671252 w 4159250"/>
                <a:gd name="connsiteY34" fmla="*/ 1155383 h 2711450"/>
                <a:gd name="connsiteX35" fmla="*/ 4084637 w 4159250"/>
                <a:gd name="connsiteY35" fmla="*/ 1392873 h 2711450"/>
                <a:gd name="connsiteX36" fmla="*/ 2433002 w 4159250"/>
                <a:gd name="connsiteY36" fmla="*/ 2347278 h 271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159250" h="2711450">
                  <a:moveTo>
                    <a:pt x="2469198" y="2367598"/>
                  </a:moveTo>
                  <a:lnTo>
                    <a:pt x="4156393" y="1391603"/>
                  </a:lnTo>
                  <a:lnTo>
                    <a:pt x="1742123" y="4763"/>
                  </a:lnTo>
                  <a:cubicBezTo>
                    <a:pt x="1723708" y="6667"/>
                    <a:pt x="1704023" y="9208"/>
                    <a:pt x="1683067" y="12383"/>
                  </a:cubicBezTo>
                  <a:lnTo>
                    <a:pt x="2263458" y="345758"/>
                  </a:lnTo>
                  <a:lnTo>
                    <a:pt x="4763" y="1650683"/>
                  </a:lnTo>
                  <a:lnTo>
                    <a:pt x="40958" y="1671003"/>
                  </a:lnTo>
                  <a:lnTo>
                    <a:pt x="2299652" y="366713"/>
                  </a:lnTo>
                  <a:lnTo>
                    <a:pt x="2736533" y="617538"/>
                  </a:lnTo>
                  <a:lnTo>
                    <a:pt x="445452" y="1898967"/>
                  </a:lnTo>
                  <a:lnTo>
                    <a:pt x="482283" y="1919923"/>
                  </a:lnTo>
                  <a:lnTo>
                    <a:pt x="2772727" y="638492"/>
                  </a:lnTo>
                  <a:lnTo>
                    <a:pt x="3169602" y="866458"/>
                  </a:lnTo>
                  <a:lnTo>
                    <a:pt x="928052" y="2172018"/>
                  </a:lnTo>
                  <a:lnTo>
                    <a:pt x="964248" y="2192338"/>
                  </a:lnTo>
                  <a:lnTo>
                    <a:pt x="1524317" y="1865948"/>
                  </a:lnTo>
                  <a:lnTo>
                    <a:pt x="1927542" y="2097723"/>
                  </a:lnTo>
                  <a:lnTo>
                    <a:pt x="1363027" y="2417128"/>
                  </a:lnTo>
                  <a:lnTo>
                    <a:pt x="1399858" y="2438083"/>
                  </a:lnTo>
                  <a:lnTo>
                    <a:pt x="1964373" y="2119313"/>
                  </a:lnTo>
                  <a:lnTo>
                    <a:pt x="2396808" y="2368233"/>
                  </a:lnTo>
                  <a:lnTo>
                    <a:pt x="1842452" y="2688908"/>
                  </a:lnTo>
                  <a:lnTo>
                    <a:pt x="1878648" y="2709228"/>
                  </a:lnTo>
                  <a:lnTo>
                    <a:pt x="2432368" y="2389188"/>
                  </a:lnTo>
                  <a:lnTo>
                    <a:pt x="2831148" y="2618423"/>
                  </a:lnTo>
                  <a:lnTo>
                    <a:pt x="2867343" y="2597468"/>
                  </a:lnTo>
                  <a:lnTo>
                    <a:pt x="2469198" y="2367598"/>
                  </a:lnTo>
                  <a:close/>
                  <a:moveTo>
                    <a:pt x="1561148" y="1845628"/>
                  </a:moveTo>
                  <a:lnTo>
                    <a:pt x="3206433" y="887413"/>
                  </a:lnTo>
                  <a:lnTo>
                    <a:pt x="3635693" y="1133792"/>
                  </a:lnTo>
                  <a:lnTo>
                    <a:pt x="1965642" y="2077403"/>
                  </a:lnTo>
                  <a:lnTo>
                    <a:pt x="1561148" y="1845628"/>
                  </a:lnTo>
                  <a:close/>
                  <a:moveTo>
                    <a:pt x="2433002" y="2347278"/>
                  </a:moveTo>
                  <a:lnTo>
                    <a:pt x="2001202" y="2098993"/>
                  </a:lnTo>
                  <a:lnTo>
                    <a:pt x="3671252" y="1155383"/>
                  </a:lnTo>
                  <a:lnTo>
                    <a:pt x="4084637" y="1392873"/>
                  </a:lnTo>
                  <a:lnTo>
                    <a:pt x="2433002" y="234727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2" name="任意多边形: 形状 231"/>
            <p:cNvSpPr/>
            <p:nvPr/>
          </p:nvSpPr>
          <p:spPr>
            <a:xfrm>
              <a:off x="3668335" y="4812899"/>
              <a:ext cx="978398" cy="313590"/>
            </a:xfrm>
            <a:custGeom>
              <a:avLst/>
              <a:gdLst>
                <a:gd name="connsiteX0" fmla="*/ 525463 w 990600"/>
                <a:gd name="connsiteY0" fmla="*/ 264908 h 317500"/>
                <a:gd name="connsiteX1" fmla="*/ 763588 w 990600"/>
                <a:gd name="connsiteY1" fmla="*/ 200138 h 317500"/>
                <a:gd name="connsiteX2" fmla="*/ 985203 w 990600"/>
                <a:gd name="connsiteY2" fmla="*/ 89648 h 317500"/>
                <a:gd name="connsiteX3" fmla="*/ 915988 w 990600"/>
                <a:gd name="connsiteY3" fmla="*/ 24243 h 317500"/>
                <a:gd name="connsiteX4" fmla="*/ 289878 w 990600"/>
                <a:gd name="connsiteY4" fmla="*/ 69328 h 317500"/>
                <a:gd name="connsiteX5" fmla="*/ 4763 w 990600"/>
                <a:gd name="connsiteY5" fmla="*/ 165848 h 317500"/>
                <a:gd name="connsiteX6" fmla="*/ 274003 w 990600"/>
                <a:gd name="connsiteY6" fmla="*/ 317613 h 317500"/>
                <a:gd name="connsiteX7" fmla="*/ 525463 w 990600"/>
                <a:gd name="connsiteY7" fmla="*/ 264908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0600" h="317500">
                  <a:moveTo>
                    <a:pt x="525463" y="264908"/>
                  </a:moveTo>
                  <a:cubicBezTo>
                    <a:pt x="816292" y="235063"/>
                    <a:pt x="763588" y="200138"/>
                    <a:pt x="763588" y="200138"/>
                  </a:cubicBezTo>
                  <a:cubicBezTo>
                    <a:pt x="790257" y="228713"/>
                    <a:pt x="970597" y="134733"/>
                    <a:pt x="985203" y="89648"/>
                  </a:cubicBezTo>
                  <a:cubicBezTo>
                    <a:pt x="999807" y="45198"/>
                    <a:pt x="915988" y="24243"/>
                    <a:pt x="915988" y="24243"/>
                  </a:cubicBezTo>
                  <a:cubicBezTo>
                    <a:pt x="834072" y="-39257"/>
                    <a:pt x="501967" y="73138"/>
                    <a:pt x="289878" y="69328"/>
                  </a:cubicBezTo>
                  <a:cubicBezTo>
                    <a:pt x="228917" y="68058"/>
                    <a:pt x="105727" y="120128"/>
                    <a:pt x="4763" y="165848"/>
                  </a:cubicBezTo>
                  <a:lnTo>
                    <a:pt x="274003" y="317613"/>
                  </a:lnTo>
                  <a:cubicBezTo>
                    <a:pt x="371157" y="312533"/>
                    <a:pt x="435928" y="274433"/>
                    <a:pt x="525463" y="264908"/>
                  </a:cubicBezTo>
                  <a:close/>
                </a:path>
              </a:pathLst>
            </a:custGeom>
            <a:solidFill>
              <a:srgbClr val="CCD8EA">
                <a:alpha val="4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6" name="任意多边形: 形状 255"/>
            <p:cNvSpPr/>
            <p:nvPr/>
          </p:nvSpPr>
          <p:spPr>
            <a:xfrm>
              <a:off x="4330009" y="4646493"/>
              <a:ext cx="382579" cy="319861"/>
            </a:xfrm>
            <a:custGeom>
              <a:avLst/>
              <a:gdLst>
                <a:gd name="connsiteX0" fmla="*/ 315278 w 387350"/>
                <a:gd name="connsiteY0" fmla="*/ 258763 h 323850"/>
                <a:gd name="connsiteX1" fmla="*/ 251142 w 387350"/>
                <a:gd name="connsiteY1" fmla="*/ 314643 h 323850"/>
                <a:gd name="connsiteX2" fmla="*/ 101282 w 387350"/>
                <a:gd name="connsiteY2" fmla="*/ 295593 h 323850"/>
                <a:gd name="connsiteX3" fmla="*/ 4763 w 387350"/>
                <a:gd name="connsiteY3" fmla="*/ 28258 h 323850"/>
                <a:gd name="connsiteX4" fmla="*/ 388303 w 387350"/>
                <a:gd name="connsiteY4" fmla="*/ 4763 h 323850"/>
                <a:gd name="connsiteX5" fmla="*/ 315278 w 387350"/>
                <a:gd name="connsiteY5" fmla="*/ 258763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7350" h="323850">
                  <a:moveTo>
                    <a:pt x="315278" y="258763"/>
                  </a:moveTo>
                  <a:cubicBezTo>
                    <a:pt x="315278" y="258763"/>
                    <a:pt x="304482" y="299403"/>
                    <a:pt x="251142" y="314643"/>
                  </a:cubicBezTo>
                  <a:cubicBezTo>
                    <a:pt x="197803" y="329883"/>
                    <a:pt x="112078" y="319088"/>
                    <a:pt x="101282" y="295593"/>
                  </a:cubicBezTo>
                  <a:cubicBezTo>
                    <a:pt x="90488" y="272098"/>
                    <a:pt x="4763" y="28258"/>
                    <a:pt x="4763" y="28258"/>
                  </a:cubicBezTo>
                  <a:lnTo>
                    <a:pt x="388303" y="4763"/>
                  </a:lnTo>
                  <a:lnTo>
                    <a:pt x="315278" y="25876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7" name="任意多边形: 形状 256"/>
            <p:cNvSpPr/>
            <p:nvPr/>
          </p:nvSpPr>
          <p:spPr>
            <a:xfrm>
              <a:off x="4329580" y="4580846"/>
              <a:ext cx="388851" cy="188154"/>
            </a:xfrm>
            <a:custGeom>
              <a:avLst/>
              <a:gdLst>
                <a:gd name="connsiteX0" fmla="*/ 33136 w 393700"/>
                <a:gd name="connsiteY0" fmla="*/ 31858 h 190500"/>
                <a:gd name="connsiteX1" fmla="*/ 11545 w 393700"/>
                <a:gd name="connsiteY1" fmla="*/ 106788 h 190500"/>
                <a:gd name="connsiteX2" fmla="*/ 208396 w 393700"/>
                <a:gd name="connsiteY2" fmla="*/ 188068 h 190500"/>
                <a:gd name="connsiteX3" fmla="*/ 390640 w 393700"/>
                <a:gd name="connsiteY3" fmla="*/ 83293 h 190500"/>
                <a:gd name="connsiteX4" fmla="*/ 247130 w 393700"/>
                <a:gd name="connsiteY4" fmla="*/ 6458 h 190500"/>
                <a:gd name="connsiteX5" fmla="*/ 33136 w 393700"/>
                <a:gd name="connsiteY5" fmla="*/ 31858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700" h="190500">
                  <a:moveTo>
                    <a:pt x="33136" y="31858"/>
                  </a:moveTo>
                  <a:cubicBezTo>
                    <a:pt x="33136" y="31858"/>
                    <a:pt x="-11950" y="72498"/>
                    <a:pt x="11545" y="106788"/>
                  </a:cubicBezTo>
                  <a:cubicBezTo>
                    <a:pt x="35040" y="141078"/>
                    <a:pt x="129021" y="186163"/>
                    <a:pt x="208396" y="188068"/>
                  </a:cubicBezTo>
                  <a:cubicBezTo>
                    <a:pt x="287771" y="189973"/>
                    <a:pt x="381750" y="128378"/>
                    <a:pt x="390640" y="83293"/>
                  </a:cubicBezTo>
                  <a:cubicBezTo>
                    <a:pt x="398896" y="38208"/>
                    <a:pt x="343650" y="-4337"/>
                    <a:pt x="247130" y="6458"/>
                  </a:cubicBezTo>
                  <a:cubicBezTo>
                    <a:pt x="151246" y="17253"/>
                    <a:pt x="33136" y="31858"/>
                    <a:pt x="33136" y="31858"/>
                  </a:cubicBezTo>
                  <a:close/>
                </a:path>
              </a:pathLst>
            </a:custGeom>
            <a:solidFill>
              <a:srgbClr val="A7BBE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8" name="任意多边形: 形状 257"/>
            <p:cNvSpPr/>
            <p:nvPr/>
          </p:nvSpPr>
          <p:spPr>
            <a:xfrm>
              <a:off x="4269175" y="3512015"/>
              <a:ext cx="482928" cy="1216727"/>
            </a:xfrm>
            <a:custGeom>
              <a:avLst/>
              <a:gdLst>
                <a:gd name="connsiteX0" fmla="*/ 215579 w 488950"/>
                <a:gd name="connsiteY0" fmla="*/ 614909 h 1231900"/>
                <a:gd name="connsiteX1" fmla="*/ 178749 w 488950"/>
                <a:gd name="connsiteY1" fmla="*/ 321539 h 1231900"/>
                <a:gd name="connsiteX2" fmla="*/ 301939 w 488950"/>
                <a:gd name="connsiteY2" fmla="*/ 21184 h 1231900"/>
                <a:gd name="connsiteX3" fmla="*/ 352104 w 488950"/>
                <a:gd name="connsiteY3" fmla="*/ 411709 h 1231900"/>
                <a:gd name="connsiteX4" fmla="*/ 388934 w 488950"/>
                <a:gd name="connsiteY4" fmla="*/ 578714 h 1231900"/>
                <a:gd name="connsiteX5" fmla="*/ 479104 w 488950"/>
                <a:gd name="connsiteY5" fmla="*/ 605384 h 1231900"/>
                <a:gd name="connsiteX6" fmla="*/ 392109 w 488950"/>
                <a:gd name="connsiteY6" fmla="*/ 879069 h 1231900"/>
                <a:gd name="connsiteX7" fmla="*/ 435289 w 488950"/>
                <a:gd name="connsiteY7" fmla="*/ 935584 h 1231900"/>
                <a:gd name="connsiteX8" fmla="*/ 448624 w 488950"/>
                <a:gd name="connsiteY8" fmla="*/ 1105764 h 1231900"/>
                <a:gd name="connsiteX9" fmla="*/ 178114 w 488950"/>
                <a:gd name="connsiteY9" fmla="*/ 1209269 h 1231900"/>
                <a:gd name="connsiteX10" fmla="*/ 44764 w 488950"/>
                <a:gd name="connsiteY10" fmla="*/ 929234 h 1231900"/>
                <a:gd name="connsiteX11" fmla="*/ 127949 w 488950"/>
                <a:gd name="connsiteY11" fmla="*/ 922249 h 1231900"/>
                <a:gd name="connsiteX12" fmla="*/ 44764 w 488950"/>
                <a:gd name="connsiteY12" fmla="*/ 648564 h 1231900"/>
                <a:gd name="connsiteX13" fmla="*/ 215579 w 488950"/>
                <a:gd name="connsiteY13" fmla="*/ 614909 h 1231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8950" h="1231900">
                  <a:moveTo>
                    <a:pt x="215579" y="614909"/>
                  </a:moveTo>
                  <a:cubicBezTo>
                    <a:pt x="215579" y="614909"/>
                    <a:pt x="181924" y="451714"/>
                    <a:pt x="178749" y="321539"/>
                  </a:cubicBezTo>
                  <a:cubicBezTo>
                    <a:pt x="175574" y="191364"/>
                    <a:pt x="218754" y="-62001"/>
                    <a:pt x="301939" y="21184"/>
                  </a:cubicBezTo>
                  <a:cubicBezTo>
                    <a:pt x="385124" y="104369"/>
                    <a:pt x="362264" y="265024"/>
                    <a:pt x="352104" y="411709"/>
                  </a:cubicBezTo>
                  <a:cubicBezTo>
                    <a:pt x="341944" y="558394"/>
                    <a:pt x="345119" y="588239"/>
                    <a:pt x="388934" y="578714"/>
                  </a:cubicBezTo>
                  <a:cubicBezTo>
                    <a:pt x="432114" y="568554"/>
                    <a:pt x="475929" y="512039"/>
                    <a:pt x="479104" y="605384"/>
                  </a:cubicBezTo>
                  <a:cubicBezTo>
                    <a:pt x="482279" y="698729"/>
                    <a:pt x="462594" y="792074"/>
                    <a:pt x="392109" y="879069"/>
                  </a:cubicBezTo>
                  <a:cubicBezTo>
                    <a:pt x="322259" y="966064"/>
                    <a:pt x="395284" y="929234"/>
                    <a:pt x="435289" y="935584"/>
                  </a:cubicBezTo>
                  <a:cubicBezTo>
                    <a:pt x="475294" y="942569"/>
                    <a:pt x="518474" y="985749"/>
                    <a:pt x="448624" y="1105764"/>
                  </a:cubicBezTo>
                  <a:cubicBezTo>
                    <a:pt x="378774" y="1225779"/>
                    <a:pt x="340039" y="1254989"/>
                    <a:pt x="178114" y="1209269"/>
                  </a:cubicBezTo>
                  <a:cubicBezTo>
                    <a:pt x="10474" y="1161644"/>
                    <a:pt x="-39056" y="935584"/>
                    <a:pt x="44764" y="929234"/>
                  </a:cubicBezTo>
                  <a:cubicBezTo>
                    <a:pt x="127949" y="922249"/>
                    <a:pt x="127949" y="922249"/>
                    <a:pt x="127949" y="922249"/>
                  </a:cubicBezTo>
                  <a:cubicBezTo>
                    <a:pt x="127949" y="922249"/>
                    <a:pt x="14284" y="741909"/>
                    <a:pt x="44764" y="648564"/>
                  </a:cubicBezTo>
                  <a:cubicBezTo>
                    <a:pt x="75244" y="554584"/>
                    <a:pt x="119059" y="517754"/>
                    <a:pt x="215579" y="61490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8" name="任意多边形: 形状 277"/>
            <p:cNvSpPr/>
            <p:nvPr/>
          </p:nvSpPr>
          <p:spPr>
            <a:xfrm>
              <a:off x="8182768" y="4985800"/>
              <a:ext cx="50174" cy="137980"/>
            </a:xfrm>
            <a:custGeom>
              <a:avLst/>
              <a:gdLst>
                <a:gd name="connsiteX0" fmla="*/ 4762 w 50800"/>
                <a:gd name="connsiteY0" fmla="*/ 4763 h 139700"/>
                <a:gd name="connsiteX1" fmla="*/ 46672 w 50800"/>
                <a:gd name="connsiteY1" fmla="*/ 4763 h 139700"/>
                <a:gd name="connsiteX2" fmla="*/ 46672 w 50800"/>
                <a:gd name="connsiteY2" fmla="*/ 138747 h 139700"/>
                <a:gd name="connsiteX3" fmla="*/ 4762 w 50800"/>
                <a:gd name="connsiteY3" fmla="*/ 138747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9700">
                  <a:moveTo>
                    <a:pt x="4762" y="4763"/>
                  </a:moveTo>
                  <a:lnTo>
                    <a:pt x="46672" y="4763"/>
                  </a:lnTo>
                  <a:lnTo>
                    <a:pt x="46672" y="138747"/>
                  </a:lnTo>
                  <a:lnTo>
                    <a:pt x="4762" y="138747"/>
                  </a:lnTo>
                  <a:close/>
                </a:path>
              </a:pathLst>
            </a:custGeom>
            <a:solidFill>
              <a:srgbClr val="47476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9" name="任意多边形: 形状 278"/>
            <p:cNvSpPr/>
            <p:nvPr/>
          </p:nvSpPr>
          <p:spPr>
            <a:xfrm>
              <a:off x="8203484" y="4624544"/>
              <a:ext cx="144251" cy="395123"/>
            </a:xfrm>
            <a:custGeom>
              <a:avLst/>
              <a:gdLst>
                <a:gd name="connsiteX0" fmla="*/ 4763 w 146050"/>
                <a:gd name="connsiteY0" fmla="*/ 4763 h 400050"/>
                <a:gd name="connsiteX1" fmla="*/ 4763 w 146050"/>
                <a:gd name="connsiteY1" fmla="*/ 399098 h 400050"/>
                <a:gd name="connsiteX2" fmla="*/ 142557 w 146050"/>
                <a:gd name="connsiteY2" fmla="*/ 319088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6050" h="400050">
                  <a:moveTo>
                    <a:pt x="4763" y="4763"/>
                  </a:moveTo>
                  <a:lnTo>
                    <a:pt x="4763" y="399098"/>
                  </a:lnTo>
                  <a:lnTo>
                    <a:pt x="142557" y="31908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0" name="任意多边形: 形状 279"/>
            <p:cNvSpPr/>
            <p:nvPr/>
          </p:nvSpPr>
          <p:spPr>
            <a:xfrm>
              <a:off x="8067372" y="4624547"/>
              <a:ext cx="144251" cy="395123"/>
            </a:xfrm>
            <a:custGeom>
              <a:avLst/>
              <a:gdLst>
                <a:gd name="connsiteX0" fmla="*/ 142557 w 146050"/>
                <a:gd name="connsiteY0" fmla="*/ 4763 h 400050"/>
                <a:gd name="connsiteX1" fmla="*/ 142557 w 146050"/>
                <a:gd name="connsiteY1" fmla="*/ 399098 h 400050"/>
                <a:gd name="connsiteX2" fmla="*/ 4763 w 146050"/>
                <a:gd name="connsiteY2" fmla="*/ 319088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6050" h="400050">
                  <a:moveTo>
                    <a:pt x="142557" y="4763"/>
                  </a:moveTo>
                  <a:lnTo>
                    <a:pt x="142557" y="399098"/>
                  </a:lnTo>
                  <a:lnTo>
                    <a:pt x="4763" y="319088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3382962" y="1967228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2" y="4273464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2" y="3977193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7380" y="727075"/>
            <a:ext cx="7754432" cy="5410955"/>
          </a:xfrm>
          <a:prstGeom prst="rect">
            <a:avLst/>
          </a:prstGeom>
        </p:spPr>
      </p:pic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37829"/>
            <a:ext cx="573072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681032" y="3979144"/>
            <a:ext cx="5730725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681032" y="1032093"/>
            <a:ext cx="5730725" cy="268983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29637"/>
            <a:ext cx="573072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355326" y="3955773"/>
            <a:ext cx="4159174" cy="2902225"/>
          </a:xfrm>
          <a:prstGeom prst="rect">
            <a:avLst/>
          </a:prstGeom>
        </p:spPr>
      </p:pic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094884" y="204480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096000" y="294015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237EB-A3C6-44D5-93C2-8B74AEFB7DE8}" type="datetime1">
              <a:rPr lang="zh-CN" altLang="en-US" smtClean="0"/>
              <a:t>2023/7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2" y="719970"/>
            <a:ext cx="7754432" cy="5410955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5726527" y="1130301"/>
            <a:ext cx="5793959" cy="3107202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726527" y="4922229"/>
            <a:ext cx="579395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5726529" y="4625958"/>
            <a:ext cx="579395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5504656" y="6438900"/>
            <a:ext cx="1802924" cy="215900"/>
          </a:xfrm>
        </p:spPr>
        <p:txBody>
          <a:bodyPr/>
          <a:lstStyle/>
          <a:p>
            <a:fld id="{89FE6259-6234-4DBA-A737-C869FCC90CD2}" type="datetime1">
              <a:rPr lang="zh-CN" altLang="en-US" smtClean="0"/>
              <a:t>2023/7/23</a:t>
            </a:fld>
            <a:endParaRPr lang="zh-CN" alt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0401" y="6438900"/>
            <a:ext cx="3992171" cy="2159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57452" y="6438900"/>
            <a:ext cx="2661448" cy="215900"/>
          </a:xfrm>
        </p:spPr>
        <p:txBody>
          <a:bodyPr/>
          <a:lstStyle/>
          <a:p>
            <a:fld id="{7F65B630-C7FF-41C0-9923-C5E5E29EED8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355326" y="3955773"/>
            <a:ext cx="4159174" cy="2902225"/>
          </a:xfrm>
          <a:prstGeom prst="rect">
            <a:avLst/>
          </a:prstGeom>
        </p:spPr>
      </p:pic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094884" y="204480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096000" y="294015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237EB-A3C6-44D5-93C2-8B74AEFB7DE8}" type="datetime1">
              <a:rPr lang="zh-CN" altLang="en-US" smtClean="0"/>
              <a:t>2023/7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2" y="719970"/>
            <a:ext cx="7754432" cy="5410955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5726527" y="1130301"/>
            <a:ext cx="5793959" cy="3107202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726527" y="4922229"/>
            <a:ext cx="579395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5726529" y="4625958"/>
            <a:ext cx="579395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45" name="组合 10644"/>
          <p:cNvGrpSpPr/>
          <p:nvPr userDrawn="1"/>
        </p:nvGrpSpPr>
        <p:grpSpPr>
          <a:xfrm>
            <a:off x="5397183" y="1077277"/>
            <a:ext cx="6160135" cy="5402581"/>
            <a:chOff x="5397183" y="1077277"/>
            <a:chExt cx="6160135" cy="5402581"/>
          </a:xfrm>
        </p:grpSpPr>
        <p:sp>
          <p:nvSpPr>
            <p:cNvPr id="5" name="任意多边形: 形状 4"/>
            <p:cNvSpPr/>
            <p:nvPr/>
          </p:nvSpPr>
          <p:spPr>
            <a:xfrm>
              <a:off x="5748972" y="3690303"/>
              <a:ext cx="44450" cy="31750"/>
            </a:xfrm>
            <a:custGeom>
              <a:avLst/>
              <a:gdLst>
                <a:gd name="connsiteX0" fmla="*/ 44133 w 44450"/>
                <a:gd name="connsiteY0" fmla="*/ 27622 h 31750"/>
                <a:gd name="connsiteX1" fmla="*/ 7303 w 44450"/>
                <a:gd name="connsiteY1" fmla="*/ 6032 h 31750"/>
                <a:gd name="connsiteX2" fmla="*/ 4763 w 44450"/>
                <a:gd name="connsiteY2" fmla="*/ 4763 h 31750"/>
                <a:gd name="connsiteX3" fmla="*/ 41593 w 44450"/>
                <a:gd name="connsiteY3" fmla="*/ 26352 h 31750"/>
                <a:gd name="connsiteX4" fmla="*/ 44133 w 44450"/>
                <a:gd name="connsiteY4" fmla="*/ 2762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7622"/>
                  </a:moveTo>
                  <a:lnTo>
                    <a:pt x="7303" y="6032"/>
                  </a:lnTo>
                  <a:cubicBezTo>
                    <a:pt x="6668" y="5397"/>
                    <a:pt x="6033" y="5397"/>
                    <a:pt x="4763" y="4763"/>
                  </a:cubicBezTo>
                  <a:lnTo>
                    <a:pt x="41593" y="26352"/>
                  </a:lnTo>
                  <a:cubicBezTo>
                    <a:pt x="42228" y="26988"/>
                    <a:pt x="42863" y="26988"/>
                    <a:pt x="44133" y="2762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/>
            <p:cNvSpPr/>
            <p:nvPr/>
          </p:nvSpPr>
          <p:spPr>
            <a:xfrm>
              <a:off x="5747067" y="3689667"/>
              <a:ext cx="44450" cy="31750"/>
            </a:xfrm>
            <a:custGeom>
              <a:avLst/>
              <a:gdLst>
                <a:gd name="connsiteX0" fmla="*/ 43498 w 44450"/>
                <a:gd name="connsiteY0" fmla="*/ 26988 h 31750"/>
                <a:gd name="connsiteX1" fmla="*/ 6667 w 44450"/>
                <a:gd name="connsiteY1" fmla="*/ 5398 h 31750"/>
                <a:gd name="connsiteX2" fmla="*/ 4763 w 44450"/>
                <a:gd name="connsiteY2" fmla="*/ 4763 h 31750"/>
                <a:gd name="connsiteX3" fmla="*/ 41592 w 44450"/>
                <a:gd name="connsiteY3" fmla="*/ 26353 h 31750"/>
                <a:gd name="connsiteX4" fmla="*/ 43498 w 44450"/>
                <a:gd name="connsiteY4" fmla="*/ 26988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988"/>
                  </a:moveTo>
                  <a:lnTo>
                    <a:pt x="6667" y="5398"/>
                  </a:lnTo>
                  <a:cubicBezTo>
                    <a:pt x="6033" y="5398"/>
                    <a:pt x="5398" y="4763"/>
                    <a:pt x="4763" y="4763"/>
                  </a:cubicBezTo>
                  <a:lnTo>
                    <a:pt x="41592" y="26353"/>
                  </a:lnTo>
                  <a:cubicBezTo>
                    <a:pt x="42228" y="26988"/>
                    <a:pt x="42863" y="26988"/>
                    <a:pt x="43498" y="2698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/>
            <p:cNvSpPr/>
            <p:nvPr/>
          </p:nvSpPr>
          <p:spPr>
            <a:xfrm>
              <a:off x="5745163" y="3690303"/>
              <a:ext cx="44450" cy="25400"/>
            </a:xfrm>
            <a:custGeom>
              <a:avLst/>
              <a:gdLst>
                <a:gd name="connsiteX0" fmla="*/ 43497 w 44450"/>
                <a:gd name="connsiteY0" fmla="*/ 26352 h 25400"/>
                <a:gd name="connsiteX1" fmla="*/ 6667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3497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7" y="26352"/>
                  </a:moveTo>
                  <a:lnTo>
                    <a:pt x="6667" y="4763"/>
                  </a:lnTo>
                  <a:cubicBezTo>
                    <a:pt x="6033" y="4763"/>
                    <a:pt x="5397" y="4763"/>
                    <a:pt x="4763" y="4763"/>
                  </a:cubicBezTo>
                  <a:lnTo>
                    <a:pt x="41592" y="26352"/>
                  </a:lnTo>
                  <a:cubicBezTo>
                    <a:pt x="42228" y="25717"/>
                    <a:pt x="42863" y="25717"/>
                    <a:pt x="4349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/>
            <p:cNvSpPr/>
            <p:nvPr/>
          </p:nvSpPr>
          <p:spPr>
            <a:xfrm>
              <a:off x="5743892" y="3689667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4763" y="4763"/>
                    <a:pt x="4763" y="4763"/>
                  </a:cubicBezTo>
                  <a:lnTo>
                    <a:pt x="41592" y="26353"/>
                  </a:lnTo>
                  <a:cubicBezTo>
                    <a:pt x="42228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/>
            <p:cNvSpPr/>
            <p:nvPr/>
          </p:nvSpPr>
          <p:spPr>
            <a:xfrm>
              <a:off x="5742622" y="3689667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3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4763"/>
                  </a:cubicBezTo>
                  <a:lnTo>
                    <a:pt x="41593" y="26353"/>
                  </a:lnTo>
                  <a:cubicBezTo>
                    <a:pt x="41593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/>
            <p:cNvSpPr/>
            <p:nvPr/>
          </p:nvSpPr>
          <p:spPr>
            <a:xfrm>
              <a:off x="5741353" y="3689667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2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3"/>
                  </a:lnTo>
                  <a:cubicBezTo>
                    <a:pt x="41592" y="26353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/>
            <p:cNvSpPr/>
            <p:nvPr/>
          </p:nvSpPr>
          <p:spPr>
            <a:xfrm>
              <a:off x="5740083" y="3689667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3"/>
                  </a:lnTo>
                  <a:cubicBezTo>
                    <a:pt x="41592" y="26988"/>
                    <a:pt x="42227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/>
          </p:nvSpPr>
          <p:spPr>
            <a:xfrm>
              <a:off x="5738813" y="3690303"/>
              <a:ext cx="44450" cy="25400"/>
            </a:xfrm>
            <a:custGeom>
              <a:avLst/>
              <a:gdLst>
                <a:gd name="connsiteX0" fmla="*/ 42863 w 44450"/>
                <a:gd name="connsiteY0" fmla="*/ 26352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2863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2"/>
                  </a:lnTo>
                  <a:cubicBezTo>
                    <a:pt x="41592" y="26352"/>
                    <a:pt x="42228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/>
          </p:nvSpPr>
          <p:spPr>
            <a:xfrm>
              <a:off x="5737542" y="369030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5397"/>
                  </a:cubicBezTo>
                  <a:lnTo>
                    <a:pt x="41592" y="26988"/>
                  </a:lnTo>
                  <a:cubicBezTo>
                    <a:pt x="41592" y="26988"/>
                    <a:pt x="42228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/>
          </p:nvSpPr>
          <p:spPr>
            <a:xfrm>
              <a:off x="5736272" y="3690938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3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5397"/>
                  </a:cubicBezTo>
                  <a:lnTo>
                    <a:pt x="41593" y="26988"/>
                  </a:lnTo>
                  <a:cubicBezTo>
                    <a:pt x="42228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/>
            <p:cNvSpPr/>
            <p:nvPr/>
          </p:nvSpPr>
          <p:spPr>
            <a:xfrm>
              <a:off x="5735003" y="3690938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2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5397" y="4763"/>
                    <a:pt x="4763" y="5397"/>
                  </a:cubicBezTo>
                  <a:lnTo>
                    <a:pt x="41592" y="26988"/>
                  </a:lnTo>
                  <a:cubicBezTo>
                    <a:pt x="42227" y="26988"/>
                    <a:pt x="42227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/>
            <p:cNvSpPr/>
            <p:nvPr/>
          </p:nvSpPr>
          <p:spPr>
            <a:xfrm>
              <a:off x="5734367" y="3691572"/>
              <a:ext cx="44450" cy="25400"/>
            </a:xfrm>
            <a:custGeom>
              <a:avLst/>
              <a:gdLst>
                <a:gd name="connsiteX0" fmla="*/ 42228 w 44450"/>
                <a:gd name="connsiteY0" fmla="*/ 26353 h 25400"/>
                <a:gd name="connsiteX1" fmla="*/ 5398 w 44450"/>
                <a:gd name="connsiteY1" fmla="*/ 4763 h 25400"/>
                <a:gd name="connsiteX2" fmla="*/ 4763 w 44450"/>
                <a:gd name="connsiteY2" fmla="*/ 4763 h 25400"/>
                <a:gd name="connsiteX3" fmla="*/ 42228 w 44450"/>
                <a:gd name="connsiteY3" fmla="*/ 26353 h 25400"/>
                <a:gd name="connsiteX4" fmla="*/ 42228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4763"/>
                    <a:pt x="5398" y="4763"/>
                    <a:pt x="4763" y="4763"/>
                  </a:cubicBezTo>
                  <a:lnTo>
                    <a:pt x="42228" y="26353"/>
                  </a:lnTo>
                  <a:cubicBezTo>
                    <a:pt x="42228" y="26353"/>
                    <a:pt x="42228" y="26353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/>
            <p:cNvSpPr/>
            <p:nvPr/>
          </p:nvSpPr>
          <p:spPr>
            <a:xfrm>
              <a:off x="5725478" y="3662363"/>
              <a:ext cx="44450" cy="31750"/>
            </a:xfrm>
            <a:custGeom>
              <a:avLst/>
              <a:gdLst>
                <a:gd name="connsiteX0" fmla="*/ 44132 w 44450"/>
                <a:gd name="connsiteY0" fmla="*/ 27622 h 31750"/>
                <a:gd name="connsiteX1" fmla="*/ 7302 w 44450"/>
                <a:gd name="connsiteY1" fmla="*/ 6033 h 31750"/>
                <a:gd name="connsiteX2" fmla="*/ 4763 w 44450"/>
                <a:gd name="connsiteY2" fmla="*/ 4763 h 31750"/>
                <a:gd name="connsiteX3" fmla="*/ 41592 w 44450"/>
                <a:gd name="connsiteY3" fmla="*/ 26353 h 31750"/>
                <a:gd name="connsiteX4" fmla="*/ 44132 w 44450"/>
                <a:gd name="connsiteY4" fmla="*/ 2762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2" y="27622"/>
                  </a:moveTo>
                  <a:lnTo>
                    <a:pt x="7302" y="6033"/>
                  </a:lnTo>
                  <a:cubicBezTo>
                    <a:pt x="6667" y="5397"/>
                    <a:pt x="6032" y="5397"/>
                    <a:pt x="4763" y="4763"/>
                  </a:cubicBezTo>
                  <a:lnTo>
                    <a:pt x="41592" y="26353"/>
                  </a:lnTo>
                  <a:cubicBezTo>
                    <a:pt x="42863" y="26988"/>
                    <a:pt x="43497" y="27622"/>
                    <a:pt x="44132" y="2762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/>
            <p:cNvSpPr/>
            <p:nvPr/>
          </p:nvSpPr>
          <p:spPr>
            <a:xfrm>
              <a:off x="5723572" y="3662363"/>
              <a:ext cx="44450" cy="31750"/>
            </a:xfrm>
            <a:custGeom>
              <a:avLst/>
              <a:gdLst>
                <a:gd name="connsiteX0" fmla="*/ 43498 w 44450"/>
                <a:gd name="connsiteY0" fmla="*/ 26988 h 31750"/>
                <a:gd name="connsiteX1" fmla="*/ 6668 w 44450"/>
                <a:gd name="connsiteY1" fmla="*/ 5397 h 31750"/>
                <a:gd name="connsiteX2" fmla="*/ 4763 w 44450"/>
                <a:gd name="connsiteY2" fmla="*/ 4763 h 31750"/>
                <a:gd name="connsiteX3" fmla="*/ 41593 w 44450"/>
                <a:gd name="connsiteY3" fmla="*/ 26353 h 31750"/>
                <a:gd name="connsiteX4" fmla="*/ 43498 w 44450"/>
                <a:gd name="connsiteY4" fmla="*/ 26988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988"/>
                  </a:moveTo>
                  <a:lnTo>
                    <a:pt x="6668" y="5397"/>
                  </a:lnTo>
                  <a:cubicBezTo>
                    <a:pt x="6033" y="5397"/>
                    <a:pt x="5398" y="4763"/>
                    <a:pt x="4763" y="4763"/>
                  </a:cubicBezTo>
                  <a:lnTo>
                    <a:pt x="41593" y="26353"/>
                  </a:lnTo>
                  <a:cubicBezTo>
                    <a:pt x="42228" y="26353"/>
                    <a:pt x="42863" y="26353"/>
                    <a:pt x="43498" y="2698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/>
            <p:cNvSpPr/>
            <p:nvPr/>
          </p:nvSpPr>
          <p:spPr>
            <a:xfrm>
              <a:off x="5721667" y="3662363"/>
              <a:ext cx="44450" cy="25400"/>
            </a:xfrm>
            <a:custGeom>
              <a:avLst/>
              <a:gdLst>
                <a:gd name="connsiteX0" fmla="*/ 43498 w 44450"/>
                <a:gd name="connsiteY0" fmla="*/ 26353 h 25400"/>
                <a:gd name="connsiteX1" fmla="*/ 6667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3498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8" y="26353"/>
                  </a:moveTo>
                  <a:lnTo>
                    <a:pt x="6667" y="4763"/>
                  </a:lnTo>
                  <a:cubicBezTo>
                    <a:pt x="6033" y="4763"/>
                    <a:pt x="5398" y="4763"/>
                    <a:pt x="4763" y="4763"/>
                  </a:cubicBezTo>
                  <a:lnTo>
                    <a:pt x="41592" y="26353"/>
                  </a:lnTo>
                  <a:cubicBezTo>
                    <a:pt x="42863" y="26353"/>
                    <a:pt x="42863" y="26353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/>
            <p:cNvSpPr/>
            <p:nvPr/>
          </p:nvSpPr>
          <p:spPr>
            <a:xfrm>
              <a:off x="5721033" y="3661728"/>
              <a:ext cx="44450" cy="25400"/>
            </a:xfrm>
            <a:custGeom>
              <a:avLst/>
              <a:gdLst>
                <a:gd name="connsiteX0" fmla="*/ 42863 w 44450"/>
                <a:gd name="connsiteY0" fmla="*/ 26352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2863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4763"/>
                    <a:pt x="4763" y="4763"/>
                    <a:pt x="4763" y="4763"/>
                  </a:cubicBezTo>
                  <a:lnTo>
                    <a:pt x="41592" y="26352"/>
                  </a:lnTo>
                  <a:cubicBezTo>
                    <a:pt x="41592" y="26352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/>
            <p:cNvSpPr/>
            <p:nvPr/>
          </p:nvSpPr>
          <p:spPr>
            <a:xfrm>
              <a:off x="5719128" y="3661728"/>
              <a:ext cx="44450" cy="25400"/>
            </a:xfrm>
            <a:custGeom>
              <a:avLst/>
              <a:gdLst>
                <a:gd name="connsiteX0" fmla="*/ 42863 w 44450"/>
                <a:gd name="connsiteY0" fmla="*/ 26352 h 25400"/>
                <a:gd name="connsiteX1" fmla="*/ 6032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2863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2"/>
                  </a:moveTo>
                  <a:lnTo>
                    <a:pt x="6032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2"/>
                  </a:lnTo>
                  <a:cubicBezTo>
                    <a:pt x="42227" y="26352"/>
                    <a:pt x="42863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/>
            <p:cNvSpPr/>
            <p:nvPr/>
          </p:nvSpPr>
          <p:spPr>
            <a:xfrm>
              <a:off x="5717858" y="3661728"/>
              <a:ext cx="44450" cy="25400"/>
            </a:xfrm>
            <a:custGeom>
              <a:avLst/>
              <a:gdLst>
                <a:gd name="connsiteX0" fmla="*/ 42863 w 44450"/>
                <a:gd name="connsiteY0" fmla="*/ 26352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2863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2"/>
                  </a:lnTo>
                  <a:cubicBezTo>
                    <a:pt x="42227" y="26988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/>
            <p:cNvSpPr/>
            <p:nvPr/>
          </p:nvSpPr>
          <p:spPr>
            <a:xfrm>
              <a:off x="5716588" y="3662363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3"/>
                  </a:lnTo>
                  <a:cubicBezTo>
                    <a:pt x="42228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/>
            <p:cNvSpPr/>
            <p:nvPr/>
          </p:nvSpPr>
          <p:spPr>
            <a:xfrm>
              <a:off x="5715317" y="3662363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4763"/>
                  </a:cubicBezTo>
                  <a:lnTo>
                    <a:pt x="41592" y="26353"/>
                  </a:lnTo>
                  <a:cubicBezTo>
                    <a:pt x="42228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/>
            <p:cNvSpPr/>
            <p:nvPr/>
          </p:nvSpPr>
          <p:spPr>
            <a:xfrm>
              <a:off x="5714047" y="3662363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3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5397"/>
                  </a:cubicBezTo>
                  <a:lnTo>
                    <a:pt x="41593" y="26988"/>
                  </a:lnTo>
                  <a:cubicBezTo>
                    <a:pt x="42228" y="26988"/>
                    <a:pt x="42863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/>
            <p:cNvSpPr/>
            <p:nvPr/>
          </p:nvSpPr>
          <p:spPr>
            <a:xfrm>
              <a:off x="5712778" y="366299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2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5397" y="4763"/>
                    <a:pt x="4763" y="5398"/>
                  </a:cubicBezTo>
                  <a:lnTo>
                    <a:pt x="41592" y="26988"/>
                  </a:lnTo>
                  <a:cubicBezTo>
                    <a:pt x="42227" y="26353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/>
            <p:cNvSpPr/>
            <p:nvPr/>
          </p:nvSpPr>
          <p:spPr>
            <a:xfrm>
              <a:off x="5711508" y="366299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5398"/>
                  </a:cubicBezTo>
                  <a:lnTo>
                    <a:pt x="41592" y="26988"/>
                  </a:lnTo>
                  <a:cubicBezTo>
                    <a:pt x="42227" y="26988"/>
                    <a:pt x="42863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/>
            <p:cNvSpPr/>
            <p:nvPr/>
          </p:nvSpPr>
          <p:spPr>
            <a:xfrm>
              <a:off x="5710872" y="366363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3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4763"/>
                    <a:pt x="5398" y="5397"/>
                    <a:pt x="4763" y="5397"/>
                  </a:cubicBezTo>
                  <a:lnTo>
                    <a:pt x="41593" y="26988"/>
                  </a:lnTo>
                  <a:cubicBezTo>
                    <a:pt x="41593" y="26988"/>
                    <a:pt x="42228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/>
            <p:cNvSpPr/>
            <p:nvPr/>
          </p:nvSpPr>
          <p:spPr>
            <a:xfrm>
              <a:off x="5709603" y="366426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2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5397" y="5398"/>
                    <a:pt x="4763" y="5398"/>
                  </a:cubicBezTo>
                  <a:lnTo>
                    <a:pt x="41592" y="26988"/>
                  </a:lnTo>
                  <a:cubicBezTo>
                    <a:pt x="41592" y="26988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2" name="任意多边形: 形状 9791"/>
            <p:cNvSpPr/>
            <p:nvPr/>
          </p:nvSpPr>
          <p:spPr>
            <a:xfrm>
              <a:off x="5708333" y="366490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4763"/>
                    <a:pt x="5397" y="5397"/>
                    <a:pt x="4763" y="5397"/>
                  </a:cubicBezTo>
                  <a:lnTo>
                    <a:pt x="41592" y="26988"/>
                  </a:lnTo>
                  <a:cubicBezTo>
                    <a:pt x="42227" y="26988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3" name="任意多边形: 形状 9792"/>
            <p:cNvSpPr/>
            <p:nvPr/>
          </p:nvSpPr>
          <p:spPr>
            <a:xfrm>
              <a:off x="5707697" y="3665538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5397 h 31750"/>
                <a:gd name="connsiteX3" fmla="*/ 4763 w 44450"/>
                <a:gd name="connsiteY3" fmla="*/ 5397 h 31750"/>
                <a:gd name="connsiteX4" fmla="*/ 41593 w 44450"/>
                <a:gd name="connsiteY4" fmla="*/ 26988 h 31750"/>
                <a:gd name="connsiteX5" fmla="*/ 41593 w 44450"/>
                <a:gd name="connsiteY5" fmla="*/ 26988 h 31750"/>
                <a:gd name="connsiteX6" fmla="*/ 42228 w 44450"/>
                <a:gd name="connsiteY6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4763"/>
                    <a:pt x="4763" y="5397"/>
                    <a:pt x="4763" y="5397"/>
                  </a:cubicBezTo>
                  <a:cubicBezTo>
                    <a:pt x="4763" y="5397"/>
                    <a:pt x="4763" y="5397"/>
                    <a:pt x="4763" y="5397"/>
                  </a:cubicBezTo>
                  <a:lnTo>
                    <a:pt x="41593" y="26988"/>
                  </a:lnTo>
                  <a:cubicBezTo>
                    <a:pt x="41593" y="26988"/>
                    <a:pt x="41593" y="26988"/>
                    <a:pt x="41593" y="26988"/>
                  </a:cubicBezTo>
                  <a:cubicBezTo>
                    <a:pt x="41593" y="26353"/>
                    <a:pt x="41593" y="26353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4" name="任意多边形: 形状 9793"/>
            <p:cNvSpPr/>
            <p:nvPr/>
          </p:nvSpPr>
          <p:spPr>
            <a:xfrm>
              <a:off x="5705792" y="366617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5398"/>
                    <a:pt x="4763" y="5398"/>
                  </a:cubicBezTo>
                  <a:lnTo>
                    <a:pt x="41592" y="26988"/>
                  </a:lnTo>
                  <a:cubicBezTo>
                    <a:pt x="42228" y="26988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5" name="任意多边形: 形状 9794"/>
            <p:cNvSpPr/>
            <p:nvPr/>
          </p:nvSpPr>
          <p:spPr>
            <a:xfrm>
              <a:off x="5704522" y="366680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3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4763"/>
                    <a:pt x="5398" y="5397"/>
                    <a:pt x="4763" y="5397"/>
                  </a:cubicBezTo>
                  <a:lnTo>
                    <a:pt x="41593" y="26988"/>
                  </a:lnTo>
                  <a:cubicBezTo>
                    <a:pt x="42228" y="26988"/>
                    <a:pt x="42228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6" name="任意多边形: 形状 9795"/>
            <p:cNvSpPr/>
            <p:nvPr/>
          </p:nvSpPr>
          <p:spPr>
            <a:xfrm>
              <a:off x="5703253" y="366744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2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5397" y="5398"/>
                    <a:pt x="4763" y="5398"/>
                  </a:cubicBezTo>
                  <a:lnTo>
                    <a:pt x="41592" y="26988"/>
                  </a:lnTo>
                  <a:cubicBezTo>
                    <a:pt x="42227" y="26988"/>
                    <a:pt x="42227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7" name="任意多边形: 形状 9796"/>
            <p:cNvSpPr/>
            <p:nvPr/>
          </p:nvSpPr>
          <p:spPr>
            <a:xfrm>
              <a:off x="5701983" y="3668713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5397"/>
                    <a:pt x="4763" y="6033"/>
                  </a:cubicBezTo>
                  <a:lnTo>
                    <a:pt x="41592" y="27622"/>
                  </a:lnTo>
                  <a:cubicBezTo>
                    <a:pt x="42227" y="26988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8" name="任意多边形: 形状 9797"/>
            <p:cNvSpPr/>
            <p:nvPr/>
          </p:nvSpPr>
          <p:spPr>
            <a:xfrm>
              <a:off x="5700713" y="366934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8"/>
                    <a:pt x="5397" y="5398"/>
                    <a:pt x="4763" y="6033"/>
                  </a:cubicBezTo>
                  <a:lnTo>
                    <a:pt x="41592" y="27623"/>
                  </a:lnTo>
                  <a:cubicBezTo>
                    <a:pt x="42228" y="26988"/>
                    <a:pt x="42228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9" name="任意多边形: 形状 9798"/>
            <p:cNvSpPr/>
            <p:nvPr/>
          </p:nvSpPr>
          <p:spPr>
            <a:xfrm>
              <a:off x="5699442" y="367061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5398"/>
                    <a:pt x="5398" y="5398"/>
                    <a:pt x="4763" y="6033"/>
                  </a:cubicBezTo>
                  <a:lnTo>
                    <a:pt x="41592" y="27623"/>
                  </a:lnTo>
                  <a:cubicBezTo>
                    <a:pt x="42228" y="26988"/>
                    <a:pt x="42228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0" name="任意多边形: 形状 9799"/>
            <p:cNvSpPr/>
            <p:nvPr/>
          </p:nvSpPr>
          <p:spPr>
            <a:xfrm>
              <a:off x="5698172" y="3671888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3 w 44450"/>
                <a:gd name="connsiteY3" fmla="*/ 27622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5397"/>
                    <a:pt x="5398" y="5397"/>
                    <a:pt x="4763" y="6033"/>
                  </a:cubicBezTo>
                  <a:lnTo>
                    <a:pt x="41593" y="27622"/>
                  </a:lnTo>
                  <a:cubicBezTo>
                    <a:pt x="42228" y="26988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3" name="任意多边形: 形状 9802"/>
            <p:cNvSpPr/>
            <p:nvPr/>
          </p:nvSpPr>
          <p:spPr>
            <a:xfrm>
              <a:off x="5696903" y="367315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2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2" y="4763"/>
                  </a:lnTo>
                  <a:cubicBezTo>
                    <a:pt x="5397" y="5397"/>
                    <a:pt x="5397" y="5397"/>
                    <a:pt x="4763" y="6033"/>
                  </a:cubicBezTo>
                  <a:lnTo>
                    <a:pt x="41592" y="27622"/>
                  </a:lnTo>
                  <a:cubicBezTo>
                    <a:pt x="42227" y="26988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4" name="任意多边形: 形状 9803"/>
            <p:cNvSpPr/>
            <p:nvPr/>
          </p:nvSpPr>
          <p:spPr>
            <a:xfrm>
              <a:off x="5695633" y="367442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6032 h 31750"/>
                <a:gd name="connsiteX3" fmla="*/ 41592 w 44450"/>
                <a:gd name="connsiteY3" fmla="*/ 2762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5397"/>
                    <a:pt x="5397" y="5397"/>
                    <a:pt x="4763" y="6032"/>
                  </a:cubicBezTo>
                  <a:lnTo>
                    <a:pt x="41592" y="27622"/>
                  </a:lnTo>
                  <a:cubicBezTo>
                    <a:pt x="42227" y="26988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5" name="任意多边形: 形状 9804"/>
            <p:cNvSpPr/>
            <p:nvPr/>
          </p:nvSpPr>
          <p:spPr>
            <a:xfrm>
              <a:off x="5694363" y="367569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8"/>
                    <a:pt x="5397" y="5398"/>
                    <a:pt x="4763" y="6033"/>
                  </a:cubicBezTo>
                  <a:lnTo>
                    <a:pt x="41592" y="27623"/>
                  </a:lnTo>
                  <a:cubicBezTo>
                    <a:pt x="42228" y="26988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6" name="任意多边形: 形状 9805"/>
            <p:cNvSpPr/>
            <p:nvPr/>
          </p:nvSpPr>
          <p:spPr>
            <a:xfrm>
              <a:off x="5693092" y="367696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5398"/>
                    <a:pt x="5398" y="5398"/>
                    <a:pt x="4763" y="6033"/>
                  </a:cubicBezTo>
                  <a:lnTo>
                    <a:pt x="41592" y="27623"/>
                  </a:lnTo>
                  <a:cubicBezTo>
                    <a:pt x="42228" y="26988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7" name="任意多边形: 形状 9806"/>
            <p:cNvSpPr/>
            <p:nvPr/>
          </p:nvSpPr>
          <p:spPr>
            <a:xfrm>
              <a:off x="5692458" y="3678238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7"/>
                    <a:pt x="5397" y="5397"/>
                    <a:pt x="4763" y="6033"/>
                  </a:cubicBezTo>
                  <a:lnTo>
                    <a:pt x="41592" y="27622"/>
                  </a:lnTo>
                  <a:cubicBezTo>
                    <a:pt x="41592" y="26988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8" name="任意多边形: 形状 9807"/>
            <p:cNvSpPr/>
            <p:nvPr/>
          </p:nvSpPr>
          <p:spPr>
            <a:xfrm>
              <a:off x="5692458" y="3679508"/>
              <a:ext cx="44450" cy="25400"/>
            </a:xfrm>
            <a:custGeom>
              <a:avLst/>
              <a:gdLst>
                <a:gd name="connsiteX0" fmla="*/ 41592 w 44450"/>
                <a:gd name="connsiteY0" fmla="*/ 26352 h 25400"/>
                <a:gd name="connsiteX1" fmla="*/ 476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1592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1592" y="26352"/>
                  </a:moveTo>
                  <a:lnTo>
                    <a:pt x="4763" y="4763"/>
                  </a:lnTo>
                  <a:lnTo>
                    <a:pt x="4763" y="4763"/>
                  </a:lnTo>
                  <a:lnTo>
                    <a:pt x="41592" y="26352"/>
                  </a:lnTo>
                  <a:lnTo>
                    <a:pt x="41592" y="26352"/>
                  </a:ln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9" name="任意多边形: 形状 9808"/>
            <p:cNvSpPr/>
            <p:nvPr/>
          </p:nvSpPr>
          <p:spPr>
            <a:xfrm>
              <a:off x="5681028" y="3660458"/>
              <a:ext cx="44450" cy="31750"/>
            </a:xfrm>
            <a:custGeom>
              <a:avLst/>
              <a:gdLst>
                <a:gd name="connsiteX0" fmla="*/ 44132 w 44450"/>
                <a:gd name="connsiteY0" fmla="*/ 27622 h 31750"/>
                <a:gd name="connsiteX1" fmla="*/ 7302 w 44450"/>
                <a:gd name="connsiteY1" fmla="*/ 6033 h 31750"/>
                <a:gd name="connsiteX2" fmla="*/ 4763 w 44450"/>
                <a:gd name="connsiteY2" fmla="*/ 4763 h 31750"/>
                <a:gd name="connsiteX3" fmla="*/ 41592 w 44450"/>
                <a:gd name="connsiteY3" fmla="*/ 26352 h 31750"/>
                <a:gd name="connsiteX4" fmla="*/ 44132 w 44450"/>
                <a:gd name="connsiteY4" fmla="*/ 2762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2" y="27622"/>
                  </a:moveTo>
                  <a:lnTo>
                    <a:pt x="7302" y="6033"/>
                  </a:lnTo>
                  <a:cubicBezTo>
                    <a:pt x="6667" y="5397"/>
                    <a:pt x="5397" y="5397"/>
                    <a:pt x="4763" y="4763"/>
                  </a:cubicBezTo>
                  <a:lnTo>
                    <a:pt x="41592" y="26352"/>
                  </a:lnTo>
                  <a:cubicBezTo>
                    <a:pt x="42863" y="26988"/>
                    <a:pt x="43497" y="26988"/>
                    <a:pt x="44132" y="2762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0" name="任意多边形: 形状 9809"/>
            <p:cNvSpPr/>
            <p:nvPr/>
          </p:nvSpPr>
          <p:spPr>
            <a:xfrm>
              <a:off x="5679122" y="3659822"/>
              <a:ext cx="44450" cy="31750"/>
            </a:xfrm>
            <a:custGeom>
              <a:avLst/>
              <a:gdLst>
                <a:gd name="connsiteX0" fmla="*/ 43498 w 44450"/>
                <a:gd name="connsiteY0" fmla="*/ 26988 h 31750"/>
                <a:gd name="connsiteX1" fmla="*/ 6668 w 44450"/>
                <a:gd name="connsiteY1" fmla="*/ 5398 h 31750"/>
                <a:gd name="connsiteX2" fmla="*/ 4763 w 44450"/>
                <a:gd name="connsiteY2" fmla="*/ 4763 h 31750"/>
                <a:gd name="connsiteX3" fmla="*/ 41593 w 44450"/>
                <a:gd name="connsiteY3" fmla="*/ 26353 h 31750"/>
                <a:gd name="connsiteX4" fmla="*/ 43498 w 44450"/>
                <a:gd name="connsiteY4" fmla="*/ 26988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988"/>
                  </a:moveTo>
                  <a:lnTo>
                    <a:pt x="6668" y="5398"/>
                  </a:lnTo>
                  <a:cubicBezTo>
                    <a:pt x="6033" y="5398"/>
                    <a:pt x="5398" y="4763"/>
                    <a:pt x="4763" y="4763"/>
                  </a:cubicBezTo>
                  <a:lnTo>
                    <a:pt x="41593" y="26353"/>
                  </a:lnTo>
                  <a:cubicBezTo>
                    <a:pt x="42228" y="26988"/>
                    <a:pt x="42863" y="26988"/>
                    <a:pt x="43498" y="2698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1" name="任意多边形: 形状 9810"/>
            <p:cNvSpPr/>
            <p:nvPr/>
          </p:nvSpPr>
          <p:spPr>
            <a:xfrm>
              <a:off x="5677217" y="3659822"/>
              <a:ext cx="44450" cy="25400"/>
            </a:xfrm>
            <a:custGeom>
              <a:avLst/>
              <a:gdLst>
                <a:gd name="connsiteX0" fmla="*/ 43498 w 44450"/>
                <a:gd name="connsiteY0" fmla="*/ 26353 h 25400"/>
                <a:gd name="connsiteX1" fmla="*/ 6667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3498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8" y="26353"/>
                  </a:moveTo>
                  <a:lnTo>
                    <a:pt x="6667" y="4763"/>
                  </a:lnTo>
                  <a:cubicBezTo>
                    <a:pt x="6033" y="4763"/>
                    <a:pt x="5398" y="4763"/>
                    <a:pt x="4763" y="4763"/>
                  </a:cubicBezTo>
                  <a:lnTo>
                    <a:pt x="41592" y="26353"/>
                  </a:lnTo>
                  <a:cubicBezTo>
                    <a:pt x="42228" y="26353"/>
                    <a:pt x="42863" y="26353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2" name="任意多边形: 形状 9811"/>
            <p:cNvSpPr/>
            <p:nvPr/>
          </p:nvSpPr>
          <p:spPr>
            <a:xfrm>
              <a:off x="5675947" y="3659822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3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4763" y="4763"/>
                    <a:pt x="4763" y="4763"/>
                  </a:cubicBezTo>
                  <a:lnTo>
                    <a:pt x="41593" y="26353"/>
                  </a:lnTo>
                  <a:cubicBezTo>
                    <a:pt x="41593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3" name="任意多边形: 形状 9812"/>
            <p:cNvSpPr/>
            <p:nvPr/>
          </p:nvSpPr>
          <p:spPr>
            <a:xfrm>
              <a:off x="5674678" y="3659822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2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4763" y="4763"/>
                    <a:pt x="4763" y="4763"/>
                  </a:cubicBezTo>
                  <a:lnTo>
                    <a:pt x="41592" y="26353"/>
                  </a:lnTo>
                  <a:cubicBezTo>
                    <a:pt x="41592" y="26353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4" name="任意多边形: 形状 9813"/>
            <p:cNvSpPr/>
            <p:nvPr/>
          </p:nvSpPr>
          <p:spPr>
            <a:xfrm>
              <a:off x="5672772" y="3659822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3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4763"/>
                  </a:cubicBezTo>
                  <a:lnTo>
                    <a:pt x="41593" y="26353"/>
                  </a:lnTo>
                  <a:cubicBezTo>
                    <a:pt x="42228" y="26353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5" name="任意多边形: 形状 9814"/>
            <p:cNvSpPr/>
            <p:nvPr/>
          </p:nvSpPr>
          <p:spPr>
            <a:xfrm>
              <a:off x="5671503" y="3659822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2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3"/>
                  </a:lnTo>
                  <a:cubicBezTo>
                    <a:pt x="42227" y="26353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6" name="任意多边形: 形状 9815"/>
            <p:cNvSpPr/>
            <p:nvPr/>
          </p:nvSpPr>
          <p:spPr>
            <a:xfrm>
              <a:off x="5670233" y="3659822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3"/>
                  </a:lnTo>
                  <a:cubicBezTo>
                    <a:pt x="42227" y="26988"/>
                    <a:pt x="42227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7" name="任意多边形: 形状 9816"/>
            <p:cNvSpPr/>
            <p:nvPr/>
          </p:nvSpPr>
          <p:spPr>
            <a:xfrm>
              <a:off x="5668963" y="366045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5397"/>
                  </a:cubicBezTo>
                  <a:lnTo>
                    <a:pt x="41592" y="26988"/>
                  </a:lnTo>
                  <a:cubicBezTo>
                    <a:pt x="41592" y="26352"/>
                    <a:pt x="42228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8" name="任意多边形: 形状 9817"/>
            <p:cNvSpPr/>
            <p:nvPr/>
          </p:nvSpPr>
          <p:spPr>
            <a:xfrm>
              <a:off x="5667692" y="366045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5397"/>
                  </a:cubicBezTo>
                  <a:lnTo>
                    <a:pt x="41592" y="26988"/>
                  </a:lnTo>
                  <a:cubicBezTo>
                    <a:pt x="41592" y="26988"/>
                    <a:pt x="42228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9" name="任意多边形: 形状 9818"/>
            <p:cNvSpPr/>
            <p:nvPr/>
          </p:nvSpPr>
          <p:spPr>
            <a:xfrm>
              <a:off x="5666422" y="366109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8 h 31750"/>
                <a:gd name="connsiteX3" fmla="*/ 41593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5398"/>
                  </a:cubicBezTo>
                  <a:lnTo>
                    <a:pt x="41593" y="26988"/>
                  </a:lnTo>
                  <a:cubicBezTo>
                    <a:pt x="41593" y="26988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0" name="任意多边形: 形状 9819"/>
            <p:cNvSpPr/>
            <p:nvPr/>
          </p:nvSpPr>
          <p:spPr>
            <a:xfrm>
              <a:off x="5665153" y="366172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2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2" y="4763"/>
                  </a:lnTo>
                  <a:cubicBezTo>
                    <a:pt x="5397" y="4763"/>
                    <a:pt x="5397" y="5397"/>
                    <a:pt x="4763" y="5397"/>
                  </a:cubicBezTo>
                  <a:lnTo>
                    <a:pt x="41592" y="26988"/>
                  </a:lnTo>
                  <a:cubicBezTo>
                    <a:pt x="41592" y="26352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1" name="任意多边形: 形状 9820"/>
            <p:cNvSpPr/>
            <p:nvPr/>
          </p:nvSpPr>
          <p:spPr>
            <a:xfrm>
              <a:off x="5663883" y="3662363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5397"/>
                    <a:pt x="4763" y="5397"/>
                  </a:cubicBezTo>
                  <a:lnTo>
                    <a:pt x="41592" y="26988"/>
                  </a:lnTo>
                  <a:cubicBezTo>
                    <a:pt x="41592" y="26353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2" name="任意多边形: 形状 9821"/>
            <p:cNvSpPr/>
            <p:nvPr/>
          </p:nvSpPr>
          <p:spPr>
            <a:xfrm>
              <a:off x="5662613" y="366299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5398"/>
                    <a:pt x="4763" y="5398"/>
                  </a:cubicBezTo>
                  <a:lnTo>
                    <a:pt x="41592" y="26988"/>
                  </a:lnTo>
                  <a:cubicBezTo>
                    <a:pt x="41592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3" name="任意多边形: 形状 9822"/>
            <p:cNvSpPr/>
            <p:nvPr/>
          </p:nvSpPr>
          <p:spPr>
            <a:xfrm>
              <a:off x="5661342" y="366363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763 w 44450"/>
                <a:gd name="connsiteY3" fmla="*/ 5397 h 31750"/>
                <a:gd name="connsiteX4" fmla="*/ 41592 w 44450"/>
                <a:gd name="connsiteY4" fmla="*/ 26988 h 31750"/>
                <a:gd name="connsiteX5" fmla="*/ 41592 w 44450"/>
                <a:gd name="connsiteY5" fmla="*/ 26988 h 31750"/>
                <a:gd name="connsiteX6" fmla="*/ 42863 w 44450"/>
                <a:gd name="connsiteY6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4763"/>
                    <a:pt x="5398" y="5397"/>
                    <a:pt x="4763" y="5397"/>
                  </a:cubicBezTo>
                  <a:cubicBezTo>
                    <a:pt x="4763" y="5397"/>
                    <a:pt x="4763" y="5397"/>
                    <a:pt x="4763" y="5397"/>
                  </a:cubicBezTo>
                  <a:lnTo>
                    <a:pt x="41592" y="26988"/>
                  </a:lnTo>
                  <a:cubicBezTo>
                    <a:pt x="41592" y="26988"/>
                    <a:pt x="41592" y="26988"/>
                    <a:pt x="41592" y="26988"/>
                  </a:cubicBezTo>
                  <a:cubicBezTo>
                    <a:pt x="42228" y="26352"/>
                    <a:pt x="42228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4" name="任意多边形: 形状 9823"/>
            <p:cNvSpPr/>
            <p:nvPr/>
          </p:nvSpPr>
          <p:spPr>
            <a:xfrm>
              <a:off x="5660072" y="366426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8 h 31750"/>
                <a:gd name="connsiteX3" fmla="*/ 41593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5398"/>
                    <a:pt x="4763" y="5398"/>
                  </a:cubicBezTo>
                  <a:lnTo>
                    <a:pt x="41593" y="26988"/>
                  </a:lnTo>
                  <a:cubicBezTo>
                    <a:pt x="41593" y="26988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5" name="任意多边形: 形状 9824"/>
            <p:cNvSpPr/>
            <p:nvPr/>
          </p:nvSpPr>
          <p:spPr>
            <a:xfrm>
              <a:off x="5658167" y="366490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4763"/>
                    <a:pt x="5398" y="5397"/>
                    <a:pt x="4763" y="5397"/>
                  </a:cubicBezTo>
                  <a:lnTo>
                    <a:pt x="41592" y="26988"/>
                  </a:lnTo>
                  <a:cubicBezTo>
                    <a:pt x="42228" y="26988"/>
                    <a:pt x="42863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6" name="任意多边形: 形状 9825"/>
            <p:cNvSpPr/>
            <p:nvPr/>
          </p:nvSpPr>
          <p:spPr>
            <a:xfrm>
              <a:off x="5656897" y="366617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3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5398"/>
                    <a:pt x="4763" y="6033"/>
                  </a:cubicBezTo>
                  <a:lnTo>
                    <a:pt x="41593" y="27623"/>
                  </a:lnTo>
                  <a:cubicBezTo>
                    <a:pt x="42228" y="26988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7" name="任意多边形: 形状 9826"/>
            <p:cNvSpPr/>
            <p:nvPr/>
          </p:nvSpPr>
          <p:spPr>
            <a:xfrm>
              <a:off x="5655628" y="366680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2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2" y="4763"/>
                  </a:lnTo>
                  <a:cubicBezTo>
                    <a:pt x="5397" y="5397"/>
                    <a:pt x="5397" y="5397"/>
                    <a:pt x="4763" y="6033"/>
                  </a:cubicBezTo>
                  <a:lnTo>
                    <a:pt x="41592" y="27622"/>
                  </a:lnTo>
                  <a:cubicBezTo>
                    <a:pt x="42227" y="26988"/>
                    <a:pt x="42227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8" name="任意多边形: 形状 9827"/>
            <p:cNvSpPr/>
            <p:nvPr/>
          </p:nvSpPr>
          <p:spPr>
            <a:xfrm>
              <a:off x="5654358" y="366807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6032 h 31750"/>
                <a:gd name="connsiteX3" fmla="*/ 41592 w 44450"/>
                <a:gd name="connsiteY3" fmla="*/ 2762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5397"/>
                    <a:pt x="5397" y="5397"/>
                    <a:pt x="4763" y="6032"/>
                  </a:cubicBezTo>
                  <a:lnTo>
                    <a:pt x="41592" y="27622"/>
                  </a:lnTo>
                  <a:cubicBezTo>
                    <a:pt x="42227" y="26988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9" name="任意多边形: 形状 9828"/>
            <p:cNvSpPr/>
            <p:nvPr/>
          </p:nvSpPr>
          <p:spPr>
            <a:xfrm>
              <a:off x="5653088" y="366934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8"/>
                    <a:pt x="4763" y="5398"/>
                    <a:pt x="4763" y="6033"/>
                  </a:cubicBezTo>
                  <a:lnTo>
                    <a:pt x="41592" y="27623"/>
                  </a:lnTo>
                  <a:cubicBezTo>
                    <a:pt x="41592" y="26988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0" name="任意多边形: 形状 9829"/>
            <p:cNvSpPr/>
            <p:nvPr/>
          </p:nvSpPr>
          <p:spPr>
            <a:xfrm>
              <a:off x="5651817" y="367061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5398"/>
                    <a:pt x="5398" y="5398"/>
                    <a:pt x="4763" y="6033"/>
                  </a:cubicBezTo>
                  <a:lnTo>
                    <a:pt x="41592" y="27623"/>
                  </a:lnTo>
                  <a:cubicBezTo>
                    <a:pt x="41592" y="26988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1" name="任意多边形: 形状 9830"/>
            <p:cNvSpPr/>
            <p:nvPr/>
          </p:nvSpPr>
          <p:spPr>
            <a:xfrm>
              <a:off x="5649913" y="3671888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7"/>
                    <a:pt x="5397" y="5397"/>
                    <a:pt x="4763" y="6033"/>
                  </a:cubicBezTo>
                  <a:lnTo>
                    <a:pt x="41592" y="27622"/>
                  </a:lnTo>
                  <a:cubicBezTo>
                    <a:pt x="42228" y="26988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2" name="任意多边形: 形状 9831"/>
            <p:cNvSpPr/>
            <p:nvPr/>
          </p:nvSpPr>
          <p:spPr>
            <a:xfrm>
              <a:off x="5648642" y="367315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5397"/>
                    <a:pt x="5398" y="5397"/>
                    <a:pt x="4763" y="6033"/>
                  </a:cubicBezTo>
                  <a:lnTo>
                    <a:pt x="41592" y="27622"/>
                  </a:lnTo>
                  <a:cubicBezTo>
                    <a:pt x="42228" y="26988"/>
                    <a:pt x="42228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3" name="任意多边形: 形状 9832"/>
            <p:cNvSpPr/>
            <p:nvPr/>
          </p:nvSpPr>
          <p:spPr>
            <a:xfrm>
              <a:off x="5648642" y="3674428"/>
              <a:ext cx="44450" cy="25400"/>
            </a:xfrm>
            <a:custGeom>
              <a:avLst/>
              <a:gdLst>
                <a:gd name="connsiteX0" fmla="*/ 41592 w 44450"/>
                <a:gd name="connsiteY0" fmla="*/ 26352 h 25400"/>
                <a:gd name="connsiteX1" fmla="*/ 476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1592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4763"/>
                    <a:pt x="4763" y="4763"/>
                    <a:pt x="4763" y="4763"/>
                  </a:cubicBezTo>
                  <a:lnTo>
                    <a:pt x="41592" y="26352"/>
                  </a:lnTo>
                  <a:cubicBezTo>
                    <a:pt x="41592" y="26352"/>
                    <a:pt x="41592" y="26352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4" name="任意多边形: 形状 9833"/>
            <p:cNvSpPr/>
            <p:nvPr/>
          </p:nvSpPr>
          <p:spPr>
            <a:xfrm>
              <a:off x="5621972" y="3626167"/>
              <a:ext cx="50800" cy="31750"/>
            </a:xfrm>
            <a:custGeom>
              <a:avLst/>
              <a:gdLst>
                <a:gd name="connsiteX0" fmla="*/ 47308 w 50800"/>
                <a:gd name="connsiteY0" fmla="*/ 28892 h 31750"/>
                <a:gd name="connsiteX1" fmla="*/ 10478 w 50800"/>
                <a:gd name="connsiteY1" fmla="*/ 7303 h 31750"/>
                <a:gd name="connsiteX2" fmla="*/ 4763 w 50800"/>
                <a:gd name="connsiteY2" fmla="*/ 4763 h 31750"/>
                <a:gd name="connsiteX3" fmla="*/ 41593 w 50800"/>
                <a:gd name="connsiteY3" fmla="*/ 26353 h 31750"/>
                <a:gd name="connsiteX4" fmla="*/ 47308 w 50800"/>
                <a:gd name="connsiteY4" fmla="*/ 2889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31750">
                  <a:moveTo>
                    <a:pt x="47308" y="28892"/>
                  </a:moveTo>
                  <a:lnTo>
                    <a:pt x="10478" y="7303"/>
                  </a:lnTo>
                  <a:cubicBezTo>
                    <a:pt x="8573" y="6033"/>
                    <a:pt x="6668" y="5398"/>
                    <a:pt x="4763" y="4763"/>
                  </a:cubicBezTo>
                  <a:lnTo>
                    <a:pt x="41593" y="26353"/>
                  </a:lnTo>
                  <a:cubicBezTo>
                    <a:pt x="43498" y="26988"/>
                    <a:pt x="45403" y="28258"/>
                    <a:pt x="47308" y="2889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5" name="任意多边形: 形状 9834"/>
            <p:cNvSpPr/>
            <p:nvPr/>
          </p:nvSpPr>
          <p:spPr>
            <a:xfrm>
              <a:off x="5616892" y="3624897"/>
              <a:ext cx="50800" cy="31750"/>
            </a:xfrm>
            <a:custGeom>
              <a:avLst/>
              <a:gdLst>
                <a:gd name="connsiteX0" fmla="*/ 46673 w 50800"/>
                <a:gd name="connsiteY0" fmla="*/ 27623 h 31750"/>
                <a:gd name="connsiteX1" fmla="*/ 9842 w 50800"/>
                <a:gd name="connsiteY1" fmla="*/ 6033 h 31750"/>
                <a:gd name="connsiteX2" fmla="*/ 4763 w 50800"/>
                <a:gd name="connsiteY2" fmla="*/ 4763 h 31750"/>
                <a:gd name="connsiteX3" fmla="*/ 41592 w 50800"/>
                <a:gd name="connsiteY3" fmla="*/ 26353 h 31750"/>
                <a:gd name="connsiteX4" fmla="*/ 46673 w 50800"/>
                <a:gd name="connsiteY4" fmla="*/ 2762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31750">
                  <a:moveTo>
                    <a:pt x="46673" y="27623"/>
                  </a:moveTo>
                  <a:lnTo>
                    <a:pt x="9842" y="6033"/>
                  </a:lnTo>
                  <a:cubicBezTo>
                    <a:pt x="7938" y="5398"/>
                    <a:pt x="6667" y="4763"/>
                    <a:pt x="4763" y="4763"/>
                  </a:cubicBezTo>
                  <a:lnTo>
                    <a:pt x="41592" y="26353"/>
                  </a:lnTo>
                  <a:cubicBezTo>
                    <a:pt x="42863" y="26353"/>
                    <a:pt x="44767" y="26988"/>
                    <a:pt x="46673" y="2762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6" name="任意多边形: 形状 9835"/>
            <p:cNvSpPr/>
            <p:nvPr/>
          </p:nvSpPr>
          <p:spPr>
            <a:xfrm>
              <a:off x="5612447" y="3624263"/>
              <a:ext cx="50800" cy="31750"/>
            </a:xfrm>
            <a:custGeom>
              <a:avLst/>
              <a:gdLst>
                <a:gd name="connsiteX0" fmla="*/ 46038 w 50800"/>
                <a:gd name="connsiteY0" fmla="*/ 26988 h 31750"/>
                <a:gd name="connsiteX1" fmla="*/ 9208 w 50800"/>
                <a:gd name="connsiteY1" fmla="*/ 5397 h 31750"/>
                <a:gd name="connsiteX2" fmla="*/ 4763 w 50800"/>
                <a:gd name="connsiteY2" fmla="*/ 4763 h 31750"/>
                <a:gd name="connsiteX3" fmla="*/ 41593 w 50800"/>
                <a:gd name="connsiteY3" fmla="*/ 26353 h 31750"/>
                <a:gd name="connsiteX4" fmla="*/ 46038 w 50800"/>
                <a:gd name="connsiteY4" fmla="*/ 26988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31750">
                  <a:moveTo>
                    <a:pt x="46038" y="26988"/>
                  </a:moveTo>
                  <a:lnTo>
                    <a:pt x="9208" y="5397"/>
                  </a:lnTo>
                  <a:cubicBezTo>
                    <a:pt x="7938" y="5397"/>
                    <a:pt x="6668" y="4763"/>
                    <a:pt x="4763" y="4763"/>
                  </a:cubicBezTo>
                  <a:lnTo>
                    <a:pt x="41593" y="26353"/>
                  </a:lnTo>
                  <a:cubicBezTo>
                    <a:pt x="42863" y="26353"/>
                    <a:pt x="44133" y="26353"/>
                    <a:pt x="46038" y="2698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7" name="任意多边形: 形状 9836"/>
            <p:cNvSpPr/>
            <p:nvPr/>
          </p:nvSpPr>
          <p:spPr>
            <a:xfrm>
              <a:off x="5608638" y="3624263"/>
              <a:ext cx="44450" cy="25400"/>
            </a:xfrm>
            <a:custGeom>
              <a:avLst/>
              <a:gdLst>
                <a:gd name="connsiteX0" fmla="*/ 45403 w 44450"/>
                <a:gd name="connsiteY0" fmla="*/ 26353 h 25400"/>
                <a:gd name="connsiteX1" fmla="*/ 8572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540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5403" y="26353"/>
                  </a:moveTo>
                  <a:lnTo>
                    <a:pt x="8572" y="4763"/>
                  </a:lnTo>
                  <a:cubicBezTo>
                    <a:pt x="7303" y="4763"/>
                    <a:pt x="6033" y="4763"/>
                    <a:pt x="4763" y="4763"/>
                  </a:cubicBezTo>
                  <a:lnTo>
                    <a:pt x="41592" y="26353"/>
                  </a:lnTo>
                  <a:cubicBezTo>
                    <a:pt x="42863" y="26353"/>
                    <a:pt x="44133" y="26353"/>
                    <a:pt x="4540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8" name="任意多边形: 形状 9837"/>
            <p:cNvSpPr/>
            <p:nvPr/>
          </p:nvSpPr>
          <p:spPr>
            <a:xfrm>
              <a:off x="5605463" y="3624263"/>
              <a:ext cx="44450" cy="25400"/>
            </a:xfrm>
            <a:custGeom>
              <a:avLst/>
              <a:gdLst>
                <a:gd name="connsiteX0" fmla="*/ 44767 w 44450"/>
                <a:gd name="connsiteY0" fmla="*/ 26353 h 25400"/>
                <a:gd name="connsiteX1" fmla="*/ 7938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4767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4763"/>
                    <a:pt x="5397" y="4763"/>
                    <a:pt x="4763" y="4763"/>
                  </a:cubicBezTo>
                  <a:lnTo>
                    <a:pt x="41592" y="26353"/>
                  </a:lnTo>
                  <a:cubicBezTo>
                    <a:pt x="42228" y="26353"/>
                    <a:pt x="43497" y="26353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9" name="任意多边形: 形状 9838"/>
            <p:cNvSpPr/>
            <p:nvPr/>
          </p:nvSpPr>
          <p:spPr>
            <a:xfrm>
              <a:off x="5601653" y="3624263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4763"/>
                    <a:pt x="5397" y="4763"/>
                    <a:pt x="4763" y="5397"/>
                  </a:cubicBezTo>
                  <a:lnTo>
                    <a:pt x="41592" y="26988"/>
                  </a:lnTo>
                  <a:cubicBezTo>
                    <a:pt x="42863" y="26353"/>
                    <a:pt x="44132" y="26353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0" name="任意多边形: 形状 9839"/>
            <p:cNvSpPr/>
            <p:nvPr/>
          </p:nvSpPr>
          <p:spPr>
            <a:xfrm>
              <a:off x="5598478" y="3624263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4763"/>
                    <a:pt x="6032" y="5397"/>
                    <a:pt x="4763" y="5397"/>
                  </a:cubicBezTo>
                  <a:lnTo>
                    <a:pt x="41592" y="26988"/>
                  </a:lnTo>
                  <a:cubicBezTo>
                    <a:pt x="42863" y="26988"/>
                    <a:pt x="43497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1" name="任意多边形: 形状 9840"/>
            <p:cNvSpPr/>
            <p:nvPr/>
          </p:nvSpPr>
          <p:spPr>
            <a:xfrm>
              <a:off x="5595303" y="3624897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4763"/>
                    <a:pt x="6032" y="5398"/>
                    <a:pt x="4763" y="5398"/>
                  </a:cubicBezTo>
                  <a:lnTo>
                    <a:pt x="41592" y="26988"/>
                  </a:lnTo>
                  <a:cubicBezTo>
                    <a:pt x="42863" y="26988"/>
                    <a:pt x="43497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2" name="任意多边形: 形状 9841"/>
            <p:cNvSpPr/>
            <p:nvPr/>
          </p:nvSpPr>
          <p:spPr>
            <a:xfrm>
              <a:off x="5592128" y="3625533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4763"/>
                    <a:pt x="6032" y="5397"/>
                    <a:pt x="4763" y="5397"/>
                  </a:cubicBezTo>
                  <a:lnTo>
                    <a:pt x="41592" y="26988"/>
                  </a:lnTo>
                  <a:cubicBezTo>
                    <a:pt x="42863" y="26988"/>
                    <a:pt x="43497" y="26988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3" name="任意多边形: 形状 9842"/>
            <p:cNvSpPr/>
            <p:nvPr/>
          </p:nvSpPr>
          <p:spPr>
            <a:xfrm>
              <a:off x="5588953" y="3626803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6032 h 31750"/>
                <a:gd name="connsiteX3" fmla="*/ 41592 w 44450"/>
                <a:gd name="connsiteY3" fmla="*/ 27622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4763"/>
                    <a:pt x="6032" y="5397"/>
                    <a:pt x="4763" y="6032"/>
                  </a:cubicBezTo>
                  <a:lnTo>
                    <a:pt x="41592" y="27622"/>
                  </a:lnTo>
                  <a:cubicBezTo>
                    <a:pt x="42863" y="26988"/>
                    <a:pt x="43497" y="26352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4" name="任意多边形: 形状 9843"/>
            <p:cNvSpPr/>
            <p:nvPr/>
          </p:nvSpPr>
          <p:spPr>
            <a:xfrm>
              <a:off x="5585778" y="3627438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5397"/>
                    <a:pt x="6032" y="5397"/>
                    <a:pt x="4763" y="6033"/>
                  </a:cubicBezTo>
                  <a:lnTo>
                    <a:pt x="41592" y="27622"/>
                  </a:lnTo>
                  <a:cubicBezTo>
                    <a:pt x="42863" y="26988"/>
                    <a:pt x="44132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5" name="任意多边形: 形状 9844"/>
            <p:cNvSpPr/>
            <p:nvPr/>
          </p:nvSpPr>
          <p:spPr>
            <a:xfrm>
              <a:off x="5582603" y="3628708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5397"/>
                    <a:pt x="6032" y="5397"/>
                    <a:pt x="4763" y="6033"/>
                  </a:cubicBezTo>
                  <a:lnTo>
                    <a:pt x="41592" y="27622"/>
                  </a:lnTo>
                  <a:cubicBezTo>
                    <a:pt x="42863" y="26988"/>
                    <a:pt x="44132" y="26988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6" name="任意多边形: 形状 9845"/>
            <p:cNvSpPr/>
            <p:nvPr/>
          </p:nvSpPr>
          <p:spPr>
            <a:xfrm>
              <a:off x="5580063" y="3629978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6032 h 31750"/>
                <a:gd name="connsiteX3" fmla="*/ 41592 w 44450"/>
                <a:gd name="connsiteY3" fmla="*/ 27622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5397"/>
                    <a:pt x="6033" y="5397"/>
                    <a:pt x="4763" y="6032"/>
                  </a:cubicBezTo>
                  <a:lnTo>
                    <a:pt x="41592" y="27622"/>
                  </a:lnTo>
                  <a:cubicBezTo>
                    <a:pt x="42228" y="27622"/>
                    <a:pt x="43497" y="26988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7" name="任意多边形: 形状 9846"/>
            <p:cNvSpPr/>
            <p:nvPr/>
          </p:nvSpPr>
          <p:spPr>
            <a:xfrm>
              <a:off x="5576888" y="3631247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6668 h 31750"/>
                <a:gd name="connsiteX3" fmla="*/ 41592 w 44450"/>
                <a:gd name="connsiteY3" fmla="*/ 2825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5398"/>
                    <a:pt x="6033" y="6033"/>
                    <a:pt x="4763" y="6668"/>
                  </a:cubicBezTo>
                  <a:lnTo>
                    <a:pt x="41592" y="28258"/>
                  </a:lnTo>
                  <a:cubicBezTo>
                    <a:pt x="42228" y="27623"/>
                    <a:pt x="43497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8" name="任意多边形: 形状 9847"/>
            <p:cNvSpPr/>
            <p:nvPr/>
          </p:nvSpPr>
          <p:spPr>
            <a:xfrm>
              <a:off x="5574347" y="3633153"/>
              <a:ext cx="44450" cy="31750"/>
            </a:xfrm>
            <a:custGeom>
              <a:avLst/>
              <a:gdLst>
                <a:gd name="connsiteX0" fmla="*/ 44133 w 44450"/>
                <a:gd name="connsiteY0" fmla="*/ 26352 h 31750"/>
                <a:gd name="connsiteX1" fmla="*/ 7303 w 44450"/>
                <a:gd name="connsiteY1" fmla="*/ 4763 h 31750"/>
                <a:gd name="connsiteX2" fmla="*/ 4763 w 44450"/>
                <a:gd name="connsiteY2" fmla="*/ 6032 h 31750"/>
                <a:gd name="connsiteX3" fmla="*/ 41593 w 44450"/>
                <a:gd name="connsiteY3" fmla="*/ 27622 h 31750"/>
                <a:gd name="connsiteX4" fmla="*/ 4413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6352"/>
                  </a:moveTo>
                  <a:lnTo>
                    <a:pt x="7303" y="4763"/>
                  </a:lnTo>
                  <a:cubicBezTo>
                    <a:pt x="6668" y="5397"/>
                    <a:pt x="5398" y="5397"/>
                    <a:pt x="4763" y="6032"/>
                  </a:cubicBezTo>
                  <a:lnTo>
                    <a:pt x="41593" y="27622"/>
                  </a:lnTo>
                  <a:cubicBezTo>
                    <a:pt x="42228" y="26988"/>
                    <a:pt x="43498" y="26988"/>
                    <a:pt x="4413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9" name="任意多边形: 形状 9848"/>
            <p:cNvSpPr/>
            <p:nvPr/>
          </p:nvSpPr>
          <p:spPr>
            <a:xfrm>
              <a:off x="5573713" y="3634422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7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7" y="4763"/>
                  </a:lnTo>
                  <a:cubicBezTo>
                    <a:pt x="5397" y="4763"/>
                    <a:pt x="4763" y="4763"/>
                    <a:pt x="4763" y="5398"/>
                  </a:cubicBezTo>
                  <a:lnTo>
                    <a:pt x="41592" y="26988"/>
                  </a:lnTo>
                  <a:cubicBezTo>
                    <a:pt x="41592" y="26988"/>
                    <a:pt x="42228" y="26353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0" name="任意多边形: 形状 9849"/>
            <p:cNvSpPr/>
            <p:nvPr/>
          </p:nvSpPr>
          <p:spPr>
            <a:xfrm>
              <a:off x="5570538" y="3635058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5397"/>
                    <a:pt x="6033" y="6033"/>
                    <a:pt x="4763" y="6667"/>
                  </a:cubicBezTo>
                  <a:lnTo>
                    <a:pt x="41592" y="28258"/>
                  </a:lnTo>
                  <a:cubicBezTo>
                    <a:pt x="42228" y="27622"/>
                    <a:pt x="43497" y="26988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1" name="任意多边形: 形状 9850"/>
            <p:cNvSpPr/>
            <p:nvPr/>
          </p:nvSpPr>
          <p:spPr>
            <a:xfrm>
              <a:off x="5567363" y="3636963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5397"/>
                    <a:pt x="6033" y="6033"/>
                    <a:pt x="4763" y="6667"/>
                  </a:cubicBezTo>
                  <a:lnTo>
                    <a:pt x="41592" y="28258"/>
                  </a:lnTo>
                  <a:cubicBezTo>
                    <a:pt x="42228" y="27622"/>
                    <a:pt x="43497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2" name="任意多边形: 形状 9851"/>
            <p:cNvSpPr/>
            <p:nvPr/>
          </p:nvSpPr>
          <p:spPr>
            <a:xfrm>
              <a:off x="5564188" y="3638867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2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5398"/>
                    <a:pt x="6033" y="6033"/>
                    <a:pt x="4763" y="7303"/>
                  </a:cubicBezTo>
                  <a:lnTo>
                    <a:pt x="41592" y="28892"/>
                  </a:lnTo>
                  <a:cubicBezTo>
                    <a:pt x="42228" y="28258"/>
                    <a:pt x="43497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3" name="任意多边形: 形状 9852"/>
            <p:cNvSpPr/>
            <p:nvPr/>
          </p:nvSpPr>
          <p:spPr>
            <a:xfrm>
              <a:off x="5560378" y="3641408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5397"/>
                    <a:pt x="5397" y="6667"/>
                    <a:pt x="4763" y="7302"/>
                  </a:cubicBezTo>
                  <a:lnTo>
                    <a:pt x="41592" y="28892"/>
                  </a:lnTo>
                  <a:cubicBezTo>
                    <a:pt x="42863" y="28258"/>
                    <a:pt x="44132" y="26988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4" name="任意多边形: 形状 9853"/>
            <p:cNvSpPr/>
            <p:nvPr/>
          </p:nvSpPr>
          <p:spPr>
            <a:xfrm>
              <a:off x="5557203" y="3643947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3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5398"/>
                    <a:pt x="5397" y="6668"/>
                    <a:pt x="4763" y="7303"/>
                  </a:cubicBezTo>
                  <a:lnTo>
                    <a:pt x="41592" y="28893"/>
                  </a:lnTo>
                  <a:cubicBezTo>
                    <a:pt x="42863" y="28258"/>
                    <a:pt x="43497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5" name="任意多边形: 形状 9854"/>
            <p:cNvSpPr/>
            <p:nvPr/>
          </p:nvSpPr>
          <p:spPr>
            <a:xfrm>
              <a:off x="5554028" y="3646488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5397" y="6667"/>
                    <a:pt x="4763" y="7938"/>
                  </a:cubicBezTo>
                  <a:lnTo>
                    <a:pt x="41592" y="29528"/>
                  </a:lnTo>
                  <a:cubicBezTo>
                    <a:pt x="42227" y="28258"/>
                    <a:pt x="43497" y="27622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6" name="任意多边形: 形状 9855"/>
            <p:cNvSpPr/>
            <p:nvPr/>
          </p:nvSpPr>
          <p:spPr>
            <a:xfrm>
              <a:off x="5550853" y="3649663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5397" y="6667"/>
                    <a:pt x="4763" y="7938"/>
                  </a:cubicBezTo>
                  <a:lnTo>
                    <a:pt x="41592" y="29528"/>
                  </a:lnTo>
                  <a:cubicBezTo>
                    <a:pt x="42227" y="28258"/>
                    <a:pt x="43497" y="27622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7" name="任意多边形: 形状 9856"/>
            <p:cNvSpPr/>
            <p:nvPr/>
          </p:nvSpPr>
          <p:spPr>
            <a:xfrm>
              <a:off x="5547042" y="3652838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6033" y="6667"/>
                    <a:pt x="4763" y="7938"/>
                  </a:cubicBezTo>
                  <a:lnTo>
                    <a:pt x="41592" y="29528"/>
                  </a:lnTo>
                  <a:cubicBezTo>
                    <a:pt x="42863" y="28258"/>
                    <a:pt x="44133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8" name="任意多边形: 形状 9857"/>
            <p:cNvSpPr/>
            <p:nvPr/>
          </p:nvSpPr>
          <p:spPr>
            <a:xfrm>
              <a:off x="5543867" y="3656013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6033" y="6667"/>
                    <a:pt x="4763" y="7938"/>
                  </a:cubicBezTo>
                  <a:lnTo>
                    <a:pt x="41592" y="29528"/>
                  </a:lnTo>
                  <a:cubicBezTo>
                    <a:pt x="42863" y="28258"/>
                    <a:pt x="44133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9" name="任意多边形: 形状 9858"/>
            <p:cNvSpPr/>
            <p:nvPr/>
          </p:nvSpPr>
          <p:spPr>
            <a:xfrm>
              <a:off x="5540692" y="3659188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6033" y="6667"/>
                    <a:pt x="4763" y="7938"/>
                  </a:cubicBezTo>
                  <a:lnTo>
                    <a:pt x="41592" y="29528"/>
                  </a:lnTo>
                  <a:cubicBezTo>
                    <a:pt x="42863" y="28258"/>
                    <a:pt x="44133" y="27622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0" name="任意多边形: 形状 9859"/>
            <p:cNvSpPr/>
            <p:nvPr/>
          </p:nvSpPr>
          <p:spPr>
            <a:xfrm>
              <a:off x="5538788" y="3662363"/>
              <a:ext cx="44450" cy="31750"/>
            </a:xfrm>
            <a:custGeom>
              <a:avLst/>
              <a:gdLst>
                <a:gd name="connsiteX0" fmla="*/ 44133 w 44450"/>
                <a:gd name="connsiteY0" fmla="*/ 26353 h 31750"/>
                <a:gd name="connsiteX1" fmla="*/ 7303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413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6353"/>
                  </a:moveTo>
                  <a:lnTo>
                    <a:pt x="7303" y="4763"/>
                  </a:lnTo>
                  <a:cubicBezTo>
                    <a:pt x="6033" y="6033"/>
                    <a:pt x="5397" y="6667"/>
                    <a:pt x="4763" y="7938"/>
                  </a:cubicBezTo>
                  <a:lnTo>
                    <a:pt x="41592" y="29528"/>
                  </a:lnTo>
                  <a:cubicBezTo>
                    <a:pt x="42228" y="28258"/>
                    <a:pt x="42863" y="27622"/>
                    <a:pt x="4413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1" name="任意多边形: 形状 9860"/>
            <p:cNvSpPr/>
            <p:nvPr/>
          </p:nvSpPr>
          <p:spPr>
            <a:xfrm>
              <a:off x="5534978" y="3665538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8572 h 31750"/>
                <a:gd name="connsiteX3" fmla="*/ 41592 w 44450"/>
                <a:gd name="connsiteY3" fmla="*/ 30163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6032" y="7303"/>
                    <a:pt x="4763" y="8572"/>
                  </a:cubicBezTo>
                  <a:lnTo>
                    <a:pt x="41592" y="30163"/>
                  </a:lnTo>
                  <a:cubicBezTo>
                    <a:pt x="42863" y="28892"/>
                    <a:pt x="44132" y="27622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2" name="任意多边形: 形状 9861"/>
            <p:cNvSpPr/>
            <p:nvPr/>
          </p:nvSpPr>
          <p:spPr>
            <a:xfrm>
              <a:off x="5532438" y="3669347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9208 h 31750"/>
                <a:gd name="connsiteX3" fmla="*/ 41592 w 44450"/>
                <a:gd name="connsiteY3" fmla="*/ 3079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6033" y="7303"/>
                    <a:pt x="4763" y="9208"/>
                  </a:cubicBezTo>
                  <a:lnTo>
                    <a:pt x="41592" y="30798"/>
                  </a:lnTo>
                  <a:cubicBezTo>
                    <a:pt x="42228" y="28893"/>
                    <a:pt x="43497" y="27623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3" name="任意多边形: 形状 9862"/>
            <p:cNvSpPr/>
            <p:nvPr/>
          </p:nvSpPr>
          <p:spPr>
            <a:xfrm>
              <a:off x="5527992" y="3673158"/>
              <a:ext cx="50800" cy="31750"/>
            </a:xfrm>
            <a:custGeom>
              <a:avLst/>
              <a:gdLst>
                <a:gd name="connsiteX0" fmla="*/ 46038 w 50800"/>
                <a:gd name="connsiteY0" fmla="*/ 26352 h 31750"/>
                <a:gd name="connsiteX1" fmla="*/ 9208 w 50800"/>
                <a:gd name="connsiteY1" fmla="*/ 4763 h 31750"/>
                <a:gd name="connsiteX2" fmla="*/ 4763 w 50800"/>
                <a:gd name="connsiteY2" fmla="*/ 11113 h 31750"/>
                <a:gd name="connsiteX3" fmla="*/ 41592 w 50800"/>
                <a:gd name="connsiteY3" fmla="*/ 32702 h 31750"/>
                <a:gd name="connsiteX4" fmla="*/ 46038 w 5080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31750">
                  <a:moveTo>
                    <a:pt x="46038" y="26352"/>
                  </a:moveTo>
                  <a:lnTo>
                    <a:pt x="9208" y="4763"/>
                  </a:lnTo>
                  <a:cubicBezTo>
                    <a:pt x="7938" y="6667"/>
                    <a:pt x="6033" y="9208"/>
                    <a:pt x="4763" y="11113"/>
                  </a:cubicBezTo>
                  <a:lnTo>
                    <a:pt x="41592" y="32702"/>
                  </a:lnTo>
                  <a:cubicBezTo>
                    <a:pt x="42863" y="30797"/>
                    <a:pt x="44133" y="28892"/>
                    <a:pt x="4603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4" name="任意多边形: 形状 9863"/>
            <p:cNvSpPr/>
            <p:nvPr/>
          </p:nvSpPr>
          <p:spPr>
            <a:xfrm>
              <a:off x="5522278" y="3679508"/>
              <a:ext cx="50800" cy="38100"/>
            </a:xfrm>
            <a:custGeom>
              <a:avLst/>
              <a:gdLst>
                <a:gd name="connsiteX0" fmla="*/ 47307 w 50800"/>
                <a:gd name="connsiteY0" fmla="*/ 26352 h 38100"/>
                <a:gd name="connsiteX1" fmla="*/ 10477 w 50800"/>
                <a:gd name="connsiteY1" fmla="*/ 4763 h 38100"/>
                <a:gd name="connsiteX2" fmla="*/ 4763 w 50800"/>
                <a:gd name="connsiteY2" fmla="*/ 14288 h 38100"/>
                <a:gd name="connsiteX3" fmla="*/ 41592 w 50800"/>
                <a:gd name="connsiteY3" fmla="*/ 35877 h 38100"/>
                <a:gd name="connsiteX4" fmla="*/ 47307 w 50800"/>
                <a:gd name="connsiteY4" fmla="*/ 2635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38100">
                  <a:moveTo>
                    <a:pt x="47307" y="26352"/>
                  </a:moveTo>
                  <a:lnTo>
                    <a:pt x="10477" y="4763"/>
                  </a:lnTo>
                  <a:cubicBezTo>
                    <a:pt x="8572" y="7938"/>
                    <a:pt x="6667" y="11113"/>
                    <a:pt x="4763" y="14288"/>
                  </a:cubicBezTo>
                  <a:lnTo>
                    <a:pt x="41592" y="35877"/>
                  </a:lnTo>
                  <a:cubicBezTo>
                    <a:pt x="42863" y="32702"/>
                    <a:pt x="44767" y="29527"/>
                    <a:pt x="4730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5" name="任意多边形: 形状 9864"/>
            <p:cNvSpPr/>
            <p:nvPr/>
          </p:nvSpPr>
          <p:spPr>
            <a:xfrm>
              <a:off x="5518467" y="3689033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11113 h 31750"/>
                <a:gd name="connsiteX3" fmla="*/ 41592 w 44450"/>
                <a:gd name="connsiteY3" fmla="*/ 32702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6667"/>
                    <a:pt x="5398" y="9208"/>
                    <a:pt x="4763" y="11113"/>
                  </a:cubicBezTo>
                  <a:lnTo>
                    <a:pt x="41592" y="32702"/>
                  </a:lnTo>
                  <a:cubicBezTo>
                    <a:pt x="42863" y="30797"/>
                    <a:pt x="44133" y="28258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6" name="任意多边形: 形状 9865"/>
            <p:cNvSpPr/>
            <p:nvPr/>
          </p:nvSpPr>
          <p:spPr>
            <a:xfrm>
              <a:off x="5515928" y="3695383"/>
              <a:ext cx="44450" cy="31750"/>
            </a:xfrm>
            <a:custGeom>
              <a:avLst/>
              <a:gdLst>
                <a:gd name="connsiteX0" fmla="*/ 44132 w 44450"/>
                <a:gd name="connsiteY0" fmla="*/ 26352 h 31750"/>
                <a:gd name="connsiteX1" fmla="*/ 7302 w 44450"/>
                <a:gd name="connsiteY1" fmla="*/ 4763 h 31750"/>
                <a:gd name="connsiteX2" fmla="*/ 4763 w 44450"/>
                <a:gd name="connsiteY2" fmla="*/ 9208 h 31750"/>
                <a:gd name="connsiteX3" fmla="*/ 41592 w 44450"/>
                <a:gd name="connsiteY3" fmla="*/ 30797 h 31750"/>
                <a:gd name="connsiteX4" fmla="*/ 4413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2" y="26352"/>
                  </a:moveTo>
                  <a:lnTo>
                    <a:pt x="7302" y="4763"/>
                  </a:lnTo>
                  <a:cubicBezTo>
                    <a:pt x="6667" y="6033"/>
                    <a:pt x="6032" y="7938"/>
                    <a:pt x="4763" y="9208"/>
                  </a:cubicBezTo>
                  <a:lnTo>
                    <a:pt x="41592" y="30797"/>
                  </a:lnTo>
                  <a:cubicBezTo>
                    <a:pt x="42863" y="29527"/>
                    <a:pt x="43497" y="27622"/>
                    <a:pt x="4413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7" name="任意多边形: 形状 9866"/>
            <p:cNvSpPr/>
            <p:nvPr/>
          </p:nvSpPr>
          <p:spPr>
            <a:xfrm>
              <a:off x="5514022" y="3699828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8 w 44450"/>
                <a:gd name="connsiteY1" fmla="*/ 4763 h 31750"/>
                <a:gd name="connsiteX2" fmla="*/ 4763 w 44450"/>
                <a:gd name="connsiteY2" fmla="*/ 8572 h 31750"/>
                <a:gd name="connsiteX3" fmla="*/ 41593 w 44450"/>
                <a:gd name="connsiteY3" fmla="*/ 30163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6032"/>
                    <a:pt x="5398" y="7302"/>
                    <a:pt x="4763" y="8572"/>
                  </a:cubicBezTo>
                  <a:lnTo>
                    <a:pt x="41593" y="30163"/>
                  </a:lnTo>
                  <a:cubicBezTo>
                    <a:pt x="42863" y="28892"/>
                    <a:pt x="42863" y="27622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8" name="任意多边形: 形状 9867"/>
            <p:cNvSpPr/>
            <p:nvPr/>
          </p:nvSpPr>
          <p:spPr>
            <a:xfrm>
              <a:off x="5512753" y="3703638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2" y="6033"/>
                    <a:pt x="5397" y="7303"/>
                    <a:pt x="4763" y="7938"/>
                  </a:cubicBezTo>
                  <a:lnTo>
                    <a:pt x="41592" y="29528"/>
                  </a:lnTo>
                  <a:cubicBezTo>
                    <a:pt x="42227" y="28258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9" name="任意多边形: 形状 9868"/>
            <p:cNvSpPr/>
            <p:nvPr/>
          </p:nvSpPr>
          <p:spPr>
            <a:xfrm>
              <a:off x="5511483" y="3706813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6033"/>
                    <a:pt x="4763" y="7303"/>
                    <a:pt x="4763" y="7938"/>
                  </a:cubicBezTo>
                  <a:lnTo>
                    <a:pt x="41592" y="29528"/>
                  </a:lnTo>
                  <a:cubicBezTo>
                    <a:pt x="42227" y="28892"/>
                    <a:pt x="42227" y="27622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0" name="任意多边形: 形状 9869"/>
            <p:cNvSpPr/>
            <p:nvPr/>
          </p:nvSpPr>
          <p:spPr>
            <a:xfrm>
              <a:off x="5510213" y="3709988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6033"/>
                    <a:pt x="5397" y="7303"/>
                    <a:pt x="4763" y="7938"/>
                  </a:cubicBezTo>
                  <a:lnTo>
                    <a:pt x="41592" y="29528"/>
                  </a:lnTo>
                  <a:cubicBezTo>
                    <a:pt x="41592" y="28892"/>
                    <a:pt x="42228" y="27622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1" name="任意多边形: 形状 9870"/>
            <p:cNvSpPr/>
            <p:nvPr/>
          </p:nvSpPr>
          <p:spPr>
            <a:xfrm>
              <a:off x="5508942" y="371379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6033"/>
                    <a:pt x="5398" y="7303"/>
                    <a:pt x="4763" y="7938"/>
                  </a:cubicBezTo>
                  <a:lnTo>
                    <a:pt x="41592" y="29528"/>
                  </a:lnTo>
                  <a:cubicBezTo>
                    <a:pt x="41592" y="28258"/>
                    <a:pt x="42228" y="2762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2" name="任意多边形: 形状 9871"/>
            <p:cNvSpPr/>
            <p:nvPr/>
          </p:nvSpPr>
          <p:spPr>
            <a:xfrm>
              <a:off x="5507672" y="371697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8573 h 31750"/>
                <a:gd name="connsiteX3" fmla="*/ 41593 w 44450"/>
                <a:gd name="connsiteY3" fmla="*/ 3016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6033"/>
                    <a:pt x="5398" y="7303"/>
                    <a:pt x="4763" y="8573"/>
                  </a:cubicBezTo>
                  <a:lnTo>
                    <a:pt x="41593" y="30163"/>
                  </a:lnTo>
                  <a:cubicBezTo>
                    <a:pt x="41593" y="28893"/>
                    <a:pt x="42228" y="2762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3" name="任意多边形: 形状 9872"/>
            <p:cNvSpPr/>
            <p:nvPr/>
          </p:nvSpPr>
          <p:spPr>
            <a:xfrm>
              <a:off x="5506403" y="372078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2 w 44450"/>
                <a:gd name="connsiteY1" fmla="*/ 4763 h 31750"/>
                <a:gd name="connsiteX2" fmla="*/ 4763 w 44450"/>
                <a:gd name="connsiteY2" fmla="*/ 8572 h 31750"/>
                <a:gd name="connsiteX3" fmla="*/ 41592 w 44450"/>
                <a:gd name="connsiteY3" fmla="*/ 30163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2" y="4763"/>
                  </a:lnTo>
                  <a:cubicBezTo>
                    <a:pt x="5397" y="6033"/>
                    <a:pt x="5397" y="7302"/>
                    <a:pt x="4763" y="8572"/>
                  </a:cubicBezTo>
                  <a:lnTo>
                    <a:pt x="41592" y="30163"/>
                  </a:lnTo>
                  <a:cubicBezTo>
                    <a:pt x="41592" y="28892"/>
                    <a:pt x="42227" y="2762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4" name="任意多边形: 形状 9873"/>
            <p:cNvSpPr/>
            <p:nvPr/>
          </p:nvSpPr>
          <p:spPr>
            <a:xfrm>
              <a:off x="5505133" y="372459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8573 h 31750"/>
                <a:gd name="connsiteX3" fmla="*/ 41592 w 44450"/>
                <a:gd name="connsiteY3" fmla="*/ 3016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6033"/>
                    <a:pt x="5397" y="7303"/>
                    <a:pt x="4763" y="8573"/>
                  </a:cubicBezTo>
                  <a:lnTo>
                    <a:pt x="41592" y="30163"/>
                  </a:lnTo>
                  <a:cubicBezTo>
                    <a:pt x="42227" y="28892"/>
                    <a:pt x="42227" y="2762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5" name="任意多边形: 形状 9874"/>
            <p:cNvSpPr/>
            <p:nvPr/>
          </p:nvSpPr>
          <p:spPr>
            <a:xfrm>
              <a:off x="5503863" y="372840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8572 h 31750"/>
                <a:gd name="connsiteX3" fmla="*/ 41592 w 44450"/>
                <a:gd name="connsiteY3" fmla="*/ 30163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6032"/>
                    <a:pt x="5397" y="7302"/>
                    <a:pt x="4763" y="8572"/>
                  </a:cubicBezTo>
                  <a:lnTo>
                    <a:pt x="41592" y="30163"/>
                  </a:lnTo>
                  <a:cubicBezTo>
                    <a:pt x="42228" y="28257"/>
                    <a:pt x="42863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6" name="任意多边形: 形状 9875"/>
            <p:cNvSpPr/>
            <p:nvPr/>
          </p:nvSpPr>
          <p:spPr>
            <a:xfrm>
              <a:off x="5503863" y="3731578"/>
              <a:ext cx="44450" cy="31750"/>
            </a:xfrm>
            <a:custGeom>
              <a:avLst/>
              <a:gdLst>
                <a:gd name="connsiteX0" fmla="*/ 42228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222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2"/>
                  </a:moveTo>
                  <a:lnTo>
                    <a:pt x="5397" y="4763"/>
                  </a:lnTo>
                  <a:cubicBezTo>
                    <a:pt x="5397" y="5397"/>
                    <a:pt x="4763" y="6667"/>
                    <a:pt x="4763" y="7302"/>
                  </a:cubicBezTo>
                  <a:lnTo>
                    <a:pt x="41592" y="28892"/>
                  </a:lnTo>
                  <a:cubicBezTo>
                    <a:pt x="41592" y="28257"/>
                    <a:pt x="41592" y="27622"/>
                    <a:pt x="4222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7" name="任意多边形: 形状 9876"/>
            <p:cNvSpPr/>
            <p:nvPr/>
          </p:nvSpPr>
          <p:spPr>
            <a:xfrm>
              <a:off x="5434647" y="381857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3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5398"/>
                    <a:pt x="5398" y="5398"/>
                    <a:pt x="4763" y="6033"/>
                  </a:cubicBezTo>
                  <a:lnTo>
                    <a:pt x="41593" y="27623"/>
                  </a:lnTo>
                  <a:cubicBezTo>
                    <a:pt x="42228" y="26988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8" name="任意多边形: 形状 9877"/>
            <p:cNvSpPr/>
            <p:nvPr/>
          </p:nvSpPr>
          <p:spPr>
            <a:xfrm>
              <a:off x="5432108" y="3819208"/>
              <a:ext cx="44450" cy="31750"/>
            </a:xfrm>
            <a:custGeom>
              <a:avLst/>
              <a:gdLst>
                <a:gd name="connsiteX0" fmla="*/ 44133 w 44450"/>
                <a:gd name="connsiteY0" fmla="*/ 26352 h 31750"/>
                <a:gd name="connsiteX1" fmla="*/ 7302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413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6352"/>
                  </a:moveTo>
                  <a:lnTo>
                    <a:pt x="7302" y="4763"/>
                  </a:lnTo>
                  <a:cubicBezTo>
                    <a:pt x="6667" y="5397"/>
                    <a:pt x="6033" y="6033"/>
                    <a:pt x="4763" y="6667"/>
                  </a:cubicBezTo>
                  <a:lnTo>
                    <a:pt x="41592" y="28258"/>
                  </a:lnTo>
                  <a:cubicBezTo>
                    <a:pt x="42863" y="27622"/>
                    <a:pt x="43497" y="26988"/>
                    <a:pt x="4413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9" name="任意多边形: 形状 9878"/>
            <p:cNvSpPr/>
            <p:nvPr/>
          </p:nvSpPr>
          <p:spPr>
            <a:xfrm>
              <a:off x="5430203" y="3821113"/>
              <a:ext cx="44450" cy="31750"/>
            </a:xfrm>
            <a:custGeom>
              <a:avLst/>
              <a:gdLst>
                <a:gd name="connsiteX0" fmla="*/ 44132 w 44450"/>
                <a:gd name="connsiteY0" fmla="*/ 26353 h 31750"/>
                <a:gd name="connsiteX1" fmla="*/ 7302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413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2" y="26353"/>
                  </a:moveTo>
                  <a:lnTo>
                    <a:pt x="7302" y="4763"/>
                  </a:lnTo>
                  <a:cubicBezTo>
                    <a:pt x="6667" y="5397"/>
                    <a:pt x="6032" y="6033"/>
                    <a:pt x="4763" y="6667"/>
                  </a:cubicBezTo>
                  <a:lnTo>
                    <a:pt x="41592" y="28258"/>
                  </a:lnTo>
                  <a:cubicBezTo>
                    <a:pt x="42227" y="28258"/>
                    <a:pt x="42863" y="26988"/>
                    <a:pt x="4413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0" name="任意多边形: 形状 9879"/>
            <p:cNvSpPr/>
            <p:nvPr/>
          </p:nvSpPr>
          <p:spPr>
            <a:xfrm>
              <a:off x="5428297" y="3823653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8 w 44450"/>
                <a:gd name="connsiteY1" fmla="*/ 4763 h 31750"/>
                <a:gd name="connsiteX2" fmla="*/ 4763 w 44450"/>
                <a:gd name="connsiteY2" fmla="*/ 6667 h 31750"/>
                <a:gd name="connsiteX3" fmla="*/ 41593 w 44450"/>
                <a:gd name="connsiteY3" fmla="*/ 28257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5397"/>
                    <a:pt x="5398" y="6032"/>
                    <a:pt x="4763" y="6667"/>
                  </a:cubicBezTo>
                  <a:lnTo>
                    <a:pt x="41593" y="28257"/>
                  </a:lnTo>
                  <a:cubicBezTo>
                    <a:pt x="42228" y="27622"/>
                    <a:pt x="42863" y="26988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1" name="任意多边形: 形状 9880"/>
            <p:cNvSpPr/>
            <p:nvPr/>
          </p:nvSpPr>
          <p:spPr>
            <a:xfrm>
              <a:off x="5426392" y="3825558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7" y="4763"/>
                  </a:lnTo>
                  <a:cubicBezTo>
                    <a:pt x="6033" y="5397"/>
                    <a:pt x="5398" y="6033"/>
                    <a:pt x="4763" y="6667"/>
                  </a:cubicBezTo>
                  <a:lnTo>
                    <a:pt x="41592" y="28258"/>
                  </a:lnTo>
                  <a:cubicBezTo>
                    <a:pt x="42228" y="27622"/>
                    <a:pt x="42863" y="26988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2" name="任意多边形: 形状 9881"/>
            <p:cNvSpPr/>
            <p:nvPr/>
          </p:nvSpPr>
          <p:spPr>
            <a:xfrm>
              <a:off x="5423853" y="3827463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2" y="5397"/>
                    <a:pt x="5397" y="6033"/>
                    <a:pt x="4763" y="6667"/>
                  </a:cubicBezTo>
                  <a:lnTo>
                    <a:pt x="41592" y="28258"/>
                  </a:lnTo>
                  <a:cubicBezTo>
                    <a:pt x="42227" y="28258"/>
                    <a:pt x="42863" y="27622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3" name="任意多边形: 形状 9882"/>
            <p:cNvSpPr/>
            <p:nvPr/>
          </p:nvSpPr>
          <p:spPr>
            <a:xfrm>
              <a:off x="5421947" y="3830003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8 w 44450"/>
                <a:gd name="connsiteY1" fmla="*/ 4763 h 31750"/>
                <a:gd name="connsiteX2" fmla="*/ 4763 w 44450"/>
                <a:gd name="connsiteY2" fmla="*/ 7302 h 31750"/>
                <a:gd name="connsiteX3" fmla="*/ 41593 w 44450"/>
                <a:gd name="connsiteY3" fmla="*/ 28892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5397"/>
                    <a:pt x="5398" y="6032"/>
                    <a:pt x="4763" y="7302"/>
                  </a:cubicBezTo>
                  <a:lnTo>
                    <a:pt x="41593" y="28892"/>
                  </a:lnTo>
                  <a:cubicBezTo>
                    <a:pt x="42228" y="27622"/>
                    <a:pt x="42863" y="26988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4" name="任意多边形: 形状 9883"/>
            <p:cNvSpPr/>
            <p:nvPr/>
          </p:nvSpPr>
          <p:spPr>
            <a:xfrm>
              <a:off x="5420042" y="3831908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7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7" y="4763"/>
                  </a:lnTo>
                  <a:cubicBezTo>
                    <a:pt x="6033" y="5397"/>
                    <a:pt x="5398" y="6033"/>
                    <a:pt x="4763" y="7302"/>
                  </a:cubicBezTo>
                  <a:lnTo>
                    <a:pt x="41592" y="28892"/>
                  </a:lnTo>
                  <a:cubicBezTo>
                    <a:pt x="42228" y="28258"/>
                    <a:pt x="42863" y="27622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5" name="任意多边形: 形状 9884"/>
            <p:cNvSpPr/>
            <p:nvPr/>
          </p:nvSpPr>
          <p:spPr>
            <a:xfrm>
              <a:off x="5418138" y="3834447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3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5398"/>
                    <a:pt x="5397" y="6668"/>
                    <a:pt x="4763" y="7303"/>
                  </a:cubicBezTo>
                  <a:lnTo>
                    <a:pt x="41592" y="28893"/>
                  </a:lnTo>
                  <a:cubicBezTo>
                    <a:pt x="42228" y="28258"/>
                    <a:pt x="42863" y="27623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6" name="任意多边形: 形状 9885"/>
            <p:cNvSpPr/>
            <p:nvPr/>
          </p:nvSpPr>
          <p:spPr>
            <a:xfrm>
              <a:off x="5415597" y="3836988"/>
              <a:ext cx="44450" cy="31750"/>
            </a:xfrm>
            <a:custGeom>
              <a:avLst/>
              <a:gdLst>
                <a:gd name="connsiteX0" fmla="*/ 44133 w 44450"/>
                <a:gd name="connsiteY0" fmla="*/ 26353 h 31750"/>
                <a:gd name="connsiteX1" fmla="*/ 7303 w 44450"/>
                <a:gd name="connsiteY1" fmla="*/ 4763 h 31750"/>
                <a:gd name="connsiteX2" fmla="*/ 4763 w 44450"/>
                <a:gd name="connsiteY2" fmla="*/ 8572 h 31750"/>
                <a:gd name="connsiteX3" fmla="*/ 41593 w 44450"/>
                <a:gd name="connsiteY3" fmla="*/ 30163 h 31750"/>
                <a:gd name="connsiteX4" fmla="*/ 4413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6353"/>
                  </a:moveTo>
                  <a:lnTo>
                    <a:pt x="7303" y="4763"/>
                  </a:lnTo>
                  <a:cubicBezTo>
                    <a:pt x="6033" y="6033"/>
                    <a:pt x="5398" y="7303"/>
                    <a:pt x="4763" y="8572"/>
                  </a:cubicBezTo>
                  <a:lnTo>
                    <a:pt x="41593" y="30163"/>
                  </a:lnTo>
                  <a:cubicBezTo>
                    <a:pt x="42228" y="29528"/>
                    <a:pt x="42863" y="28258"/>
                    <a:pt x="4413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7" name="任意多边形: 形状 9886"/>
            <p:cNvSpPr/>
            <p:nvPr/>
          </p:nvSpPr>
          <p:spPr>
            <a:xfrm>
              <a:off x="5411788" y="3841433"/>
              <a:ext cx="44450" cy="31750"/>
            </a:xfrm>
            <a:custGeom>
              <a:avLst/>
              <a:gdLst>
                <a:gd name="connsiteX0" fmla="*/ 45403 w 44450"/>
                <a:gd name="connsiteY0" fmla="*/ 26352 h 31750"/>
                <a:gd name="connsiteX1" fmla="*/ 8572 w 44450"/>
                <a:gd name="connsiteY1" fmla="*/ 4763 h 31750"/>
                <a:gd name="connsiteX2" fmla="*/ 4763 w 44450"/>
                <a:gd name="connsiteY2" fmla="*/ 11113 h 31750"/>
                <a:gd name="connsiteX3" fmla="*/ 41592 w 44450"/>
                <a:gd name="connsiteY3" fmla="*/ 32702 h 31750"/>
                <a:gd name="connsiteX4" fmla="*/ 4540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5403" y="26352"/>
                  </a:moveTo>
                  <a:lnTo>
                    <a:pt x="8572" y="4763"/>
                  </a:lnTo>
                  <a:cubicBezTo>
                    <a:pt x="7303" y="6667"/>
                    <a:pt x="6033" y="9208"/>
                    <a:pt x="4763" y="11113"/>
                  </a:cubicBezTo>
                  <a:lnTo>
                    <a:pt x="41592" y="32702"/>
                  </a:lnTo>
                  <a:cubicBezTo>
                    <a:pt x="42228" y="30163"/>
                    <a:pt x="43497" y="28258"/>
                    <a:pt x="4540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8" name="任意多边形: 形状 9887"/>
            <p:cNvSpPr/>
            <p:nvPr/>
          </p:nvSpPr>
          <p:spPr>
            <a:xfrm>
              <a:off x="5408613" y="3847783"/>
              <a:ext cx="44450" cy="31750"/>
            </a:xfrm>
            <a:custGeom>
              <a:avLst/>
              <a:gdLst>
                <a:gd name="connsiteX0" fmla="*/ 44133 w 44450"/>
                <a:gd name="connsiteY0" fmla="*/ 26352 h 31750"/>
                <a:gd name="connsiteX1" fmla="*/ 7303 w 44450"/>
                <a:gd name="connsiteY1" fmla="*/ 4763 h 31750"/>
                <a:gd name="connsiteX2" fmla="*/ 4763 w 44450"/>
                <a:gd name="connsiteY2" fmla="*/ 9208 h 31750"/>
                <a:gd name="connsiteX3" fmla="*/ 41592 w 44450"/>
                <a:gd name="connsiteY3" fmla="*/ 30797 h 31750"/>
                <a:gd name="connsiteX4" fmla="*/ 4413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6352"/>
                  </a:moveTo>
                  <a:lnTo>
                    <a:pt x="7303" y="4763"/>
                  </a:lnTo>
                  <a:cubicBezTo>
                    <a:pt x="6667" y="6033"/>
                    <a:pt x="5397" y="7938"/>
                    <a:pt x="4763" y="9208"/>
                  </a:cubicBezTo>
                  <a:lnTo>
                    <a:pt x="41592" y="30797"/>
                  </a:lnTo>
                  <a:cubicBezTo>
                    <a:pt x="42863" y="28892"/>
                    <a:pt x="43497" y="27622"/>
                    <a:pt x="4413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9" name="任意多边形: 形状 9888"/>
            <p:cNvSpPr/>
            <p:nvPr/>
          </p:nvSpPr>
          <p:spPr>
            <a:xfrm>
              <a:off x="5407342" y="385222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7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6032"/>
                    <a:pt x="4763" y="6667"/>
                    <a:pt x="4763" y="7938"/>
                  </a:cubicBezTo>
                  <a:lnTo>
                    <a:pt x="41592" y="29527"/>
                  </a:lnTo>
                  <a:cubicBezTo>
                    <a:pt x="42228" y="28257"/>
                    <a:pt x="42863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0" name="任意多边形: 形状 9889"/>
            <p:cNvSpPr/>
            <p:nvPr/>
          </p:nvSpPr>
          <p:spPr>
            <a:xfrm>
              <a:off x="5406072" y="385476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7303 h 31750"/>
                <a:gd name="connsiteX3" fmla="*/ 41593 w 44450"/>
                <a:gd name="connsiteY3" fmla="*/ 28892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5398"/>
                    <a:pt x="5398" y="6667"/>
                    <a:pt x="4763" y="7303"/>
                  </a:cubicBezTo>
                  <a:lnTo>
                    <a:pt x="41593" y="28892"/>
                  </a:lnTo>
                  <a:cubicBezTo>
                    <a:pt x="42228" y="28258"/>
                    <a:pt x="42228" y="2762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1" name="任意多边形: 形状 9890"/>
            <p:cNvSpPr/>
            <p:nvPr/>
          </p:nvSpPr>
          <p:spPr>
            <a:xfrm>
              <a:off x="5404803" y="385730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2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2" y="4763"/>
                  </a:lnTo>
                  <a:cubicBezTo>
                    <a:pt x="5397" y="5397"/>
                    <a:pt x="5397" y="6033"/>
                    <a:pt x="4763" y="7302"/>
                  </a:cubicBezTo>
                  <a:lnTo>
                    <a:pt x="41592" y="28892"/>
                  </a:lnTo>
                  <a:cubicBezTo>
                    <a:pt x="42227" y="28258"/>
                    <a:pt x="42863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2" name="任意多边形: 形状 9891"/>
            <p:cNvSpPr/>
            <p:nvPr/>
          </p:nvSpPr>
          <p:spPr>
            <a:xfrm>
              <a:off x="5403533" y="385984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8"/>
                    <a:pt x="5397" y="6033"/>
                    <a:pt x="4763" y="7303"/>
                  </a:cubicBezTo>
                  <a:lnTo>
                    <a:pt x="41592" y="28893"/>
                  </a:lnTo>
                  <a:cubicBezTo>
                    <a:pt x="42227" y="27623"/>
                    <a:pt x="42863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3" name="任意多边形: 形状 9892"/>
            <p:cNvSpPr/>
            <p:nvPr/>
          </p:nvSpPr>
          <p:spPr>
            <a:xfrm>
              <a:off x="5403533" y="3861753"/>
              <a:ext cx="44450" cy="31750"/>
            </a:xfrm>
            <a:custGeom>
              <a:avLst/>
              <a:gdLst>
                <a:gd name="connsiteX0" fmla="*/ 42227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222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2"/>
                  </a:moveTo>
                  <a:lnTo>
                    <a:pt x="5397" y="4763"/>
                  </a:lnTo>
                  <a:cubicBezTo>
                    <a:pt x="5397" y="5397"/>
                    <a:pt x="4763" y="6032"/>
                    <a:pt x="4763" y="7302"/>
                  </a:cubicBezTo>
                  <a:lnTo>
                    <a:pt x="41592" y="28892"/>
                  </a:lnTo>
                  <a:cubicBezTo>
                    <a:pt x="41592" y="28257"/>
                    <a:pt x="41592" y="27622"/>
                    <a:pt x="4222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4" name="任意多边形: 形状 9893"/>
            <p:cNvSpPr/>
            <p:nvPr/>
          </p:nvSpPr>
          <p:spPr>
            <a:xfrm>
              <a:off x="5402263" y="3864292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7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2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7" y="4763"/>
                  </a:lnTo>
                  <a:cubicBezTo>
                    <a:pt x="5397" y="5398"/>
                    <a:pt x="4763" y="6033"/>
                    <a:pt x="4763" y="7303"/>
                  </a:cubicBezTo>
                  <a:lnTo>
                    <a:pt x="41592" y="28892"/>
                  </a:lnTo>
                  <a:cubicBezTo>
                    <a:pt x="42228" y="27623"/>
                    <a:pt x="42228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5" name="任意多边形: 形状 9894"/>
            <p:cNvSpPr/>
            <p:nvPr/>
          </p:nvSpPr>
          <p:spPr>
            <a:xfrm>
              <a:off x="5401628" y="3866833"/>
              <a:ext cx="44450" cy="31750"/>
            </a:xfrm>
            <a:custGeom>
              <a:avLst/>
              <a:gdLst>
                <a:gd name="connsiteX0" fmla="*/ 42227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222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2"/>
                  </a:moveTo>
                  <a:lnTo>
                    <a:pt x="5397" y="4763"/>
                  </a:lnTo>
                  <a:cubicBezTo>
                    <a:pt x="5397" y="5397"/>
                    <a:pt x="4763" y="6667"/>
                    <a:pt x="4763" y="7302"/>
                  </a:cubicBezTo>
                  <a:lnTo>
                    <a:pt x="41592" y="28892"/>
                  </a:lnTo>
                  <a:cubicBezTo>
                    <a:pt x="41592" y="27622"/>
                    <a:pt x="42227" y="26988"/>
                    <a:pt x="4222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6" name="任意多边形: 形状 9895"/>
            <p:cNvSpPr/>
            <p:nvPr/>
          </p:nvSpPr>
          <p:spPr>
            <a:xfrm>
              <a:off x="5400992" y="3868738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2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5397"/>
                    <a:pt x="4763" y="6667"/>
                    <a:pt x="4763" y="7303"/>
                  </a:cubicBezTo>
                  <a:lnTo>
                    <a:pt x="41592" y="28892"/>
                  </a:lnTo>
                  <a:cubicBezTo>
                    <a:pt x="41592" y="28258"/>
                    <a:pt x="41592" y="27622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7" name="任意多边形: 形状 9896"/>
            <p:cNvSpPr/>
            <p:nvPr/>
          </p:nvSpPr>
          <p:spPr>
            <a:xfrm>
              <a:off x="5400358" y="3871278"/>
              <a:ext cx="44450" cy="31750"/>
            </a:xfrm>
            <a:custGeom>
              <a:avLst/>
              <a:gdLst>
                <a:gd name="connsiteX0" fmla="*/ 42227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222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2"/>
                  </a:moveTo>
                  <a:lnTo>
                    <a:pt x="5397" y="4763"/>
                  </a:lnTo>
                  <a:cubicBezTo>
                    <a:pt x="5397" y="5397"/>
                    <a:pt x="4763" y="6667"/>
                    <a:pt x="4763" y="7302"/>
                  </a:cubicBezTo>
                  <a:lnTo>
                    <a:pt x="41592" y="28892"/>
                  </a:lnTo>
                  <a:cubicBezTo>
                    <a:pt x="41592" y="28257"/>
                    <a:pt x="41592" y="27622"/>
                    <a:pt x="4222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8" name="任意多边形: 形状 9897"/>
            <p:cNvSpPr/>
            <p:nvPr/>
          </p:nvSpPr>
          <p:spPr>
            <a:xfrm>
              <a:off x="5399088" y="3873817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7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2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7" y="4763"/>
                  </a:lnTo>
                  <a:cubicBezTo>
                    <a:pt x="5397" y="5398"/>
                    <a:pt x="4763" y="6667"/>
                    <a:pt x="4763" y="7303"/>
                  </a:cubicBezTo>
                  <a:lnTo>
                    <a:pt x="41592" y="28892"/>
                  </a:lnTo>
                  <a:cubicBezTo>
                    <a:pt x="42228" y="28258"/>
                    <a:pt x="42228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9" name="任意多边形: 形状 9898"/>
            <p:cNvSpPr/>
            <p:nvPr/>
          </p:nvSpPr>
          <p:spPr>
            <a:xfrm>
              <a:off x="5398453" y="3876358"/>
              <a:ext cx="44450" cy="31750"/>
            </a:xfrm>
            <a:custGeom>
              <a:avLst/>
              <a:gdLst>
                <a:gd name="connsiteX0" fmla="*/ 42227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222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2"/>
                  </a:moveTo>
                  <a:lnTo>
                    <a:pt x="5397" y="4763"/>
                  </a:lnTo>
                  <a:cubicBezTo>
                    <a:pt x="5397" y="5397"/>
                    <a:pt x="4763" y="6667"/>
                    <a:pt x="4763" y="7302"/>
                  </a:cubicBezTo>
                  <a:lnTo>
                    <a:pt x="41592" y="28892"/>
                  </a:lnTo>
                  <a:cubicBezTo>
                    <a:pt x="42227" y="28258"/>
                    <a:pt x="42227" y="26988"/>
                    <a:pt x="4222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0" name="任意多边形: 形状 9899"/>
            <p:cNvSpPr/>
            <p:nvPr/>
          </p:nvSpPr>
          <p:spPr>
            <a:xfrm>
              <a:off x="5397817" y="3878897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3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5398"/>
                    <a:pt x="4763" y="6668"/>
                    <a:pt x="4763" y="7303"/>
                  </a:cubicBezTo>
                  <a:lnTo>
                    <a:pt x="41592" y="28893"/>
                  </a:lnTo>
                  <a:cubicBezTo>
                    <a:pt x="42228" y="27623"/>
                    <a:pt x="42228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1" name="任意多边形: 形状 9900"/>
            <p:cNvSpPr/>
            <p:nvPr/>
          </p:nvSpPr>
          <p:spPr>
            <a:xfrm>
              <a:off x="5397817" y="3881438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2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5397"/>
                    <a:pt x="5398" y="6033"/>
                    <a:pt x="4763" y="7303"/>
                  </a:cubicBezTo>
                  <a:lnTo>
                    <a:pt x="41592" y="28892"/>
                  </a:lnTo>
                  <a:cubicBezTo>
                    <a:pt x="41592" y="27622"/>
                    <a:pt x="41592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2" name="任意多边形: 形状 9901"/>
            <p:cNvSpPr/>
            <p:nvPr/>
          </p:nvSpPr>
          <p:spPr>
            <a:xfrm>
              <a:off x="5397183" y="3883342"/>
              <a:ext cx="44450" cy="31750"/>
            </a:xfrm>
            <a:custGeom>
              <a:avLst/>
              <a:gdLst>
                <a:gd name="connsiteX0" fmla="*/ 42227 w 44450"/>
                <a:gd name="connsiteY0" fmla="*/ 26353 h 31750"/>
                <a:gd name="connsiteX1" fmla="*/ 5397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2 h 31750"/>
                <a:gd name="connsiteX4" fmla="*/ 4222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3"/>
                  </a:moveTo>
                  <a:lnTo>
                    <a:pt x="5397" y="4763"/>
                  </a:lnTo>
                  <a:cubicBezTo>
                    <a:pt x="5397" y="5398"/>
                    <a:pt x="5397" y="6033"/>
                    <a:pt x="4763" y="7303"/>
                  </a:cubicBezTo>
                  <a:lnTo>
                    <a:pt x="41592" y="28892"/>
                  </a:lnTo>
                  <a:cubicBezTo>
                    <a:pt x="42227" y="28258"/>
                    <a:pt x="42227" y="27623"/>
                    <a:pt x="4222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3" name="任意多边形: 形状 9902"/>
            <p:cNvSpPr/>
            <p:nvPr/>
          </p:nvSpPr>
          <p:spPr>
            <a:xfrm>
              <a:off x="5397817" y="3885883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159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4763" y="7302"/>
                  </a:cubicBezTo>
                  <a:lnTo>
                    <a:pt x="41592" y="28892"/>
                  </a:lnTo>
                  <a:cubicBezTo>
                    <a:pt x="40958" y="28258"/>
                    <a:pt x="40958" y="26988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4" name="任意多边形: 形状 9903"/>
            <p:cNvSpPr/>
            <p:nvPr/>
          </p:nvSpPr>
          <p:spPr>
            <a:xfrm>
              <a:off x="5397183" y="3888422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3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7303"/>
                  </a:cubicBezTo>
                  <a:lnTo>
                    <a:pt x="41592" y="28893"/>
                  </a:lnTo>
                  <a:cubicBezTo>
                    <a:pt x="41592" y="27623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5" name="任意多边形: 形状 9904"/>
            <p:cNvSpPr/>
            <p:nvPr/>
          </p:nvSpPr>
          <p:spPr>
            <a:xfrm>
              <a:off x="5397183" y="3890328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159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4763" y="6032"/>
                    <a:pt x="4763" y="7302"/>
                  </a:cubicBezTo>
                  <a:lnTo>
                    <a:pt x="41592" y="28892"/>
                  </a:lnTo>
                  <a:cubicBezTo>
                    <a:pt x="41592" y="28257"/>
                    <a:pt x="41592" y="26988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6" name="任意多边形: 形状 9905"/>
            <p:cNvSpPr/>
            <p:nvPr/>
          </p:nvSpPr>
          <p:spPr>
            <a:xfrm>
              <a:off x="5397183" y="3892867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763 w 44450"/>
                <a:gd name="connsiteY3" fmla="*/ 6667 h 31750"/>
                <a:gd name="connsiteX4" fmla="*/ 41592 w 44450"/>
                <a:gd name="connsiteY4" fmla="*/ 28258 h 31750"/>
                <a:gd name="connsiteX5" fmla="*/ 41592 w 44450"/>
                <a:gd name="connsiteY5" fmla="*/ 28258 h 31750"/>
                <a:gd name="connsiteX6" fmla="*/ 41592 w 44450"/>
                <a:gd name="connsiteY6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6667"/>
                  </a:cubicBezTo>
                  <a:cubicBezTo>
                    <a:pt x="4763" y="6667"/>
                    <a:pt x="4763" y="6667"/>
                    <a:pt x="4763" y="6667"/>
                  </a:cubicBezTo>
                  <a:lnTo>
                    <a:pt x="41592" y="28258"/>
                  </a:lnTo>
                  <a:cubicBezTo>
                    <a:pt x="41592" y="28258"/>
                    <a:pt x="41592" y="28258"/>
                    <a:pt x="41592" y="28258"/>
                  </a:cubicBezTo>
                  <a:cubicBezTo>
                    <a:pt x="41592" y="27623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7" name="任意多边形: 形状 9906"/>
            <p:cNvSpPr/>
            <p:nvPr/>
          </p:nvSpPr>
          <p:spPr>
            <a:xfrm>
              <a:off x="5397183" y="3894772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3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7303"/>
                  </a:cubicBezTo>
                  <a:lnTo>
                    <a:pt x="41592" y="28893"/>
                  </a:lnTo>
                  <a:cubicBezTo>
                    <a:pt x="41592" y="28258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8" name="任意多边形: 形状 9907"/>
            <p:cNvSpPr/>
            <p:nvPr/>
          </p:nvSpPr>
          <p:spPr>
            <a:xfrm>
              <a:off x="5397183" y="3897313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7622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9" name="任意多边形: 形状 9908"/>
            <p:cNvSpPr/>
            <p:nvPr/>
          </p:nvSpPr>
          <p:spPr>
            <a:xfrm>
              <a:off x="5397183" y="3899217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8258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0" name="任意多边形: 形状 9909"/>
            <p:cNvSpPr/>
            <p:nvPr/>
          </p:nvSpPr>
          <p:spPr>
            <a:xfrm>
              <a:off x="5397183" y="3901758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5397 w 44450"/>
                <a:gd name="connsiteY2" fmla="*/ 7302 h 31750"/>
                <a:gd name="connsiteX3" fmla="*/ 42227 w 44450"/>
                <a:gd name="connsiteY3" fmla="*/ 28892 h 31750"/>
                <a:gd name="connsiteX4" fmla="*/ 4159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5397" y="7302"/>
                  </a:cubicBezTo>
                  <a:lnTo>
                    <a:pt x="42227" y="28892"/>
                  </a:lnTo>
                  <a:cubicBezTo>
                    <a:pt x="42227" y="27622"/>
                    <a:pt x="41592" y="26988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1" name="任意多边形: 形状 9910"/>
            <p:cNvSpPr/>
            <p:nvPr/>
          </p:nvSpPr>
          <p:spPr>
            <a:xfrm>
              <a:off x="5397817" y="3903663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5398 w 44450"/>
                <a:gd name="connsiteY2" fmla="*/ 7303 h 31750"/>
                <a:gd name="connsiteX3" fmla="*/ 42228 w 44450"/>
                <a:gd name="connsiteY3" fmla="*/ 28892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5398" y="7303"/>
                  </a:cubicBezTo>
                  <a:lnTo>
                    <a:pt x="42228" y="28892"/>
                  </a:lnTo>
                  <a:cubicBezTo>
                    <a:pt x="41592" y="28258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2" name="任意多边形: 形状 9911"/>
            <p:cNvSpPr/>
            <p:nvPr/>
          </p:nvSpPr>
          <p:spPr>
            <a:xfrm>
              <a:off x="5398453" y="3906203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5397 w 44450"/>
                <a:gd name="connsiteY2" fmla="*/ 7302 h 31750"/>
                <a:gd name="connsiteX3" fmla="*/ 42227 w 44450"/>
                <a:gd name="connsiteY3" fmla="*/ 28892 h 31750"/>
                <a:gd name="connsiteX4" fmla="*/ 4159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5397" y="6667"/>
                    <a:pt x="5397" y="7302"/>
                  </a:cubicBezTo>
                  <a:lnTo>
                    <a:pt x="42227" y="28892"/>
                  </a:lnTo>
                  <a:cubicBezTo>
                    <a:pt x="41592" y="27622"/>
                    <a:pt x="41592" y="26988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3" name="任意多边形: 形状 9912"/>
            <p:cNvSpPr/>
            <p:nvPr/>
          </p:nvSpPr>
          <p:spPr>
            <a:xfrm>
              <a:off x="5398453" y="3908742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5397 w 44450"/>
                <a:gd name="connsiteY2" fmla="*/ 7303 h 31750"/>
                <a:gd name="connsiteX3" fmla="*/ 42227 w 44450"/>
                <a:gd name="connsiteY3" fmla="*/ 28892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5397" y="6667"/>
                    <a:pt x="5397" y="7303"/>
                  </a:cubicBezTo>
                  <a:lnTo>
                    <a:pt x="42227" y="28892"/>
                  </a:lnTo>
                  <a:cubicBezTo>
                    <a:pt x="42227" y="27623"/>
                    <a:pt x="42227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4" name="任意多边形: 形状 9913"/>
            <p:cNvSpPr/>
            <p:nvPr/>
          </p:nvSpPr>
          <p:spPr>
            <a:xfrm>
              <a:off x="5399722" y="3910647"/>
              <a:ext cx="44450" cy="31750"/>
            </a:xfrm>
            <a:custGeom>
              <a:avLst/>
              <a:gdLst>
                <a:gd name="connsiteX0" fmla="*/ 41593 w 44450"/>
                <a:gd name="connsiteY0" fmla="*/ 26353 h 31750"/>
                <a:gd name="connsiteX1" fmla="*/ 4763 w 44450"/>
                <a:gd name="connsiteY1" fmla="*/ 4763 h 31750"/>
                <a:gd name="connsiteX2" fmla="*/ 6033 w 44450"/>
                <a:gd name="connsiteY2" fmla="*/ 7303 h 31750"/>
                <a:gd name="connsiteX3" fmla="*/ 42863 w 44450"/>
                <a:gd name="connsiteY3" fmla="*/ 28893 h 31750"/>
                <a:gd name="connsiteX4" fmla="*/ 4159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3" y="26353"/>
                  </a:moveTo>
                  <a:lnTo>
                    <a:pt x="4763" y="4763"/>
                  </a:lnTo>
                  <a:cubicBezTo>
                    <a:pt x="5398" y="5398"/>
                    <a:pt x="5398" y="6668"/>
                    <a:pt x="6033" y="7303"/>
                  </a:cubicBezTo>
                  <a:lnTo>
                    <a:pt x="42863" y="28893"/>
                  </a:lnTo>
                  <a:cubicBezTo>
                    <a:pt x="42228" y="28258"/>
                    <a:pt x="41593" y="27623"/>
                    <a:pt x="4159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5" name="任意多边形: 形状 9914"/>
            <p:cNvSpPr/>
            <p:nvPr/>
          </p:nvSpPr>
          <p:spPr>
            <a:xfrm>
              <a:off x="5400992" y="3913822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6667 w 44450"/>
                <a:gd name="connsiteY2" fmla="*/ 7938 h 31750"/>
                <a:gd name="connsiteX3" fmla="*/ 43498 w 44450"/>
                <a:gd name="connsiteY3" fmla="*/ 2952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5398" y="6033"/>
                    <a:pt x="6033" y="6668"/>
                    <a:pt x="6667" y="7938"/>
                  </a:cubicBezTo>
                  <a:lnTo>
                    <a:pt x="43498" y="29528"/>
                  </a:lnTo>
                  <a:cubicBezTo>
                    <a:pt x="42228" y="28258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6" name="任意多边形: 形状 9915"/>
            <p:cNvSpPr/>
            <p:nvPr/>
          </p:nvSpPr>
          <p:spPr>
            <a:xfrm>
              <a:off x="5402263" y="3916997"/>
              <a:ext cx="50800" cy="38100"/>
            </a:xfrm>
            <a:custGeom>
              <a:avLst/>
              <a:gdLst>
                <a:gd name="connsiteX0" fmla="*/ 41592 w 50800"/>
                <a:gd name="connsiteY0" fmla="*/ 26353 h 38100"/>
                <a:gd name="connsiteX1" fmla="*/ 4763 w 50800"/>
                <a:gd name="connsiteY1" fmla="*/ 4763 h 38100"/>
                <a:gd name="connsiteX2" fmla="*/ 13017 w 50800"/>
                <a:gd name="connsiteY2" fmla="*/ 13018 h 38100"/>
                <a:gd name="connsiteX3" fmla="*/ 49847 w 50800"/>
                <a:gd name="connsiteY3" fmla="*/ 34608 h 38100"/>
                <a:gd name="connsiteX4" fmla="*/ 41592 w 50800"/>
                <a:gd name="connsiteY4" fmla="*/ 2635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38100">
                  <a:moveTo>
                    <a:pt x="41592" y="26353"/>
                  </a:moveTo>
                  <a:lnTo>
                    <a:pt x="4763" y="4763"/>
                  </a:lnTo>
                  <a:cubicBezTo>
                    <a:pt x="6667" y="7938"/>
                    <a:pt x="9842" y="11113"/>
                    <a:pt x="13017" y="13018"/>
                  </a:cubicBezTo>
                  <a:lnTo>
                    <a:pt x="49847" y="34608"/>
                  </a:lnTo>
                  <a:cubicBezTo>
                    <a:pt x="46672" y="32068"/>
                    <a:pt x="44133" y="2952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7" name="任意多边形: 形状 9916"/>
            <p:cNvSpPr/>
            <p:nvPr/>
          </p:nvSpPr>
          <p:spPr>
            <a:xfrm>
              <a:off x="5502592" y="3734117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4763"/>
                  </a:cubicBezTo>
                  <a:lnTo>
                    <a:pt x="41592" y="26353"/>
                  </a:lnTo>
                  <a:cubicBezTo>
                    <a:pt x="41592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8" name="任意多边形: 形状 9917"/>
            <p:cNvSpPr/>
            <p:nvPr/>
          </p:nvSpPr>
          <p:spPr>
            <a:xfrm>
              <a:off x="5500053" y="3733483"/>
              <a:ext cx="44450" cy="31750"/>
            </a:xfrm>
            <a:custGeom>
              <a:avLst/>
              <a:gdLst>
                <a:gd name="connsiteX0" fmla="*/ 44132 w 44450"/>
                <a:gd name="connsiteY0" fmla="*/ 26988 h 31750"/>
                <a:gd name="connsiteX1" fmla="*/ 7302 w 44450"/>
                <a:gd name="connsiteY1" fmla="*/ 5397 h 31750"/>
                <a:gd name="connsiteX2" fmla="*/ 4763 w 44450"/>
                <a:gd name="connsiteY2" fmla="*/ 4763 h 31750"/>
                <a:gd name="connsiteX3" fmla="*/ 41592 w 44450"/>
                <a:gd name="connsiteY3" fmla="*/ 26352 h 31750"/>
                <a:gd name="connsiteX4" fmla="*/ 44132 w 44450"/>
                <a:gd name="connsiteY4" fmla="*/ 26988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2" y="26988"/>
                  </a:moveTo>
                  <a:lnTo>
                    <a:pt x="7302" y="5397"/>
                  </a:lnTo>
                  <a:cubicBezTo>
                    <a:pt x="6667" y="5397"/>
                    <a:pt x="5397" y="5397"/>
                    <a:pt x="4763" y="4763"/>
                  </a:cubicBezTo>
                  <a:lnTo>
                    <a:pt x="41592" y="26352"/>
                  </a:lnTo>
                  <a:cubicBezTo>
                    <a:pt x="42227" y="26352"/>
                    <a:pt x="43497" y="26988"/>
                    <a:pt x="44132" y="2698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9" name="任意多边形: 形状 9918"/>
            <p:cNvSpPr/>
            <p:nvPr/>
          </p:nvSpPr>
          <p:spPr>
            <a:xfrm>
              <a:off x="5498147" y="3733483"/>
              <a:ext cx="44450" cy="25400"/>
            </a:xfrm>
            <a:custGeom>
              <a:avLst/>
              <a:gdLst>
                <a:gd name="connsiteX0" fmla="*/ 43498 w 44450"/>
                <a:gd name="connsiteY0" fmla="*/ 26352 h 25400"/>
                <a:gd name="connsiteX1" fmla="*/ 6668 w 44450"/>
                <a:gd name="connsiteY1" fmla="*/ 4763 h 25400"/>
                <a:gd name="connsiteX2" fmla="*/ 4763 w 44450"/>
                <a:gd name="connsiteY2" fmla="*/ 4763 h 25400"/>
                <a:gd name="connsiteX3" fmla="*/ 41593 w 44450"/>
                <a:gd name="connsiteY3" fmla="*/ 26352 h 25400"/>
                <a:gd name="connsiteX4" fmla="*/ 43498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4763"/>
                    <a:pt x="5398" y="4763"/>
                    <a:pt x="4763" y="4763"/>
                  </a:cubicBezTo>
                  <a:lnTo>
                    <a:pt x="41593" y="26352"/>
                  </a:lnTo>
                  <a:cubicBezTo>
                    <a:pt x="42228" y="26352"/>
                    <a:pt x="42863" y="26352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0" name="任意多边形: 形状 9919"/>
            <p:cNvSpPr/>
            <p:nvPr/>
          </p:nvSpPr>
          <p:spPr>
            <a:xfrm>
              <a:off x="5495608" y="3733483"/>
              <a:ext cx="44450" cy="25400"/>
            </a:xfrm>
            <a:custGeom>
              <a:avLst/>
              <a:gdLst>
                <a:gd name="connsiteX0" fmla="*/ 43497 w 44450"/>
                <a:gd name="connsiteY0" fmla="*/ 26352 h 25400"/>
                <a:gd name="connsiteX1" fmla="*/ 6667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3497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7" y="26352"/>
                  </a:moveTo>
                  <a:lnTo>
                    <a:pt x="6667" y="4763"/>
                  </a:lnTo>
                  <a:cubicBezTo>
                    <a:pt x="6033" y="4763"/>
                    <a:pt x="5397" y="4763"/>
                    <a:pt x="4763" y="4763"/>
                  </a:cubicBezTo>
                  <a:lnTo>
                    <a:pt x="41592" y="26352"/>
                  </a:lnTo>
                  <a:cubicBezTo>
                    <a:pt x="42227" y="26352"/>
                    <a:pt x="42863" y="26352"/>
                    <a:pt x="4349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1" name="任意多边形: 形状 9920"/>
            <p:cNvSpPr/>
            <p:nvPr/>
          </p:nvSpPr>
          <p:spPr>
            <a:xfrm>
              <a:off x="5493703" y="3733483"/>
              <a:ext cx="44450" cy="25400"/>
            </a:xfrm>
            <a:custGeom>
              <a:avLst/>
              <a:gdLst>
                <a:gd name="connsiteX0" fmla="*/ 43497 w 44450"/>
                <a:gd name="connsiteY0" fmla="*/ 26352 h 25400"/>
                <a:gd name="connsiteX1" fmla="*/ 6667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3497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7" y="26352"/>
                  </a:moveTo>
                  <a:lnTo>
                    <a:pt x="6667" y="4763"/>
                  </a:lnTo>
                  <a:cubicBezTo>
                    <a:pt x="6032" y="4763"/>
                    <a:pt x="5397" y="4763"/>
                    <a:pt x="4763" y="4763"/>
                  </a:cubicBezTo>
                  <a:lnTo>
                    <a:pt x="41592" y="26352"/>
                  </a:lnTo>
                  <a:cubicBezTo>
                    <a:pt x="42227" y="26352"/>
                    <a:pt x="42863" y="26352"/>
                    <a:pt x="4349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2" name="任意多边形: 形状 9921"/>
            <p:cNvSpPr/>
            <p:nvPr/>
          </p:nvSpPr>
          <p:spPr>
            <a:xfrm>
              <a:off x="5491797" y="3734117"/>
              <a:ext cx="44450" cy="25400"/>
            </a:xfrm>
            <a:custGeom>
              <a:avLst/>
              <a:gdLst>
                <a:gd name="connsiteX0" fmla="*/ 43498 w 44450"/>
                <a:gd name="connsiteY0" fmla="*/ 26353 h 25400"/>
                <a:gd name="connsiteX1" fmla="*/ 6668 w 44450"/>
                <a:gd name="connsiteY1" fmla="*/ 4763 h 25400"/>
                <a:gd name="connsiteX2" fmla="*/ 4763 w 44450"/>
                <a:gd name="connsiteY2" fmla="*/ 4763 h 25400"/>
                <a:gd name="connsiteX3" fmla="*/ 41593 w 44450"/>
                <a:gd name="connsiteY3" fmla="*/ 26353 h 25400"/>
                <a:gd name="connsiteX4" fmla="*/ 43498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8" y="26353"/>
                  </a:moveTo>
                  <a:lnTo>
                    <a:pt x="6668" y="4763"/>
                  </a:lnTo>
                  <a:cubicBezTo>
                    <a:pt x="6033" y="4763"/>
                    <a:pt x="5398" y="4763"/>
                    <a:pt x="4763" y="4763"/>
                  </a:cubicBezTo>
                  <a:lnTo>
                    <a:pt x="41593" y="26353"/>
                  </a:lnTo>
                  <a:cubicBezTo>
                    <a:pt x="42228" y="26353"/>
                    <a:pt x="42863" y="26353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3" name="任意多边形: 形状 9922"/>
            <p:cNvSpPr/>
            <p:nvPr/>
          </p:nvSpPr>
          <p:spPr>
            <a:xfrm>
              <a:off x="5489892" y="3734117"/>
              <a:ext cx="44450" cy="31750"/>
            </a:xfrm>
            <a:custGeom>
              <a:avLst/>
              <a:gdLst>
                <a:gd name="connsiteX0" fmla="*/ 43498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349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3"/>
                  </a:moveTo>
                  <a:lnTo>
                    <a:pt x="6667" y="4763"/>
                  </a:lnTo>
                  <a:cubicBezTo>
                    <a:pt x="6033" y="4763"/>
                    <a:pt x="5398" y="4763"/>
                    <a:pt x="4763" y="5398"/>
                  </a:cubicBezTo>
                  <a:lnTo>
                    <a:pt x="41592" y="26988"/>
                  </a:lnTo>
                  <a:cubicBezTo>
                    <a:pt x="42228" y="26353"/>
                    <a:pt x="42863" y="26353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4" name="任意多边形: 形状 9923"/>
            <p:cNvSpPr/>
            <p:nvPr/>
          </p:nvSpPr>
          <p:spPr>
            <a:xfrm>
              <a:off x="5487988" y="3734753"/>
              <a:ext cx="44450" cy="31750"/>
            </a:xfrm>
            <a:custGeom>
              <a:avLst/>
              <a:gdLst>
                <a:gd name="connsiteX0" fmla="*/ 43497 w 44450"/>
                <a:gd name="connsiteY0" fmla="*/ 26352 h 31750"/>
                <a:gd name="connsiteX1" fmla="*/ 6667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349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2"/>
                  </a:moveTo>
                  <a:lnTo>
                    <a:pt x="6667" y="4763"/>
                  </a:lnTo>
                  <a:cubicBezTo>
                    <a:pt x="6033" y="4763"/>
                    <a:pt x="5397" y="4763"/>
                    <a:pt x="4763" y="5397"/>
                  </a:cubicBezTo>
                  <a:lnTo>
                    <a:pt x="41592" y="26988"/>
                  </a:lnTo>
                  <a:cubicBezTo>
                    <a:pt x="42228" y="26352"/>
                    <a:pt x="42863" y="26352"/>
                    <a:pt x="4349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5" name="任意多边形: 形状 9924"/>
            <p:cNvSpPr/>
            <p:nvPr/>
          </p:nvSpPr>
          <p:spPr>
            <a:xfrm>
              <a:off x="5486083" y="3735388"/>
              <a:ext cx="44450" cy="31750"/>
            </a:xfrm>
            <a:custGeom>
              <a:avLst/>
              <a:gdLst>
                <a:gd name="connsiteX0" fmla="*/ 44133 w 44450"/>
                <a:gd name="connsiteY0" fmla="*/ 25717 h 31750"/>
                <a:gd name="connsiteX1" fmla="*/ 6667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4133 w 44450"/>
                <a:gd name="connsiteY4" fmla="*/ 25717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5717"/>
                  </a:moveTo>
                  <a:lnTo>
                    <a:pt x="6667" y="4763"/>
                  </a:lnTo>
                  <a:cubicBezTo>
                    <a:pt x="6033" y="4763"/>
                    <a:pt x="5397" y="5397"/>
                    <a:pt x="4763" y="5397"/>
                  </a:cubicBezTo>
                  <a:lnTo>
                    <a:pt x="41592" y="26988"/>
                  </a:lnTo>
                  <a:cubicBezTo>
                    <a:pt x="42863" y="26353"/>
                    <a:pt x="43497" y="26353"/>
                    <a:pt x="44133" y="2571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6" name="任意多边形: 形状 9925"/>
            <p:cNvSpPr/>
            <p:nvPr/>
          </p:nvSpPr>
          <p:spPr>
            <a:xfrm>
              <a:off x="5484813" y="3735388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4763"/>
                    <a:pt x="5397" y="5397"/>
                    <a:pt x="4763" y="5397"/>
                  </a:cubicBezTo>
                  <a:lnTo>
                    <a:pt x="41592" y="26988"/>
                  </a:lnTo>
                  <a:cubicBezTo>
                    <a:pt x="42228" y="26988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7" name="任意多边形: 形状 9926"/>
            <p:cNvSpPr/>
            <p:nvPr/>
          </p:nvSpPr>
          <p:spPr>
            <a:xfrm>
              <a:off x="5482908" y="3736022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4763"/>
                    <a:pt x="5397" y="5398"/>
                    <a:pt x="4763" y="5398"/>
                  </a:cubicBezTo>
                  <a:lnTo>
                    <a:pt x="41592" y="26988"/>
                  </a:lnTo>
                  <a:cubicBezTo>
                    <a:pt x="42227" y="26988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8" name="任意多边形: 形状 9927"/>
            <p:cNvSpPr/>
            <p:nvPr/>
          </p:nvSpPr>
          <p:spPr>
            <a:xfrm>
              <a:off x="5481003" y="3737292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2" y="4763"/>
                    <a:pt x="5397" y="5398"/>
                    <a:pt x="4763" y="5398"/>
                  </a:cubicBezTo>
                  <a:lnTo>
                    <a:pt x="41592" y="26988"/>
                  </a:lnTo>
                  <a:cubicBezTo>
                    <a:pt x="42227" y="26353"/>
                    <a:pt x="42863" y="26353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9" name="任意多边形: 形状 9928"/>
            <p:cNvSpPr/>
            <p:nvPr/>
          </p:nvSpPr>
          <p:spPr>
            <a:xfrm>
              <a:off x="5479097" y="3737928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8 w 44450"/>
                <a:gd name="connsiteY1" fmla="*/ 4763 h 31750"/>
                <a:gd name="connsiteX2" fmla="*/ 4763 w 44450"/>
                <a:gd name="connsiteY2" fmla="*/ 5397 h 31750"/>
                <a:gd name="connsiteX3" fmla="*/ 41593 w 44450"/>
                <a:gd name="connsiteY3" fmla="*/ 26988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4763"/>
                    <a:pt x="5398" y="5397"/>
                    <a:pt x="4763" y="5397"/>
                  </a:cubicBezTo>
                  <a:lnTo>
                    <a:pt x="41593" y="26988"/>
                  </a:lnTo>
                  <a:cubicBezTo>
                    <a:pt x="42863" y="26988"/>
                    <a:pt x="43498" y="26352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0" name="任意多边形: 形状 9929"/>
            <p:cNvSpPr/>
            <p:nvPr/>
          </p:nvSpPr>
          <p:spPr>
            <a:xfrm>
              <a:off x="5477828" y="3738563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5397 w 44450"/>
                <a:gd name="connsiteY2" fmla="*/ 5397 h 31750"/>
                <a:gd name="connsiteX3" fmla="*/ 4763 w 44450"/>
                <a:gd name="connsiteY3" fmla="*/ 5397 h 31750"/>
                <a:gd name="connsiteX4" fmla="*/ 41592 w 44450"/>
                <a:gd name="connsiteY4" fmla="*/ 26988 h 31750"/>
                <a:gd name="connsiteX5" fmla="*/ 42227 w 44450"/>
                <a:gd name="connsiteY5" fmla="*/ 26988 h 31750"/>
                <a:gd name="connsiteX6" fmla="*/ 43497 w 44450"/>
                <a:gd name="connsiteY6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2" y="4763"/>
                    <a:pt x="6032" y="5397"/>
                    <a:pt x="5397" y="5397"/>
                  </a:cubicBezTo>
                  <a:cubicBezTo>
                    <a:pt x="5397" y="5397"/>
                    <a:pt x="5397" y="5397"/>
                    <a:pt x="4763" y="5397"/>
                  </a:cubicBezTo>
                  <a:lnTo>
                    <a:pt x="41592" y="26988"/>
                  </a:lnTo>
                  <a:cubicBezTo>
                    <a:pt x="41592" y="26988"/>
                    <a:pt x="41592" y="26988"/>
                    <a:pt x="42227" y="26988"/>
                  </a:cubicBezTo>
                  <a:cubicBezTo>
                    <a:pt x="42227" y="26988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1" name="任意多边形: 形状 9930"/>
            <p:cNvSpPr/>
            <p:nvPr/>
          </p:nvSpPr>
          <p:spPr>
            <a:xfrm>
              <a:off x="5475922" y="3739833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8 w 44450"/>
                <a:gd name="connsiteY1" fmla="*/ 4763 h 31750"/>
                <a:gd name="connsiteX2" fmla="*/ 4763 w 44450"/>
                <a:gd name="connsiteY2" fmla="*/ 6033 h 31750"/>
                <a:gd name="connsiteX3" fmla="*/ 41593 w 44450"/>
                <a:gd name="connsiteY3" fmla="*/ 27622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5397"/>
                    <a:pt x="5398" y="5397"/>
                    <a:pt x="4763" y="6033"/>
                  </a:cubicBezTo>
                  <a:lnTo>
                    <a:pt x="41593" y="27622"/>
                  </a:lnTo>
                  <a:cubicBezTo>
                    <a:pt x="42228" y="26988"/>
                    <a:pt x="42863" y="26988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2" name="任意多边形: 形状 9931"/>
            <p:cNvSpPr/>
            <p:nvPr/>
          </p:nvSpPr>
          <p:spPr>
            <a:xfrm>
              <a:off x="5474017" y="3741103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7 w 44450"/>
                <a:gd name="connsiteY1" fmla="*/ 4763 h 31750"/>
                <a:gd name="connsiteX2" fmla="*/ 4763 w 44450"/>
                <a:gd name="connsiteY2" fmla="*/ 6032 h 31750"/>
                <a:gd name="connsiteX3" fmla="*/ 41592 w 44450"/>
                <a:gd name="connsiteY3" fmla="*/ 27622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7" y="4763"/>
                  </a:lnTo>
                  <a:cubicBezTo>
                    <a:pt x="6033" y="5397"/>
                    <a:pt x="5398" y="5397"/>
                    <a:pt x="4763" y="6032"/>
                  </a:cubicBezTo>
                  <a:lnTo>
                    <a:pt x="41592" y="27622"/>
                  </a:lnTo>
                  <a:cubicBezTo>
                    <a:pt x="42228" y="26988"/>
                    <a:pt x="42863" y="26352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3" name="任意多边形: 形状 9932"/>
            <p:cNvSpPr/>
            <p:nvPr/>
          </p:nvSpPr>
          <p:spPr>
            <a:xfrm>
              <a:off x="5472113" y="3742372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5398"/>
                    <a:pt x="5397" y="5398"/>
                    <a:pt x="4763" y="6033"/>
                  </a:cubicBezTo>
                  <a:lnTo>
                    <a:pt x="41592" y="27623"/>
                  </a:lnTo>
                  <a:cubicBezTo>
                    <a:pt x="42228" y="26988"/>
                    <a:pt x="42863" y="26353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4" name="任意多边形: 形状 9933"/>
            <p:cNvSpPr/>
            <p:nvPr/>
          </p:nvSpPr>
          <p:spPr>
            <a:xfrm>
              <a:off x="5470208" y="3743642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5398"/>
                    <a:pt x="5397" y="6033"/>
                    <a:pt x="4763" y="6033"/>
                  </a:cubicBezTo>
                  <a:lnTo>
                    <a:pt x="41592" y="27623"/>
                  </a:lnTo>
                  <a:cubicBezTo>
                    <a:pt x="42227" y="26988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5" name="任意多边形: 形状 9934"/>
            <p:cNvSpPr/>
            <p:nvPr/>
          </p:nvSpPr>
          <p:spPr>
            <a:xfrm>
              <a:off x="5468303" y="3744913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2" y="5397"/>
                    <a:pt x="5397" y="6033"/>
                    <a:pt x="4763" y="6667"/>
                  </a:cubicBezTo>
                  <a:lnTo>
                    <a:pt x="41592" y="28258"/>
                  </a:lnTo>
                  <a:cubicBezTo>
                    <a:pt x="42227" y="27622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6" name="任意多边形: 形状 9935"/>
            <p:cNvSpPr/>
            <p:nvPr/>
          </p:nvSpPr>
          <p:spPr>
            <a:xfrm>
              <a:off x="5466397" y="3746817"/>
              <a:ext cx="44450" cy="31750"/>
            </a:xfrm>
            <a:custGeom>
              <a:avLst/>
              <a:gdLst>
                <a:gd name="connsiteX0" fmla="*/ 43498 w 44450"/>
                <a:gd name="connsiteY0" fmla="*/ 26353 h 31750"/>
                <a:gd name="connsiteX1" fmla="*/ 6668 w 44450"/>
                <a:gd name="connsiteY1" fmla="*/ 4763 h 31750"/>
                <a:gd name="connsiteX2" fmla="*/ 4763 w 44450"/>
                <a:gd name="connsiteY2" fmla="*/ 6667 h 31750"/>
                <a:gd name="connsiteX3" fmla="*/ 41593 w 44450"/>
                <a:gd name="connsiteY3" fmla="*/ 28258 h 31750"/>
                <a:gd name="connsiteX4" fmla="*/ 4349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3"/>
                  </a:moveTo>
                  <a:lnTo>
                    <a:pt x="6668" y="4763"/>
                  </a:lnTo>
                  <a:cubicBezTo>
                    <a:pt x="6033" y="5398"/>
                    <a:pt x="5398" y="6033"/>
                    <a:pt x="4763" y="6667"/>
                  </a:cubicBezTo>
                  <a:lnTo>
                    <a:pt x="41593" y="28258"/>
                  </a:lnTo>
                  <a:cubicBezTo>
                    <a:pt x="42228" y="27623"/>
                    <a:pt x="42863" y="26988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7" name="任意多边形: 形状 9936"/>
            <p:cNvSpPr/>
            <p:nvPr/>
          </p:nvSpPr>
          <p:spPr>
            <a:xfrm>
              <a:off x="5464492" y="3748088"/>
              <a:ext cx="44450" cy="31750"/>
            </a:xfrm>
            <a:custGeom>
              <a:avLst/>
              <a:gdLst>
                <a:gd name="connsiteX0" fmla="*/ 43498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349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3"/>
                  </a:moveTo>
                  <a:lnTo>
                    <a:pt x="6667" y="4763"/>
                  </a:lnTo>
                  <a:cubicBezTo>
                    <a:pt x="6033" y="5397"/>
                    <a:pt x="5398" y="6033"/>
                    <a:pt x="4763" y="6667"/>
                  </a:cubicBezTo>
                  <a:lnTo>
                    <a:pt x="41592" y="28258"/>
                  </a:lnTo>
                  <a:cubicBezTo>
                    <a:pt x="42228" y="27622"/>
                    <a:pt x="42863" y="26988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8" name="任意多边形: 形状 9937"/>
            <p:cNvSpPr/>
            <p:nvPr/>
          </p:nvSpPr>
          <p:spPr>
            <a:xfrm>
              <a:off x="5462588" y="3749992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5398"/>
                    <a:pt x="5397" y="6033"/>
                    <a:pt x="4763" y="6667"/>
                  </a:cubicBezTo>
                  <a:lnTo>
                    <a:pt x="41592" y="28258"/>
                  </a:lnTo>
                  <a:cubicBezTo>
                    <a:pt x="42228" y="27623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9" name="任意多边形: 形状 9938"/>
            <p:cNvSpPr/>
            <p:nvPr/>
          </p:nvSpPr>
          <p:spPr>
            <a:xfrm>
              <a:off x="5460683" y="3751897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668 h 31750"/>
                <a:gd name="connsiteX3" fmla="*/ 41592 w 44450"/>
                <a:gd name="connsiteY3" fmla="*/ 2825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5398"/>
                    <a:pt x="5397" y="6033"/>
                    <a:pt x="4763" y="6668"/>
                  </a:cubicBezTo>
                  <a:lnTo>
                    <a:pt x="41592" y="28258"/>
                  </a:lnTo>
                  <a:cubicBezTo>
                    <a:pt x="42227" y="27623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0" name="任意多边形: 形状 9939"/>
            <p:cNvSpPr/>
            <p:nvPr/>
          </p:nvSpPr>
          <p:spPr>
            <a:xfrm>
              <a:off x="5458778" y="3753803"/>
              <a:ext cx="44450" cy="31750"/>
            </a:xfrm>
            <a:custGeom>
              <a:avLst/>
              <a:gdLst>
                <a:gd name="connsiteX0" fmla="*/ 43497 w 44450"/>
                <a:gd name="connsiteY0" fmla="*/ 26352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7 h 31750"/>
                <a:gd name="connsiteX4" fmla="*/ 4349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2"/>
                  </a:moveTo>
                  <a:lnTo>
                    <a:pt x="6667" y="4763"/>
                  </a:lnTo>
                  <a:cubicBezTo>
                    <a:pt x="6032" y="5397"/>
                    <a:pt x="5397" y="6032"/>
                    <a:pt x="4763" y="6667"/>
                  </a:cubicBezTo>
                  <a:lnTo>
                    <a:pt x="41592" y="28257"/>
                  </a:lnTo>
                  <a:cubicBezTo>
                    <a:pt x="42227" y="27622"/>
                    <a:pt x="42863" y="26988"/>
                    <a:pt x="4349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1" name="任意多边形: 形状 9940"/>
            <p:cNvSpPr/>
            <p:nvPr/>
          </p:nvSpPr>
          <p:spPr>
            <a:xfrm>
              <a:off x="5456872" y="3755708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8 w 44450"/>
                <a:gd name="connsiteY1" fmla="*/ 4763 h 31750"/>
                <a:gd name="connsiteX2" fmla="*/ 4763 w 44450"/>
                <a:gd name="connsiteY2" fmla="*/ 6667 h 31750"/>
                <a:gd name="connsiteX3" fmla="*/ 41593 w 44450"/>
                <a:gd name="connsiteY3" fmla="*/ 28258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5397"/>
                    <a:pt x="5398" y="6033"/>
                    <a:pt x="4763" y="6667"/>
                  </a:cubicBezTo>
                  <a:lnTo>
                    <a:pt x="41593" y="28258"/>
                  </a:lnTo>
                  <a:cubicBezTo>
                    <a:pt x="42228" y="27622"/>
                    <a:pt x="42863" y="26988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2" name="任意多边形: 形状 9941"/>
            <p:cNvSpPr/>
            <p:nvPr/>
          </p:nvSpPr>
          <p:spPr>
            <a:xfrm>
              <a:off x="5455603" y="3757613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2" y="5397"/>
                    <a:pt x="5397" y="6033"/>
                    <a:pt x="4763" y="6667"/>
                  </a:cubicBezTo>
                  <a:lnTo>
                    <a:pt x="41592" y="28258"/>
                  </a:lnTo>
                  <a:cubicBezTo>
                    <a:pt x="42227" y="27622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3" name="任意多边形: 形状 9942"/>
            <p:cNvSpPr/>
            <p:nvPr/>
          </p:nvSpPr>
          <p:spPr>
            <a:xfrm>
              <a:off x="5453697" y="3759517"/>
              <a:ext cx="44450" cy="31750"/>
            </a:xfrm>
            <a:custGeom>
              <a:avLst/>
              <a:gdLst>
                <a:gd name="connsiteX0" fmla="*/ 43498 w 44450"/>
                <a:gd name="connsiteY0" fmla="*/ 26353 h 31750"/>
                <a:gd name="connsiteX1" fmla="*/ 6668 w 44450"/>
                <a:gd name="connsiteY1" fmla="*/ 4763 h 31750"/>
                <a:gd name="connsiteX2" fmla="*/ 4763 w 44450"/>
                <a:gd name="connsiteY2" fmla="*/ 7303 h 31750"/>
                <a:gd name="connsiteX3" fmla="*/ 41593 w 44450"/>
                <a:gd name="connsiteY3" fmla="*/ 28892 h 31750"/>
                <a:gd name="connsiteX4" fmla="*/ 4349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3"/>
                  </a:moveTo>
                  <a:lnTo>
                    <a:pt x="6668" y="4763"/>
                  </a:lnTo>
                  <a:cubicBezTo>
                    <a:pt x="6033" y="5398"/>
                    <a:pt x="5398" y="6667"/>
                    <a:pt x="4763" y="7303"/>
                  </a:cubicBezTo>
                  <a:lnTo>
                    <a:pt x="41593" y="28892"/>
                  </a:lnTo>
                  <a:cubicBezTo>
                    <a:pt x="42228" y="28258"/>
                    <a:pt x="42863" y="27623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4" name="任意多边形: 形状 9943"/>
            <p:cNvSpPr/>
            <p:nvPr/>
          </p:nvSpPr>
          <p:spPr>
            <a:xfrm>
              <a:off x="5451158" y="3762058"/>
              <a:ext cx="44450" cy="31750"/>
            </a:xfrm>
            <a:custGeom>
              <a:avLst/>
              <a:gdLst>
                <a:gd name="connsiteX0" fmla="*/ 44133 w 44450"/>
                <a:gd name="connsiteY0" fmla="*/ 26352 h 31750"/>
                <a:gd name="connsiteX1" fmla="*/ 7302 w 44450"/>
                <a:gd name="connsiteY1" fmla="*/ 4763 h 31750"/>
                <a:gd name="connsiteX2" fmla="*/ 4763 w 44450"/>
                <a:gd name="connsiteY2" fmla="*/ 8572 h 31750"/>
                <a:gd name="connsiteX3" fmla="*/ 41592 w 44450"/>
                <a:gd name="connsiteY3" fmla="*/ 30163 h 31750"/>
                <a:gd name="connsiteX4" fmla="*/ 4413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6352"/>
                  </a:moveTo>
                  <a:lnTo>
                    <a:pt x="7302" y="4763"/>
                  </a:lnTo>
                  <a:cubicBezTo>
                    <a:pt x="6667" y="6033"/>
                    <a:pt x="5397" y="7302"/>
                    <a:pt x="4763" y="8572"/>
                  </a:cubicBezTo>
                  <a:lnTo>
                    <a:pt x="41592" y="30163"/>
                  </a:lnTo>
                  <a:cubicBezTo>
                    <a:pt x="42227" y="28892"/>
                    <a:pt x="43497" y="27622"/>
                    <a:pt x="4413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5" name="任意多边形: 形状 9944"/>
            <p:cNvSpPr/>
            <p:nvPr/>
          </p:nvSpPr>
          <p:spPr>
            <a:xfrm>
              <a:off x="5447983" y="3765867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10478 h 31750"/>
                <a:gd name="connsiteX3" fmla="*/ 41592 w 44450"/>
                <a:gd name="connsiteY3" fmla="*/ 32067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667"/>
                    <a:pt x="5397" y="8573"/>
                    <a:pt x="4763" y="10478"/>
                  </a:cubicBezTo>
                  <a:lnTo>
                    <a:pt x="41592" y="32067"/>
                  </a:lnTo>
                  <a:cubicBezTo>
                    <a:pt x="42227" y="30163"/>
                    <a:pt x="43497" y="2825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6" name="任意多边形: 形状 9945"/>
            <p:cNvSpPr/>
            <p:nvPr/>
          </p:nvSpPr>
          <p:spPr>
            <a:xfrm>
              <a:off x="5446078" y="3771583"/>
              <a:ext cx="44450" cy="31750"/>
            </a:xfrm>
            <a:custGeom>
              <a:avLst/>
              <a:gdLst>
                <a:gd name="connsiteX0" fmla="*/ 43497 w 44450"/>
                <a:gd name="connsiteY0" fmla="*/ 26352 h 31750"/>
                <a:gd name="connsiteX1" fmla="*/ 6667 w 44450"/>
                <a:gd name="connsiteY1" fmla="*/ 4763 h 31750"/>
                <a:gd name="connsiteX2" fmla="*/ 4763 w 44450"/>
                <a:gd name="connsiteY2" fmla="*/ 8572 h 31750"/>
                <a:gd name="connsiteX3" fmla="*/ 41592 w 44450"/>
                <a:gd name="connsiteY3" fmla="*/ 30163 h 31750"/>
                <a:gd name="connsiteX4" fmla="*/ 4349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2"/>
                  </a:moveTo>
                  <a:lnTo>
                    <a:pt x="6667" y="4763"/>
                  </a:lnTo>
                  <a:cubicBezTo>
                    <a:pt x="6032" y="6033"/>
                    <a:pt x="5397" y="7302"/>
                    <a:pt x="4763" y="8572"/>
                  </a:cubicBezTo>
                  <a:lnTo>
                    <a:pt x="41592" y="30163"/>
                  </a:lnTo>
                  <a:cubicBezTo>
                    <a:pt x="41592" y="28258"/>
                    <a:pt x="42227" y="26988"/>
                    <a:pt x="4349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7" name="任意多边形: 形状 9946"/>
            <p:cNvSpPr/>
            <p:nvPr/>
          </p:nvSpPr>
          <p:spPr>
            <a:xfrm>
              <a:off x="5444172" y="377475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7302 h 31750"/>
                <a:gd name="connsiteX3" fmla="*/ 41593 w 44450"/>
                <a:gd name="connsiteY3" fmla="*/ 2889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5397"/>
                    <a:pt x="5398" y="6033"/>
                    <a:pt x="4763" y="7302"/>
                  </a:cubicBezTo>
                  <a:lnTo>
                    <a:pt x="41593" y="28892"/>
                  </a:lnTo>
                  <a:cubicBezTo>
                    <a:pt x="42228" y="28258"/>
                    <a:pt x="42863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8" name="任意多边形: 形状 9947"/>
            <p:cNvSpPr/>
            <p:nvPr/>
          </p:nvSpPr>
          <p:spPr>
            <a:xfrm>
              <a:off x="5443538" y="377729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668 h 31750"/>
                <a:gd name="connsiteX3" fmla="*/ 41592 w 44450"/>
                <a:gd name="connsiteY3" fmla="*/ 2825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8"/>
                    <a:pt x="5397" y="6033"/>
                    <a:pt x="4763" y="6668"/>
                  </a:cubicBezTo>
                  <a:lnTo>
                    <a:pt x="41592" y="28258"/>
                  </a:lnTo>
                  <a:cubicBezTo>
                    <a:pt x="41592" y="27623"/>
                    <a:pt x="42228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9" name="任意多边形: 形状 9948"/>
            <p:cNvSpPr/>
            <p:nvPr/>
          </p:nvSpPr>
          <p:spPr>
            <a:xfrm>
              <a:off x="5442903" y="3779838"/>
              <a:ext cx="44450" cy="31750"/>
            </a:xfrm>
            <a:custGeom>
              <a:avLst/>
              <a:gdLst>
                <a:gd name="connsiteX0" fmla="*/ 42227 w 44450"/>
                <a:gd name="connsiteY0" fmla="*/ 25717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7 w 44450"/>
                <a:gd name="connsiteY4" fmla="*/ 25717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5717"/>
                  </a:moveTo>
                  <a:lnTo>
                    <a:pt x="5397" y="4763"/>
                  </a:lnTo>
                  <a:cubicBezTo>
                    <a:pt x="5397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6988"/>
                    <a:pt x="41592" y="26353"/>
                    <a:pt x="42227" y="2571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0" name="任意多边形: 形状 9949"/>
            <p:cNvSpPr/>
            <p:nvPr/>
          </p:nvSpPr>
          <p:spPr>
            <a:xfrm>
              <a:off x="5441633" y="3781108"/>
              <a:ext cx="44450" cy="31750"/>
            </a:xfrm>
            <a:custGeom>
              <a:avLst/>
              <a:gdLst>
                <a:gd name="connsiteX0" fmla="*/ 42227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2"/>
                  </a:moveTo>
                  <a:lnTo>
                    <a:pt x="5397" y="4763"/>
                  </a:lnTo>
                  <a:cubicBezTo>
                    <a:pt x="5397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2227" y="28258"/>
                    <a:pt x="42227" y="27622"/>
                    <a:pt x="4222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1" name="任意多边形: 形状 9950"/>
            <p:cNvSpPr/>
            <p:nvPr/>
          </p:nvSpPr>
          <p:spPr>
            <a:xfrm>
              <a:off x="5440997" y="3783647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6668 h 31750"/>
                <a:gd name="connsiteX3" fmla="*/ 41593 w 44450"/>
                <a:gd name="connsiteY3" fmla="*/ 28258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5398"/>
                    <a:pt x="4763" y="6033"/>
                    <a:pt x="4763" y="6668"/>
                  </a:cubicBezTo>
                  <a:lnTo>
                    <a:pt x="41593" y="28258"/>
                  </a:lnTo>
                  <a:cubicBezTo>
                    <a:pt x="41593" y="27623"/>
                    <a:pt x="42228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2" name="任意多边形: 形状 9951"/>
            <p:cNvSpPr/>
            <p:nvPr/>
          </p:nvSpPr>
          <p:spPr>
            <a:xfrm>
              <a:off x="5440363" y="3785553"/>
              <a:ext cx="44450" cy="31750"/>
            </a:xfrm>
            <a:custGeom>
              <a:avLst/>
              <a:gdLst>
                <a:gd name="connsiteX0" fmla="*/ 42228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7 h 31750"/>
                <a:gd name="connsiteX4" fmla="*/ 4222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2"/>
                  </a:moveTo>
                  <a:lnTo>
                    <a:pt x="5397" y="4763"/>
                  </a:lnTo>
                  <a:cubicBezTo>
                    <a:pt x="5397" y="5397"/>
                    <a:pt x="4763" y="6032"/>
                    <a:pt x="4763" y="6667"/>
                  </a:cubicBezTo>
                  <a:lnTo>
                    <a:pt x="41592" y="28257"/>
                  </a:lnTo>
                  <a:cubicBezTo>
                    <a:pt x="41592" y="27622"/>
                    <a:pt x="41592" y="26988"/>
                    <a:pt x="4222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3" name="任意多边形: 形状 9952"/>
            <p:cNvSpPr/>
            <p:nvPr/>
          </p:nvSpPr>
          <p:spPr>
            <a:xfrm>
              <a:off x="5439728" y="3787458"/>
              <a:ext cx="44450" cy="31750"/>
            </a:xfrm>
            <a:custGeom>
              <a:avLst/>
              <a:gdLst>
                <a:gd name="connsiteX0" fmla="*/ 42227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2"/>
                  </a:moveTo>
                  <a:lnTo>
                    <a:pt x="5397" y="4763"/>
                  </a:lnTo>
                  <a:cubicBezTo>
                    <a:pt x="5397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7622"/>
                    <a:pt x="41592" y="26988"/>
                    <a:pt x="4222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4" name="任意多边形: 形状 9953"/>
            <p:cNvSpPr/>
            <p:nvPr/>
          </p:nvSpPr>
          <p:spPr>
            <a:xfrm>
              <a:off x="5439092" y="3789363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7622"/>
                    <a:pt x="41592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5" name="任意多边形: 形状 9954"/>
            <p:cNvSpPr/>
            <p:nvPr/>
          </p:nvSpPr>
          <p:spPr>
            <a:xfrm>
              <a:off x="5437822" y="3791267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6667 h 31750"/>
                <a:gd name="connsiteX3" fmla="*/ 41593 w 44450"/>
                <a:gd name="connsiteY3" fmla="*/ 28258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5398"/>
                    <a:pt x="4763" y="6033"/>
                    <a:pt x="4763" y="6667"/>
                  </a:cubicBezTo>
                  <a:lnTo>
                    <a:pt x="41593" y="28258"/>
                  </a:lnTo>
                  <a:cubicBezTo>
                    <a:pt x="42228" y="28258"/>
                    <a:pt x="42228" y="27623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6" name="任意多边形: 形状 9955"/>
            <p:cNvSpPr/>
            <p:nvPr/>
          </p:nvSpPr>
          <p:spPr>
            <a:xfrm>
              <a:off x="5437188" y="3793808"/>
              <a:ext cx="44450" cy="31750"/>
            </a:xfrm>
            <a:custGeom>
              <a:avLst/>
              <a:gdLst>
                <a:gd name="connsiteX0" fmla="*/ 42228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2"/>
                  </a:moveTo>
                  <a:lnTo>
                    <a:pt x="5397" y="4763"/>
                  </a:lnTo>
                  <a:cubicBezTo>
                    <a:pt x="5397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2228" y="27622"/>
                    <a:pt x="42228" y="26988"/>
                    <a:pt x="4222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7" name="任意多边形: 形状 9956"/>
            <p:cNvSpPr/>
            <p:nvPr/>
          </p:nvSpPr>
          <p:spPr>
            <a:xfrm>
              <a:off x="5437188" y="3795713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7" y="4763"/>
                  </a:lnTo>
                  <a:cubicBezTo>
                    <a:pt x="5397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7622"/>
                    <a:pt x="41592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8" name="任意多边形: 形状 9957"/>
            <p:cNvSpPr/>
            <p:nvPr/>
          </p:nvSpPr>
          <p:spPr>
            <a:xfrm>
              <a:off x="5436553" y="3797617"/>
              <a:ext cx="44450" cy="31750"/>
            </a:xfrm>
            <a:custGeom>
              <a:avLst/>
              <a:gdLst>
                <a:gd name="connsiteX0" fmla="*/ 42227 w 44450"/>
                <a:gd name="connsiteY0" fmla="*/ 26353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3"/>
                  </a:moveTo>
                  <a:lnTo>
                    <a:pt x="5397" y="4763"/>
                  </a:lnTo>
                  <a:cubicBezTo>
                    <a:pt x="5397" y="5398"/>
                    <a:pt x="5397" y="6033"/>
                    <a:pt x="4763" y="6667"/>
                  </a:cubicBezTo>
                  <a:lnTo>
                    <a:pt x="41592" y="28258"/>
                  </a:lnTo>
                  <a:cubicBezTo>
                    <a:pt x="41592" y="28258"/>
                    <a:pt x="42227" y="27623"/>
                    <a:pt x="4222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9" name="任意多边形: 形状 9958"/>
            <p:cNvSpPr/>
            <p:nvPr/>
          </p:nvSpPr>
          <p:spPr>
            <a:xfrm>
              <a:off x="5435917" y="3800158"/>
              <a:ext cx="44450" cy="31750"/>
            </a:xfrm>
            <a:custGeom>
              <a:avLst/>
              <a:gdLst>
                <a:gd name="connsiteX0" fmla="*/ 42228 w 44450"/>
                <a:gd name="connsiteY0" fmla="*/ 26352 h 31750"/>
                <a:gd name="connsiteX1" fmla="*/ 5398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2"/>
                  </a:moveTo>
                  <a:lnTo>
                    <a:pt x="5398" y="4763"/>
                  </a:lnTo>
                  <a:cubicBezTo>
                    <a:pt x="5398" y="5397"/>
                    <a:pt x="5398" y="6033"/>
                    <a:pt x="4763" y="6667"/>
                  </a:cubicBezTo>
                  <a:lnTo>
                    <a:pt x="41592" y="28258"/>
                  </a:lnTo>
                  <a:cubicBezTo>
                    <a:pt x="42228" y="27622"/>
                    <a:pt x="42228" y="26988"/>
                    <a:pt x="4222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0" name="任意多边形: 形状 9959"/>
            <p:cNvSpPr/>
            <p:nvPr/>
          </p:nvSpPr>
          <p:spPr>
            <a:xfrm>
              <a:off x="5436553" y="3802063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0957" y="27622"/>
                    <a:pt x="40957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1" name="任意多边形: 形状 9960"/>
            <p:cNvSpPr/>
            <p:nvPr/>
          </p:nvSpPr>
          <p:spPr>
            <a:xfrm>
              <a:off x="5435917" y="3803967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7623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2" name="任意多边形: 形状 9961"/>
            <p:cNvSpPr/>
            <p:nvPr/>
          </p:nvSpPr>
          <p:spPr>
            <a:xfrm>
              <a:off x="5435917" y="3805872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8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6668"/>
                  </a:cubicBezTo>
                  <a:lnTo>
                    <a:pt x="41592" y="28258"/>
                  </a:lnTo>
                  <a:cubicBezTo>
                    <a:pt x="41592" y="27623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3" name="任意多边形: 形状 9962"/>
            <p:cNvSpPr/>
            <p:nvPr/>
          </p:nvSpPr>
          <p:spPr>
            <a:xfrm>
              <a:off x="5435917" y="3807778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7 h 31750"/>
                <a:gd name="connsiteX4" fmla="*/ 4159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4763" y="6032"/>
                    <a:pt x="4763" y="6667"/>
                  </a:cubicBezTo>
                  <a:lnTo>
                    <a:pt x="41592" y="28257"/>
                  </a:lnTo>
                  <a:cubicBezTo>
                    <a:pt x="40958" y="27622"/>
                    <a:pt x="40958" y="26988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4" name="任意多边形: 形状 9963"/>
            <p:cNvSpPr/>
            <p:nvPr/>
          </p:nvSpPr>
          <p:spPr>
            <a:xfrm>
              <a:off x="5435283" y="3809683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763 w 44450"/>
                <a:gd name="connsiteY3" fmla="*/ 6667 h 31750"/>
                <a:gd name="connsiteX4" fmla="*/ 41592 w 44450"/>
                <a:gd name="connsiteY4" fmla="*/ 28258 h 31750"/>
                <a:gd name="connsiteX5" fmla="*/ 41592 w 44450"/>
                <a:gd name="connsiteY5" fmla="*/ 28258 h 31750"/>
                <a:gd name="connsiteX6" fmla="*/ 41592 w 44450"/>
                <a:gd name="connsiteY6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4763" y="6667"/>
                  </a:cubicBezTo>
                  <a:cubicBezTo>
                    <a:pt x="4763" y="6667"/>
                    <a:pt x="4763" y="6667"/>
                    <a:pt x="4763" y="6667"/>
                  </a:cubicBezTo>
                  <a:lnTo>
                    <a:pt x="41592" y="28258"/>
                  </a:lnTo>
                  <a:lnTo>
                    <a:pt x="41592" y="28258"/>
                  </a:lnTo>
                  <a:cubicBezTo>
                    <a:pt x="41592" y="27622"/>
                    <a:pt x="41592" y="26988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5" name="任意多边形: 形状 9964"/>
            <p:cNvSpPr/>
            <p:nvPr/>
          </p:nvSpPr>
          <p:spPr>
            <a:xfrm>
              <a:off x="5435283" y="3811588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4763" y="6033"/>
                  </a:cubicBezTo>
                  <a:lnTo>
                    <a:pt x="41592" y="27622"/>
                  </a:lnTo>
                  <a:cubicBezTo>
                    <a:pt x="41592" y="27622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6" name="任意多边形: 形状 9965"/>
            <p:cNvSpPr/>
            <p:nvPr/>
          </p:nvSpPr>
          <p:spPr>
            <a:xfrm>
              <a:off x="5435283" y="3813492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2227" y="27623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7" name="任意多边形: 形状 9966"/>
            <p:cNvSpPr/>
            <p:nvPr/>
          </p:nvSpPr>
          <p:spPr>
            <a:xfrm>
              <a:off x="5435917" y="3814763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8258"/>
                    <a:pt x="41592" y="27622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8" name="任意多边形: 形状 9967"/>
            <p:cNvSpPr/>
            <p:nvPr/>
          </p:nvSpPr>
          <p:spPr>
            <a:xfrm>
              <a:off x="5435917" y="3817303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4763 w 44450"/>
                <a:gd name="connsiteY2" fmla="*/ 6032 h 31750"/>
                <a:gd name="connsiteX3" fmla="*/ 41592 w 44450"/>
                <a:gd name="connsiteY3" fmla="*/ 27622 h 31750"/>
                <a:gd name="connsiteX4" fmla="*/ 4159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4763" y="5397"/>
                    <a:pt x="4763" y="6032"/>
                  </a:cubicBezTo>
                  <a:lnTo>
                    <a:pt x="41592" y="27622"/>
                  </a:lnTo>
                  <a:cubicBezTo>
                    <a:pt x="41592" y="26988"/>
                    <a:pt x="41592" y="26352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9" name="任意多边形: 形状 9968"/>
            <p:cNvSpPr/>
            <p:nvPr/>
          </p:nvSpPr>
          <p:spPr>
            <a:xfrm>
              <a:off x="5434013" y="3645651"/>
              <a:ext cx="368300" cy="311150"/>
            </a:xfrm>
            <a:custGeom>
              <a:avLst/>
              <a:gdLst>
                <a:gd name="connsiteX0" fmla="*/ 181928 w 368300"/>
                <a:gd name="connsiteY0" fmla="*/ 15124 h 311150"/>
                <a:gd name="connsiteX1" fmla="*/ 111442 w 368300"/>
                <a:gd name="connsiteY1" fmla="*/ 114819 h 311150"/>
                <a:gd name="connsiteX2" fmla="*/ 86042 w 368300"/>
                <a:gd name="connsiteY2" fmla="*/ 119899 h 311150"/>
                <a:gd name="connsiteX3" fmla="*/ 43497 w 368300"/>
                <a:gd name="connsiteY3" fmla="*/ 192289 h 311150"/>
                <a:gd name="connsiteX4" fmla="*/ 44133 w 368300"/>
                <a:gd name="connsiteY4" fmla="*/ 198639 h 311150"/>
                <a:gd name="connsiteX5" fmla="*/ 4763 w 368300"/>
                <a:gd name="connsiteY5" fmla="*/ 274839 h 311150"/>
                <a:gd name="connsiteX6" fmla="*/ 46038 w 368300"/>
                <a:gd name="connsiteY6" fmla="*/ 305319 h 311150"/>
                <a:gd name="connsiteX7" fmla="*/ 332422 w 368300"/>
                <a:gd name="connsiteY7" fmla="*/ 140854 h 311150"/>
                <a:gd name="connsiteX8" fmla="*/ 338138 w 368300"/>
                <a:gd name="connsiteY8" fmla="*/ 137679 h 311150"/>
                <a:gd name="connsiteX9" fmla="*/ 366713 w 368300"/>
                <a:gd name="connsiteY9" fmla="*/ 89419 h 311150"/>
                <a:gd name="connsiteX10" fmla="*/ 341947 w 368300"/>
                <a:gd name="connsiteY10" fmla="*/ 72274 h 311150"/>
                <a:gd name="connsiteX11" fmla="*/ 343217 w 368300"/>
                <a:gd name="connsiteY11" fmla="*/ 61479 h 311150"/>
                <a:gd name="connsiteX12" fmla="*/ 314642 w 368300"/>
                <a:gd name="connsiteY12" fmla="*/ 46239 h 311150"/>
                <a:gd name="connsiteX13" fmla="*/ 299403 w 368300"/>
                <a:gd name="connsiteY13" fmla="*/ 59574 h 311150"/>
                <a:gd name="connsiteX14" fmla="*/ 268288 w 368300"/>
                <a:gd name="connsiteY14" fmla="*/ 44334 h 311150"/>
                <a:gd name="connsiteX15" fmla="*/ 255588 w 368300"/>
                <a:gd name="connsiteY15" fmla="*/ 55129 h 311150"/>
                <a:gd name="connsiteX16" fmla="*/ 181928 w 368300"/>
                <a:gd name="connsiteY16" fmla="*/ 15124 h 31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8300" h="311150">
                  <a:moveTo>
                    <a:pt x="181928" y="15124"/>
                  </a:moveTo>
                  <a:cubicBezTo>
                    <a:pt x="148272" y="34809"/>
                    <a:pt x="120333" y="75449"/>
                    <a:pt x="111442" y="114819"/>
                  </a:cubicBezTo>
                  <a:cubicBezTo>
                    <a:pt x="104458" y="112914"/>
                    <a:pt x="95567" y="114819"/>
                    <a:pt x="86042" y="119899"/>
                  </a:cubicBezTo>
                  <a:cubicBezTo>
                    <a:pt x="62547" y="133234"/>
                    <a:pt x="43497" y="165619"/>
                    <a:pt x="43497" y="192289"/>
                  </a:cubicBezTo>
                  <a:cubicBezTo>
                    <a:pt x="43497" y="194829"/>
                    <a:pt x="43497" y="196734"/>
                    <a:pt x="44133" y="198639"/>
                  </a:cubicBezTo>
                  <a:cubicBezTo>
                    <a:pt x="21908" y="217054"/>
                    <a:pt x="4763" y="248804"/>
                    <a:pt x="4763" y="274839"/>
                  </a:cubicBezTo>
                  <a:cubicBezTo>
                    <a:pt x="4763" y="302144"/>
                    <a:pt x="22542" y="314209"/>
                    <a:pt x="46038" y="305319"/>
                  </a:cubicBezTo>
                  <a:lnTo>
                    <a:pt x="332422" y="140854"/>
                  </a:lnTo>
                  <a:cubicBezTo>
                    <a:pt x="334328" y="139584"/>
                    <a:pt x="336233" y="138949"/>
                    <a:pt x="338138" y="137679"/>
                  </a:cubicBezTo>
                  <a:cubicBezTo>
                    <a:pt x="354013" y="128789"/>
                    <a:pt x="366713" y="107199"/>
                    <a:pt x="366713" y="89419"/>
                  </a:cubicBezTo>
                  <a:cubicBezTo>
                    <a:pt x="366713" y="73544"/>
                    <a:pt x="355917" y="66559"/>
                    <a:pt x="341947" y="72274"/>
                  </a:cubicBezTo>
                  <a:cubicBezTo>
                    <a:pt x="342583" y="68464"/>
                    <a:pt x="343217" y="65289"/>
                    <a:pt x="343217" y="61479"/>
                  </a:cubicBezTo>
                  <a:cubicBezTo>
                    <a:pt x="343217" y="43699"/>
                    <a:pt x="330517" y="37349"/>
                    <a:pt x="314642" y="46239"/>
                  </a:cubicBezTo>
                  <a:cubicBezTo>
                    <a:pt x="308928" y="49414"/>
                    <a:pt x="303847" y="53859"/>
                    <a:pt x="299403" y="59574"/>
                  </a:cubicBezTo>
                  <a:cubicBezTo>
                    <a:pt x="298767" y="41159"/>
                    <a:pt x="285433" y="34809"/>
                    <a:pt x="268288" y="44334"/>
                  </a:cubicBezTo>
                  <a:cubicBezTo>
                    <a:pt x="263842" y="46874"/>
                    <a:pt x="259397" y="50684"/>
                    <a:pt x="255588" y="55129"/>
                  </a:cubicBezTo>
                  <a:cubicBezTo>
                    <a:pt x="256222" y="9409"/>
                    <a:pt x="222567" y="-8371"/>
                    <a:pt x="181928" y="15124"/>
                  </a:cubicBezTo>
                  <a:close/>
                </a:path>
              </a:pathLst>
            </a:custGeom>
            <a:solidFill>
              <a:srgbClr val="D9E1F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0" name="任意多边形: 形状 9969"/>
            <p:cNvSpPr/>
            <p:nvPr/>
          </p:nvSpPr>
          <p:spPr>
            <a:xfrm>
              <a:off x="10122218" y="2214923"/>
              <a:ext cx="1435100" cy="2336800"/>
            </a:xfrm>
            <a:custGeom>
              <a:avLst/>
              <a:gdLst>
                <a:gd name="connsiteX0" fmla="*/ 125413 w 1435100"/>
                <a:gd name="connsiteY0" fmla="*/ 20277 h 2336800"/>
                <a:gd name="connsiteX1" fmla="*/ 9842 w 1435100"/>
                <a:gd name="connsiteY1" fmla="*/ 86317 h 2336800"/>
                <a:gd name="connsiteX2" fmla="*/ 4763 w 1435100"/>
                <a:gd name="connsiteY2" fmla="*/ 1427437 h 2336800"/>
                <a:gd name="connsiteX3" fmla="*/ 119697 w 1435100"/>
                <a:gd name="connsiteY3" fmla="*/ 1626192 h 2336800"/>
                <a:gd name="connsiteX4" fmla="*/ 1309688 w 1435100"/>
                <a:gd name="connsiteY4" fmla="*/ 2318342 h 2336800"/>
                <a:gd name="connsiteX5" fmla="*/ 1425257 w 1435100"/>
                <a:gd name="connsiteY5" fmla="*/ 2252937 h 2336800"/>
                <a:gd name="connsiteX6" fmla="*/ 1430338 w 1435100"/>
                <a:gd name="connsiteY6" fmla="*/ 911817 h 2336800"/>
                <a:gd name="connsiteX7" fmla="*/ 1315402 w 1435100"/>
                <a:gd name="connsiteY7" fmla="*/ 713062 h 2336800"/>
                <a:gd name="connsiteX8" fmla="*/ 125413 w 1435100"/>
                <a:gd name="connsiteY8" fmla="*/ 20277 h 233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5100" h="2336800">
                  <a:moveTo>
                    <a:pt x="125413" y="20277"/>
                  </a:moveTo>
                  <a:cubicBezTo>
                    <a:pt x="61913" y="-15918"/>
                    <a:pt x="10477" y="13292"/>
                    <a:pt x="9842" y="86317"/>
                  </a:cubicBezTo>
                  <a:lnTo>
                    <a:pt x="4763" y="1427437"/>
                  </a:lnTo>
                  <a:cubicBezTo>
                    <a:pt x="4763" y="1499827"/>
                    <a:pt x="56197" y="1589362"/>
                    <a:pt x="119697" y="1626192"/>
                  </a:cubicBezTo>
                  <a:lnTo>
                    <a:pt x="1309688" y="2318342"/>
                  </a:lnTo>
                  <a:cubicBezTo>
                    <a:pt x="1373188" y="2355172"/>
                    <a:pt x="1425257" y="2325327"/>
                    <a:pt x="1425257" y="2252937"/>
                  </a:cubicBezTo>
                  <a:lnTo>
                    <a:pt x="1430338" y="911817"/>
                  </a:lnTo>
                  <a:cubicBezTo>
                    <a:pt x="1430338" y="839427"/>
                    <a:pt x="1378902" y="749892"/>
                    <a:pt x="1315402" y="713062"/>
                  </a:cubicBezTo>
                  <a:lnTo>
                    <a:pt x="125413" y="20277"/>
                  </a:lnTo>
                  <a:close/>
                </a:path>
              </a:pathLst>
            </a:custGeom>
            <a:solidFill>
              <a:srgbClr val="9AC9F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1" name="任意多边形: 形状 9970"/>
            <p:cNvSpPr/>
            <p:nvPr/>
          </p:nvSpPr>
          <p:spPr>
            <a:xfrm>
              <a:off x="10122218" y="2249488"/>
              <a:ext cx="1377950" cy="2298700"/>
            </a:xfrm>
            <a:custGeom>
              <a:avLst/>
              <a:gdLst>
                <a:gd name="connsiteX0" fmla="*/ 9842 w 1377950"/>
                <a:gd name="connsiteY0" fmla="*/ 51752 h 2298700"/>
                <a:gd name="connsiteX1" fmla="*/ 19367 w 1377950"/>
                <a:gd name="connsiteY1" fmla="*/ 4763 h 2298700"/>
                <a:gd name="connsiteX2" fmla="*/ 70167 w 1377950"/>
                <a:gd name="connsiteY2" fmla="*/ 20002 h 2298700"/>
                <a:gd name="connsiteX3" fmla="*/ 1260157 w 1377950"/>
                <a:gd name="connsiteY3" fmla="*/ 712152 h 2298700"/>
                <a:gd name="connsiteX4" fmla="*/ 1375092 w 1377950"/>
                <a:gd name="connsiteY4" fmla="*/ 910908 h 2298700"/>
                <a:gd name="connsiteX5" fmla="*/ 1370013 w 1377950"/>
                <a:gd name="connsiteY5" fmla="*/ 2252028 h 2298700"/>
                <a:gd name="connsiteX6" fmla="*/ 1360488 w 1377950"/>
                <a:gd name="connsiteY6" fmla="*/ 2299018 h 2298700"/>
                <a:gd name="connsiteX7" fmla="*/ 1309688 w 1377950"/>
                <a:gd name="connsiteY7" fmla="*/ 2283778 h 2298700"/>
                <a:gd name="connsiteX8" fmla="*/ 119697 w 1377950"/>
                <a:gd name="connsiteY8" fmla="*/ 1591628 h 2298700"/>
                <a:gd name="connsiteX9" fmla="*/ 4763 w 1377950"/>
                <a:gd name="connsiteY9" fmla="*/ 1392872 h 2298700"/>
                <a:gd name="connsiteX10" fmla="*/ 9842 w 1377950"/>
                <a:gd name="connsiteY10" fmla="*/ 51752 h 2298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7950" h="2298700">
                  <a:moveTo>
                    <a:pt x="9842" y="51752"/>
                  </a:moveTo>
                  <a:cubicBezTo>
                    <a:pt x="9842" y="33338"/>
                    <a:pt x="13652" y="17463"/>
                    <a:pt x="19367" y="4763"/>
                  </a:cubicBezTo>
                  <a:cubicBezTo>
                    <a:pt x="34607" y="4763"/>
                    <a:pt x="51752" y="9842"/>
                    <a:pt x="70167" y="20002"/>
                  </a:cubicBezTo>
                  <a:lnTo>
                    <a:pt x="1260157" y="712152"/>
                  </a:lnTo>
                  <a:cubicBezTo>
                    <a:pt x="1323657" y="748983"/>
                    <a:pt x="1375092" y="837883"/>
                    <a:pt x="1375092" y="910908"/>
                  </a:cubicBezTo>
                  <a:lnTo>
                    <a:pt x="1370013" y="2252028"/>
                  </a:lnTo>
                  <a:cubicBezTo>
                    <a:pt x="1370013" y="2270443"/>
                    <a:pt x="1366202" y="2286318"/>
                    <a:pt x="1360488" y="2299018"/>
                  </a:cubicBezTo>
                  <a:cubicBezTo>
                    <a:pt x="1345247" y="2299018"/>
                    <a:pt x="1328102" y="2293938"/>
                    <a:pt x="1309688" y="2283778"/>
                  </a:cubicBezTo>
                  <a:lnTo>
                    <a:pt x="119697" y="1591628"/>
                  </a:lnTo>
                  <a:cubicBezTo>
                    <a:pt x="56197" y="1555433"/>
                    <a:pt x="4763" y="1465897"/>
                    <a:pt x="4763" y="1392872"/>
                  </a:cubicBezTo>
                  <a:lnTo>
                    <a:pt x="9842" y="51752"/>
                  </a:lnTo>
                  <a:close/>
                </a:path>
              </a:pathLst>
            </a:custGeom>
            <a:solidFill>
              <a:schemeClr val="accent3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2" name="任意多边形: 形状 9971"/>
            <p:cNvSpPr/>
            <p:nvPr/>
          </p:nvSpPr>
          <p:spPr>
            <a:xfrm>
              <a:off x="10127932" y="2509838"/>
              <a:ext cx="952500" cy="1593850"/>
            </a:xfrm>
            <a:custGeom>
              <a:avLst/>
              <a:gdLst>
                <a:gd name="connsiteX0" fmla="*/ 8573 w 952500"/>
                <a:gd name="connsiteY0" fmla="*/ 37148 h 1593850"/>
                <a:gd name="connsiteX1" fmla="*/ 14923 w 952500"/>
                <a:gd name="connsiteY1" fmla="*/ 4763 h 1593850"/>
                <a:gd name="connsiteX2" fmla="*/ 49848 w 952500"/>
                <a:gd name="connsiteY2" fmla="*/ 15558 h 1593850"/>
                <a:gd name="connsiteX3" fmla="*/ 872173 w 952500"/>
                <a:gd name="connsiteY3" fmla="*/ 493713 h 1593850"/>
                <a:gd name="connsiteX4" fmla="*/ 951548 w 952500"/>
                <a:gd name="connsiteY4" fmla="*/ 630873 h 1593850"/>
                <a:gd name="connsiteX5" fmla="*/ 947738 w 952500"/>
                <a:gd name="connsiteY5" fmla="*/ 1557972 h 1593850"/>
                <a:gd name="connsiteX6" fmla="*/ 941388 w 952500"/>
                <a:gd name="connsiteY6" fmla="*/ 1590358 h 1593850"/>
                <a:gd name="connsiteX7" fmla="*/ 906463 w 952500"/>
                <a:gd name="connsiteY7" fmla="*/ 1579563 h 1593850"/>
                <a:gd name="connsiteX8" fmla="*/ 84138 w 952500"/>
                <a:gd name="connsiteY8" fmla="*/ 1101408 h 1593850"/>
                <a:gd name="connsiteX9" fmla="*/ 4763 w 952500"/>
                <a:gd name="connsiteY9" fmla="*/ 964247 h 1593850"/>
                <a:gd name="connsiteX10" fmla="*/ 8573 w 952500"/>
                <a:gd name="connsiteY10" fmla="*/ 37148 h 159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2500" h="1593850">
                  <a:moveTo>
                    <a:pt x="8573" y="37148"/>
                  </a:moveTo>
                  <a:cubicBezTo>
                    <a:pt x="8573" y="24448"/>
                    <a:pt x="11113" y="13652"/>
                    <a:pt x="14923" y="4763"/>
                  </a:cubicBezTo>
                  <a:cubicBezTo>
                    <a:pt x="25718" y="4763"/>
                    <a:pt x="37148" y="7938"/>
                    <a:pt x="49848" y="15558"/>
                  </a:cubicBezTo>
                  <a:lnTo>
                    <a:pt x="872173" y="493713"/>
                  </a:lnTo>
                  <a:cubicBezTo>
                    <a:pt x="915988" y="519113"/>
                    <a:pt x="951548" y="580708"/>
                    <a:pt x="951548" y="630873"/>
                  </a:cubicBezTo>
                  <a:lnTo>
                    <a:pt x="947738" y="1557972"/>
                  </a:lnTo>
                  <a:cubicBezTo>
                    <a:pt x="947738" y="1570672"/>
                    <a:pt x="945198" y="1581467"/>
                    <a:pt x="941388" y="1590358"/>
                  </a:cubicBezTo>
                  <a:cubicBezTo>
                    <a:pt x="930593" y="1590358"/>
                    <a:pt x="919163" y="1587183"/>
                    <a:pt x="906463" y="1579563"/>
                  </a:cubicBezTo>
                  <a:lnTo>
                    <a:pt x="84138" y="1101408"/>
                  </a:lnTo>
                  <a:cubicBezTo>
                    <a:pt x="40323" y="1076008"/>
                    <a:pt x="4763" y="1014413"/>
                    <a:pt x="4763" y="964247"/>
                  </a:cubicBezTo>
                  <a:lnTo>
                    <a:pt x="8573" y="37148"/>
                  </a:lnTo>
                  <a:close/>
                </a:path>
              </a:pathLst>
            </a:custGeom>
            <a:solidFill>
              <a:srgbClr val="D7E9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3" name="任意多边形: 形状 9972"/>
            <p:cNvSpPr/>
            <p:nvPr/>
          </p:nvSpPr>
          <p:spPr>
            <a:xfrm>
              <a:off x="9250997" y="1411648"/>
              <a:ext cx="1435100" cy="2819400"/>
            </a:xfrm>
            <a:custGeom>
              <a:avLst/>
              <a:gdLst>
                <a:gd name="connsiteX0" fmla="*/ 125413 w 1435100"/>
                <a:gd name="connsiteY0" fmla="*/ 20277 h 2819400"/>
                <a:gd name="connsiteX1" fmla="*/ 9843 w 1435100"/>
                <a:gd name="connsiteY1" fmla="*/ 86317 h 2819400"/>
                <a:gd name="connsiteX2" fmla="*/ 4763 w 1435100"/>
                <a:gd name="connsiteY2" fmla="*/ 1913212 h 2819400"/>
                <a:gd name="connsiteX3" fmla="*/ 119697 w 1435100"/>
                <a:gd name="connsiteY3" fmla="*/ 2111967 h 2819400"/>
                <a:gd name="connsiteX4" fmla="*/ 1309688 w 1435100"/>
                <a:gd name="connsiteY4" fmla="*/ 2804117 h 2819400"/>
                <a:gd name="connsiteX5" fmla="*/ 1425258 w 1435100"/>
                <a:gd name="connsiteY5" fmla="*/ 2738712 h 2819400"/>
                <a:gd name="connsiteX6" fmla="*/ 1430338 w 1435100"/>
                <a:gd name="connsiteY6" fmla="*/ 911817 h 2819400"/>
                <a:gd name="connsiteX7" fmla="*/ 1315403 w 1435100"/>
                <a:gd name="connsiteY7" fmla="*/ 713062 h 2819400"/>
                <a:gd name="connsiteX8" fmla="*/ 125413 w 1435100"/>
                <a:gd name="connsiteY8" fmla="*/ 20277 h 281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5100" h="2819400">
                  <a:moveTo>
                    <a:pt x="125413" y="20277"/>
                  </a:moveTo>
                  <a:cubicBezTo>
                    <a:pt x="61913" y="-15918"/>
                    <a:pt x="10478" y="13292"/>
                    <a:pt x="9843" y="86317"/>
                  </a:cubicBezTo>
                  <a:lnTo>
                    <a:pt x="4763" y="1913212"/>
                  </a:lnTo>
                  <a:cubicBezTo>
                    <a:pt x="4763" y="1985602"/>
                    <a:pt x="56197" y="2075137"/>
                    <a:pt x="119697" y="2111967"/>
                  </a:cubicBezTo>
                  <a:lnTo>
                    <a:pt x="1309688" y="2804117"/>
                  </a:lnTo>
                  <a:cubicBezTo>
                    <a:pt x="1373188" y="2840947"/>
                    <a:pt x="1425258" y="2811102"/>
                    <a:pt x="1425258" y="2738712"/>
                  </a:cubicBezTo>
                  <a:lnTo>
                    <a:pt x="1430338" y="911817"/>
                  </a:lnTo>
                  <a:cubicBezTo>
                    <a:pt x="1430338" y="839427"/>
                    <a:pt x="1378903" y="749892"/>
                    <a:pt x="1315403" y="713062"/>
                  </a:cubicBezTo>
                  <a:lnTo>
                    <a:pt x="125413" y="20277"/>
                  </a:lnTo>
                  <a:close/>
                </a:path>
              </a:pathLst>
            </a:custGeom>
            <a:solidFill>
              <a:srgbClr val="D1D4E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4" name="任意多边形: 形状 9973"/>
            <p:cNvSpPr/>
            <p:nvPr/>
          </p:nvSpPr>
          <p:spPr>
            <a:xfrm>
              <a:off x="9250997" y="1440710"/>
              <a:ext cx="1390650" cy="2794000"/>
            </a:xfrm>
            <a:custGeom>
              <a:avLst/>
              <a:gdLst>
                <a:gd name="connsiteX0" fmla="*/ 9843 w 1390650"/>
                <a:gd name="connsiteY0" fmla="*/ 56620 h 2794000"/>
                <a:gd name="connsiteX1" fmla="*/ 21908 w 1390650"/>
                <a:gd name="connsiteY1" fmla="*/ 5185 h 2794000"/>
                <a:gd name="connsiteX2" fmla="*/ 81597 w 1390650"/>
                <a:gd name="connsiteY2" fmla="*/ 20425 h 2794000"/>
                <a:gd name="connsiteX3" fmla="*/ 1271588 w 1390650"/>
                <a:gd name="connsiteY3" fmla="*/ 712575 h 2794000"/>
                <a:gd name="connsiteX4" fmla="*/ 1386522 w 1390650"/>
                <a:gd name="connsiteY4" fmla="*/ 911330 h 2794000"/>
                <a:gd name="connsiteX5" fmla="*/ 1381443 w 1390650"/>
                <a:gd name="connsiteY5" fmla="*/ 2738225 h 2794000"/>
                <a:gd name="connsiteX6" fmla="*/ 1369378 w 1390650"/>
                <a:gd name="connsiteY6" fmla="*/ 2789660 h 2794000"/>
                <a:gd name="connsiteX7" fmla="*/ 1309688 w 1390650"/>
                <a:gd name="connsiteY7" fmla="*/ 2774420 h 2794000"/>
                <a:gd name="connsiteX8" fmla="*/ 119697 w 1390650"/>
                <a:gd name="connsiteY8" fmla="*/ 2082270 h 2794000"/>
                <a:gd name="connsiteX9" fmla="*/ 4763 w 1390650"/>
                <a:gd name="connsiteY9" fmla="*/ 1883515 h 2794000"/>
                <a:gd name="connsiteX10" fmla="*/ 9843 w 1390650"/>
                <a:gd name="connsiteY10" fmla="*/ 56620 h 279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90650" h="2794000">
                  <a:moveTo>
                    <a:pt x="9843" y="56620"/>
                  </a:moveTo>
                  <a:cubicBezTo>
                    <a:pt x="9843" y="35665"/>
                    <a:pt x="14288" y="18520"/>
                    <a:pt x="21908" y="5185"/>
                  </a:cubicBezTo>
                  <a:cubicBezTo>
                    <a:pt x="39053" y="3280"/>
                    <a:pt x="59372" y="7725"/>
                    <a:pt x="81597" y="20425"/>
                  </a:cubicBezTo>
                  <a:lnTo>
                    <a:pt x="1271588" y="712575"/>
                  </a:lnTo>
                  <a:cubicBezTo>
                    <a:pt x="1335088" y="749405"/>
                    <a:pt x="1386522" y="838305"/>
                    <a:pt x="1386522" y="911330"/>
                  </a:cubicBezTo>
                  <a:lnTo>
                    <a:pt x="1381443" y="2738225"/>
                  </a:lnTo>
                  <a:cubicBezTo>
                    <a:pt x="1381443" y="2759180"/>
                    <a:pt x="1376997" y="2776325"/>
                    <a:pt x="1369378" y="2789660"/>
                  </a:cubicBezTo>
                  <a:cubicBezTo>
                    <a:pt x="1352233" y="2791565"/>
                    <a:pt x="1331913" y="2787120"/>
                    <a:pt x="1309688" y="2774420"/>
                  </a:cubicBezTo>
                  <a:lnTo>
                    <a:pt x="119697" y="2082270"/>
                  </a:lnTo>
                  <a:cubicBezTo>
                    <a:pt x="56197" y="2046075"/>
                    <a:pt x="4763" y="1956540"/>
                    <a:pt x="4763" y="1883515"/>
                  </a:cubicBezTo>
                  <a:lnTo>
                    <a:pt x="9843" y="56620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5" name="任意多边形: 形状 9974"/>
            <p:cNvSpPr/>
            <p:nvPr/>
          </p:nvSpPr>
          <p:spPr>
            <a:xfrm>
              <a:off x="9419272" y="1945323"/>
              <a:ext cx="1073150" cy="1936750"/>
            </a:xfrm>
            <a:custGeom>
              <a:avLst/>
              <a:gdLst>
                <a:gd name="connsiteX0" fmla="*/ 8572 w 1073150"/>
                <a:gd name="connsiteY0" fmla="*/ 4763 h 1936750"/>
                <a:gd name="connsiteX1" fmla="*/ 4763 w 1073150"/>
                <a:gd name="connsiteY1" fmla="*/ 1332548 h 1936750"/>
                <a:gd name="connsiteX2" fmla="*/ 1069022 w 1073150"/>
                <a:gd name="connsiteY2" fmla="*/ 1936432 h 1936750"/>
                <a:gd name="connsiteX3" fmla="*/ 1072833 w 1073150"/>
                <a:gd name="connsiteY3" fmla="*/ 609282 h 193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3150" h="1936750">
                  <a:moveTo>
                    <a:pt x="8572" y="4763"/>
                  </a:moveTo>
                  <a:lnTo>
                    <a:pt x="4763" y="1332548"/>
                  </a:lnTo>
                  <a:lnTo>
                    <a:pt x="1069022" y="1936432"/>
                  </a:lnTo>
                  <a:lnTo>
                    <a:pt x="1072833" y="609282"/>
                  </a:lnTo>
                  <a:close/>
                </a:path>
              </a:pathLst>
            </a:custGeom>
            <a:solidFill>
              <a:srgbClr val="D1D4E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6" name="任意多边形: 形状 9975"/>
            <p:cNvSpPr/>
            <p:nvPr/>
          </p:nvSpPr>
          <p:spPr>
            <a:xfrm>
              <a:off x="9391332" y="1898333"/>
              <a:ext cx="1073150" cy="1936750"/>
            </a:xfrm>
            <a:custGeom>
              <a:avLst/>
              <a:gdLst>
                <a:gd name="connsiteX0" fmla="*/ 8573 w 1073150"/>
                <a:gd name="connsiteY0" fmla="*/ 4763 h 1936750"/>
                <a:gd name="connsiteX1" fmla="*/ 4763 w 1073150"/>
                <a:gd name="connsiteY1" fmla="*/ 1332547 h 1936750"/>
                <a:gd name="connsiteX2" fmla="*/ 1069023 w 1073150"/>
                <a:gd name="connsiteY2" fmla="*/ 1936433 h 1936750"/>
                <a:gd name="connsiteX3" fmla="*/ 1072833 w 1073150"/>
                <a:gd name="connsiteY3" fmla="*/ 609282 h 193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3150" h="1936750">
                  <a:moveTo>
                    <a:pt x="8573" y="4763"/>
                  </a:moveTo>
                  <a:lnTo>
                    <a:pt x="4763" y="1332547"/>
                  </a:lnTo>
                  <a:lnTo>
                    <a:pt x="1069023" y="1936433"/>
                  </a:lnTo>
                  <a:lnTo>
                    <a:pt x="1072833" y="609282"/>
                  </a:lnTo>
                  <a:close/>
                </a:path>
              </a:pathLst>
            </a:custGeom>
            <a:solidFill>
              <a:srgbClr val="F8F8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7" name="任意多边形: 形状 9976"/>
            <p:cNvSpPr/>
            <p:nvPr/>
          </p:nvSpPr>
          <p:spPr>
            <a:xfrm>
              <a:off x="9473247" y="2212658"/>
              <a:ext cx="552450" cy="349250"/>
            </a:xfrm>
            <a:custGeom>
              <a:avLst/>
              <a:gdLst>
                <a:gd name="connsiteX0" fmla="*/ 4763 w 552450"/>
                <a:gd name="connsiteY0" fmla="*/ 4763 h 349250"/>
                <a:gd name="connsiteX1" fmla="*/ 6668 w 552450"/>
                <a:gd name="connsiteY1" fmla="*/ 40322 h 349250"/>
                <a:gd name="connsiteX2" fmla="*/ 551497 w 552450"/>
                <a:gd name="connsiteY2" fmla="*/ 350202 h 349250"/>
                <a:gd name="connsiteX3" fmla="*/ 550228 w 552450"/>
                <a:gd name="connsiteY3" fmla="*/ 314007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450" h="349250">
                  <a:moveTo>
                    <a:pt x="4763" y="4763"/>
                  </a:moveTo>
                  <a:lnTo>
                    <a:pt x="6668" y="40322"/>
                  </a:lnTo>
                  <a:lnTo>
                    <a:pt x="551497" y="350202"/>
                  </a:lnTo>
                  <a:lnTo>
                    <a:pt x="550228" y="314007"/>
                  </a:lnTo>
                  <a:close/>
                </a:path>
              </a:pathLst>
            </a:custGeom>
            <a:solidFill>
              <a:srgbClr val="E6E5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8" name="任意多边形: 形状 9977"/>
            <p:cNvSpPr/>
            <p:nvPr/>
          </p:nvSpPr>
          <p:spPr>
            <a:xfrm>
              <a:off x="9639618" y="2763838"/>
              <a:ext cx="552450" cy="349250"/>
            </a:xfrm>
            <a:custGeom>
              <a:avLst/>
              <a:gdLst>
                <a:gd name="connsiteX0" fmla="*/ 4763 w 552450"/>
                <a:gd name="connsiteY0" fmla="*/ 4763 h 349250"/>
                <a:gd name="connsiteX1" fmla="*/ 6032 w 552450"/>
                <a:gd name="connsiteY1" fmla="*/ 40323 h 349250"/>
                <a:gd name="connsiteX2" fmla="*/ 551497 w 552450"/>
                <a:gd name="connsiteY2" fmla="*/ 350202 h 349250"/>
                <a:gd name="connsiteX3" fmla="*/ 549592 w 552450"/>
                <a:gd name="connsiteY3" fmla="*/ 314008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450" h="349250">
                  <a:moveTo>
                    <a:pt x="4763" y="4763"/>
                  </a:moveTo>
                  <a:lnTo>
                    <a:pt x="6032" y="40323"/>
                  </a:lnTo>
                  <a:lnTo>
                    <a:pt x="551497" y="350202"/>
                  </a:lnTo>
                  <a:lnTo>
                    <a:pt x="549592" y="314008"/>
                  </a:lnTo>
                  <a:close/>
                </a:path>
              </a:pathLst>
            </a:custGeom>
            <a:solidFill>
              <a:srgbClr val="E6E5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9" name="任意多边形: 形状 9978"/>
            <p:cNvSpPr/>
            <p:nvPr/>
          </p:nvSpPr>
          <p:spPr>
            <a:xfrm>
              <a:off x="9588182" y="2409508"/>
              <a:ext cx="438150" cy="285750"/>
            </a:xfrm>
            <a:custGeom>
              <a:avLst/>
              <a:gdLst>
                <a:gd name="connsiteX0" fmla="*/ 4763 w 438150"/>
                <a:gd name="connsiteY0" fmla="*/ 4763 h 285750"/>
                <a:gd name="connsiteX1" fmla="*/ 6668 w 438150"/>
                <a:gd name="connsiteY1" fmla="*/ 40957 h 285750"/>
                <a:gd name="connsiteX2" fmla="*/ 436563 w 438150"/>
                <a:gd name="connsiteY2" fmla="*/ 284163 h 285750"/>
                <a:gd name="connsiteX3" fmla="*/ 435293 w 438150"/>
                <a:gd name="connsiteY3" fmla="*/ 248602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150" h="285750">
                  <a:moveTo>
                    <a:pt x="4763" y="4763"/>
                  </a:moveTo>
                  <a:lnTo>
                    <a:pt x="6668" y="40957"/>
                  </a:lnTo>
                  <a:lnTo>
                    <a:pt x="436563" y="284163"/>
                  </a:lnTo>
                  <a:lnTo>
                    <a:pt x="435293" y="248602"/>
                  </a:lnTo>
                  <a:close/>
                </a:path>
              </a:pathLst>
            </a:custGeom>
            <a:solidFill>
              <a:srgbClr val="E6E5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0" name="任意多边形: 形状 9979"/>
            <p:cNvSpPr/>
            <p:nvPr/>
          </p:nvSpPr>
          <p:spPr>
            <a:xfrm>
              <a:off x="9526588" y="2946083"/>
              <a:ext cx="552450" cy="349250"/>
            </a:xfrm>
            <a:custGeom>
              <a:avLst/>
              <a:gdLst>
                <a:gd name="connsiteX0" fmla="*/ 4763 w 552450"/>
                <a:gd name="connsiteY0" fmla="*/ 4763 h 349250"/>
                <a:gd name="connsiteX1" fmla="*/ 6032 w 552450"/>
                <a:gd name="connsiteY1" fmla="*/ 40957 h 349250"/>
                <a:gd name="connsiteX2" fmla="*/ 551497 w 552450"/>
                <a:gd name="connsiteY2" fmla="*/ 350202 h 349250"/>
                <a:gd name="connsiteX3" fmla="*/ 550228 w 552450"/>
                <a:gd name="connsiteY3" fmla="*/ 314642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450" h="349250">
                  <a:moveTo>
                    <a:pt x="4763" y="4763"/>
                  </a:moveTo>
                  <a:lnTo>
                    <a:pt x="6032" y="40957"/>
                  </a:lnTo>
                  <a:lnTo>
                    <a:pt x="551497" y="350202"/>
                  </a:lnTo>
                  <a:lnTo>
                    <a:pt x="550228" y="314642"/>
                  </a:lnTo>
                  <a:close/>
                </a:path>
              </a:pathLst>
            </a:custGeom>
            <a:solidFill>
              <a:srgbClr val="E6E5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1" name="任意多边形: 形状 9980"/>
            <p:cNvSpPr/>
            <p:nvPr/>
          </p:nvSpPr>
          <p:spPr>
            <a:xfrm>
              <a:off x="9641522" y="3143567"/>
              <a:ext cx="438150" cy="285750"/>
            </a:xfrm>
            <a:custGeom>
              <a:avLst/>
              <a:gdLst>
                <a:gd name="connsiteX0" fmla="*/ 4763 w 438150"/>
                <a:gd name="connsiteY0" fmla="*/ 4763 h 285750"/>
                <a:gd name="connsiteX1" fmla="*/ 6668 w 438150"/>
                <a:gd name="connsiteY1" fmla="*/ 40323 h 285750"/>
                <a:gd name="connsiteX2" fmla="*/ 436563 w 438150"/>
                <a:gd name="connsiteY2" fmla="*/ 283528 h 285750"/>
                <a:gd name="connsiteX3" fmla="*/ 435293 w 438150"/>
                <a:gd name="connsiteY3" fmla="*/ 247967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150" h="285750">
                  <a:moveTo>
                    <a:pt x="4763" y="4763"/>
                  </a:moveTo>
                  <a:lnTo>
                    <a:pt x="6668" y="40323"/>
                  </a:lnTo>
                  <a:lnTo>
                    <a:pt x="436563" y="283528"/>
                  </a:lnTo>
                  <a:lnTo>
                    <a:pt x="435293" y="247967"/>
                  </a:lnTo>
                  <a:close/>
                </a:path>
              </a:pathLst>
            </a:custGeom>
            <a:solidFill>
              <a:srgbClr val="E6E5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2" name="任意多边形: 形状 9981"/>
            <p:cNvSpPr/>
            <p:nvPr/>
          </p:nvSpPr>
          <p:spPr>
            <a:xfrm>
              <a:off x="9637713" y="2659063"/>
              <a:ext cx="438150" cy="285750"/>
            </a:xfrm>
            <a:custGeom>
              <a:avLst/>
              <a:gdLst>
                <a:gd name="connsiteX0" fmla="*/ 4763 w 438150"/>
                <a:gd name="connsiteY0" fmla="*/ 4763 h 285750"/>
                <a:gd name="connsiteX1" fmla="*/ 6032 w 438150"/>
                <a:gd name="connsiteY1" fmla="*/ 40323 h 285750"/>
                <a:gd name="connsiteX2" fmla="*/ 436563 w 438150"/>
                <a:gd name="connsiteY2" fmla="*/ 283527 h 285750"/>
                <a:gd name="connsiteX3" fmla="*/ 434657 w 438150"/>
                <a:gd name="connsiteY3" fmla="*/ 247967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150" h="285750">
                  <a:moveTo>
                    <a:pt x="4763" y="4763"/>
                  </a:moveTo>
                  <a:lnTo>
                    <a:pt x="6032" y="40323"/>
                  </a:lnTo>
                  <a:lnTo>
                    <a:pt x="436563" y="283527"/>
                  </a:lnTo>
                  <a:lnTo>
                    <a:pt x="434657" y="247967"/>
                  </a:lnTo>
                  <a:close/>
                </a:path>
              </a:pathLst>
            </a:custGeom>
            <a:solidFill>
              <a:srgbClr val="E6E5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3" name="任意多边形: 形状 9982"/>
            <p:cNvSpPr/>
            <p:nvPr/>
          </p:nvSpPr>
          <p:spPr>
            <a:xfrm>
              <a:off x="10100628" y="2441892"/>
              <a:ext cx="266700" cy="476250"/>
            </a:xfrm>
            <a:custGeom>
              <a:avLst/>
              <a:gdLst>
                <a:gd name="connsiteX0" fmla="*/ 5397 w 266700"/>
                <a:gd name="connsiteY0" fmla="*/ 4763 h 476250"/>
                <a:gd name="connsiteX1" fmla="*/ 4763 w 266700"/>
                <a:gd name="connsiteY1" fmla="*/ 326708 h 476250"/>
                <a:gd name="connsiteX2" fmla="*/ 263207 w 266700"/>
                <a:gd name="connsiteY2" fmla="*/ 473393 h 476250"/>
                <a:gd name="connsiteX3" fmla="*/ 263842 w 266700"/>
                <a:gd name="connsiteY3" fmla="*/ 151448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476250">
                  <a:moveTo>
                    <a:pt x="5397" y="4763"/>
                  </a:moveTo>
                  <a:lnTo>
                    <a:pt x="4763" y="326708"/>
                  </a:lnTo>
                  <a:lnTo>
                    <a:pt x="263207" y="473393"/>
                  </a:lnTo>
                  <a:lnTo>
                    <a:pt x="263842" y="151448"/>
                  </a:lnTo>
                  <a:close/>
                </a:path>
              </a:pathLst>
            </a:custGeom>
            <a:solidFill>
              <a:srgbClr val="005FFF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4" name="任意多边形: 形状 9983"/>
            <p:cNvSpPr/>
            <p:nvPr/>
          </p:nvSpPr>
          <p:spPr>
            <a:xfrm>
              <a:off x="10162222" y="3255963"/>
              <a:ext cx="177800" cy="311150"/>
            </a:xfrm>
            <a:custGeom>
              <a:avLst/>
              <a:gdLst>
                <a:gd name="connsiteX0" fmla="*/ 4763 w 177800"/>
                <a:gd name="connsiteY0" fmla="*/ 4763 h 311150"/>
                <a:gd name="connsiteX1" fmla="*/ 4763 w 177800"/>
                <a:gd name="connsiteY1" fmla="*/ 214947 h 311150"/>
                <a:gd name="connsiteX2" fmla="*/ 173038 w 177800"/>
                <a:gd name="connsiteY2" fmla="*/ 310197 h 311150"/>
                <a:gd name="connsiteX3" fmla="*/ 173672 w 177800"/>
                <a:gd name="connsiteY3" fmla="*/ 100013 h 31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800" h="311150">
                  <a:moveTo>
                    <a:pt x="4763" y="4763"/>
                  </a:moveTo>
                  <a:lnTo>
                    <a:pt x="4763" y="214947"/>
                  </a:lnTo>
                  <a:lnTo>
                    <a:pt x="173038" y="310197"/>
                  </a:lnTo>
                  <a:lnTo>
                    <a:pt x="173672" y="100013"/>
                  </a:lnTo>
                  <a:close/>
                </a:path>
              </a:pathLst>
            </a:custGeom>
            <a:solidFill>
              <a:srgbClr val="88AD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5" name="任意多边形: 形状 9984"/>
            <p:cNvSpPr/>
            <p:nvPr/>
          </p:nvSpPr>
          <p:spPr>
            <a:xfrm>
              <a:off x="9344343" y="2454592"/>
              <a:ext cx="215900" cy="387350"/>
            </a:xfrm>
            <a:custGeom>
              <a:avLst/>
              <a:gdLst>
                <a:gd name="connsiteX0" fmla="*/ 5397 w 215900"/>
                <a:gd name="connsiteY0" fmla="*/ 4763 h 387350"/>
                <a:gd name="connsiteX1" fmla="*/ 4763 w 215900"/>
                <a:gd name="connsiteY1" fmla="*/ 265113 h 387350"/>
                <a:gd name="connsiteX2" fmla="*/ 213677 w 215900"/>
                <a:gd name="connsiteY2" fmla="*/ 383858 h 387350"/>
                <a:gd name="connsiteX3" fmla="*/ 214313 w 215900"/>
                <a:gd name="connsiteY3" fmla="*/ 122873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900" h="387350">
                  <a:moveTo>
                    <a:pt x="5397" y="4763"/>
                  </a:moveTo>
                  <a:lnTo>
                    <a:pt x="4763" y="265113"/>
                  </a:lnTo>
                  <a:lnTo>
                    <a:pt x="213677" y="383858"/>
                  </a:lnTo>
                  <a:lnTo>
                    <a:pt x="214313" y="122873"/>
                  </a:lnTo>
                  <a:close/>
                </a:path>
              </a:pathLst>
            </a:custGeom>
            <a:solidFill>
              <a:srgbClr val="FFD61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6" name="任意多边形: 形状 9985"/>
            <p:cNvSpPr/>
            <p:nvPr/>
          </p:nvSpPr>
          <p:spPr>
            <a:xfrm>
              <a:off x="11136313" y="3084650"/>
              <a:ext cx="190500" cy="1155700"/>
            </a:xfrm>
            <a:custGeom>
              <a:avLst/>
              <a:gdLst>
                <a:gd name="connsiteX0" fmla="*/ 173038 w 190500"/>
                <a:gd name="connsiteY0" fmla="*/ 85270 h 1155700"/>
                <a:gd name="connsiteX1" fmla="*/ 53022 w 190500"/>
                <a:gd name="connsiteY1" fmla="*/ 9705 h 1155700"/>
                <a:gd name="connsiteX2" fmla="*/ 4763 w 190500"/>
                <a:gd name="connsiteY2" fmla="*/ 36375 h 1155700"/>
                <a:gd name="connsiteX3" fmla="*/ 7303 w 190500"/>
                <a:gd name="connsiteY3" fmla="*/ 1046025 h 1155700"/>
                <a:gd name="connsiteX4" fmla="*/ 21907 w 190500"/>
                <a:gd name="connsiteY4" fmla="*/ 1072696 h 1155700"/>
                <a:gd name="connsiteX5" fmla="*/ 141922 w 190500"/>
                <a:gd name="connsiteY5" fmla="*/ 1148260 h 1155700"/>
                <a:gd name="connsiteX6" fmla="*/ 190182 w 190500"/>
                <a:gd name="connsiteY6" fmla="*/ 1121591 h 1155700"/>
                <a:gd name="connsiteX7" fmla="*/ 187643 w 190500"/>
                <a:gd name="connsiteY7" fmla="*/ 111940 h 1155700"/>
                <a:gd name="connsiteX8" fmla="*/ 173038 w 190500"/>
                <a:gd name="connsiteY8" fmla="*/ 85270 h 1155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00" h="1155700">
                  <a:moveTo>
                    <a:pt x="173038" y="85270"/>
                  </a:moveTo>
                  <a:lnTo>
                    <a:pt x="53022" y="9705"/>
                  </a:lnTo>
                  <a:cubicBezTo>
                    <a:pt x="32068" y="-3630"/>
                    <a:pt x="4763" y="11610"/>
                    <a:pt x="4763" y="36375"/>
                  </a:cubicBezTo>
                  <a:lnTo>
                    <a:pt x="7303" y="1046025"/>
                  </a:lnTo>
                  <a:cubicBezTo>
                    <a:pt x="7303" y="1056821"/>
                    <a:pt x="13018" y="1066980"/>
                    <a:pt x="21907" y="1072696"/>
                  </a:cubicBezTo>
                  <a:lnTo>
                    <a:pt x="141922" y="1148260"/>
                  </a:lnTo>
                  <a:cubicBezTo>
                    <a:pt x="162878" y="1161596"/>
                    <a:pt x="190182" y="1146355"/>
                    <a:pt x="190182" y="1121591"/>
                  </a:cubicBezTo>
                  <a:lnTo>
                    <a:pt x="187643" y="111940"/>
                  </a:lnTo>
                  <a:cubicBezTo>
                    <a:pt x="187643" y="101145"/>
                    <a:pt x="182563" y="90985"/>
                    <a:pt x="173038" y="85270"/>
                  </a:cubicBezTo>
                  <a:close/>
                </a:path>
              </a:pathLst>
            </a:custGeom>
            <a:solidFill>
              <a:srgbClr val="D7E9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7" name="任意多边形: 形状 9986"/>
            <p:cNvSpPr/>
            <p:nvPr/>
          </p:nvSpPr>
          <p:spPr>
            <a:xfrm>
              <a:off x="10193338" y="2597467"/>
              <a:ext cx="76200" cy="177800"/>
            </a:xfrm>
            <a:custGeom>
              <a:avLst/>
              <a:gdLst>
                <a:gd name="connsiteX0" fmla="*/ 48578 w 76200"/>
                <a:gd name="connsiteY0" fmla="*/ 15558 h 177800"/>
                <a:gd name="connsiteX1" fmla="*/ 47943 w 76200"/>
                <a:gd name="connsiteY1" fmla="*/ 143193 h 177800"/>
                <a:gd name="connsiteX2" fmla="*/ 75247 w 76200"/>
                <a:gd name="connsiteY2" fmla="*/ 159068 h 177800"/>
                <a:gd name="connsiteX3" fmla="*/ 75247 w 76200"/>
                <a:gd name="connsiteY3" fmla="*/ 174308 h 177800"/>
                <a:gd name="connsiteX4" fmla="*/ 5397 w 76200"/>
                <a:gd name="connsiteY4" fmla="*/ 134303 h 177800"/>
                <a:gd name="connsiteX5" fmla="*/ 5397 w 76200"/>
                <a:gd name="connsiteY5" fmla="*/ 119063 h 177800"/>
                <a:gd name="connsiteX6" fmla="*/ 32703 w 76200"/>
                <a:gd name="connsiteY6" fmla="*/ 134303 h 177800"/>
                <a:gd name="connsiteX7" fmla="*/ 33338 w 76200"/>
                <a:gd name="connsiteY7" fmla="*/ 28258 h 177800"/>
                <a:gd name="connsiteX8" fmla="*/ 4763 w 76200"/>
                <a:gd name="connsiteY8" fmla="*/ 21273 h 177800"/>
                <a:gd name="connsiteX9" fmla="*/ 5397 w 76200"/>
                <a:gd name="connsiteY9" fmla="*/ 4763 h 17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177800">
                  <a:moveTo>
                    <a:pt x="48578" y="15558"/>
                  </a:moveTo>
                  <a:lnTo>
                    <a:pt x="47943" y="143193"/>
                  </a:lnTo>
                  <a:lnTo>
                    <a:pt x="75247" y="159068"/>
                  </a:lnTo>
                  <a:lnTo>
                    <a:pt x="75247" y="174308"/>
                  </a:lnTo>
                  <a:lnTo>
                    <a:pt x="5397" y="134303"/>
                  </a:lnTo>
                  <a:lnTo>
                    <a:pt x="5397" y="119063"/>
                  </a:lnTo>
                  <a:lnTo>
                    <a:pt x="32703" y="134303"/>
                  </a:lnTo>
                  <a:lnTo>
                    <a:pt x="33338" y="28258"/>
                  </a:lnTo>
                  <a:lnTo>
                    <a:pt x="4763" y="21273"/>
                  </a:lnTo>
                  <a:lnTo>
                    <a:pt x="5397" y="4763"/>
                  </a:lnTo>
                  <a:close/>
                </a:path>
              </a:pathLst>
            </a:custGeom>
            <a:solidFill>
              <a:srgbClr val="F8F8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8" name="任意多边形: 形状 9987"/>
            <p:cNvSpPr/>
            <p:nvPr/>
          </p:nvSpPr>
          <p:spPr>
            <a:xfrm>
              <a:off x="9410382" y="2595344"/>
              <a:ext cx="76200" cy="158750"/>
            </a:xfrm>
            <a:custGeom>
              <a:avLst/>
              <a:gdLst>
                <a:gd name="connsiteX0" fmla="*/ 41593 w 76200"/>
                <a:gd name="connsiteY0" fmla="*/ 11966 h 158750"/>
                <a:gd name="connsiteX1" fmla="*/ 65088 w 76200"/>
                <a:gd name="connsiteY1" fmla="*/ 34826 h 158750"/>
                <a:gd name="connsiteX2" fmla="*/ 73343 w 76200"/>
                <a:gd name="connsiteY2" fmla="*/ 64671 h 158750"/>
                <a:gd name="connsiteX3" fmla="*/ 67628 w 76200"/>
                <a:gd name="connsiteY3" fmla="*/ 84356 h 158750"/>
                <a:gd name="connsiteX4" fmla="*/ 46673 w 76200"/>
                <a:gd name="connsiteY4" fmla="*/ 101501 h 158750"/>
                <a:gd name="connsiteX5" fmla="*/ 21273 w 76200"/>
                <a:gd name="connsiteY5" fmla="*/ 115471 h 158750"/>
                <a:gd name="connsiteX6" fmla="*/ 72073 w 76200"/>
                <a:gd name="connsiteY6" fmla="*/ 145316 h 158750"/>
                <a:gd name="connsiteX7" fmla="*/ 72073 w 76200"/>
                <a:gd name="connsiteY7" fmla="*/ 159921 h 158750"/>
                <a:gd name="connsiteX8" fmla="*/ 4763 w 76200"/>
                <a:gd name="connsiteY8" fmla="*/ 121186 h 158750"/>
                <a:gd name="connsiteX9" fmla="*/ 4763 w 76200"/>
                <a:gd name="connsiteY9" fmla="*/ 107216 h 158750"/>
                <a:gd name="connsiteX10" fmla="*/ 37148 w 76200"/>
                <a:gd name="connsiteY10" fmla="*/ 88801 h 158750"/>
                <a:gd name="connsiteX11" fmla="*/ 54928 w 76200"/>
                <a:gd name="connsiteY11" fmla="*/ 74831 h 158750"/>
                <a:gd name="connsiteX12" fmla="*/ 59373 w 76200"/>
                <a:gd name="connsiteY12" fmla="*/ 58956 h 158750"/>
                <a:gd name="connsiteX13" fmla="*/ 54293 w 76200"/>
                <a:gd name="connsiteY13" fmla="*/ 39271 h 158750"/>
                <a:gd name="connsiteX14" fmla="*/ 39053 w 76200"/>
                <a:gd name="connsiteY14" fmla="*/ 24666 h 158750"/>
                <a:gd name="connsiteX15" fmla="*/ 11113 w 76200"/>
                <a:gd name="connsiteY15" fmla="*/ 22761 h 158750"/>
                <a:gd name="connsiteX16" fmla="*/ 11113 w 76200"/>
                <a:gd name="connsiteY16" fmla="*/ 6251 h 158750"/>
                <a:gd name="connsiteX17" fmla="*/ 41593 w 76200"/>
                <a:gd name="connsiteY17" fmla="*/ 11966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6200" h="158750">
                  <a:moveTo>
                    <a:pt x="41593" y="11966"/>
                  </a:moveTo>
                  <a:cubicBezTo>
                    <a:pt x="51753" y="17681"/>
                    <a:pt x="59373" y="25301"/>
                    <a:pt x="65088" y="34826"/>
                  </a:cubicBezTo>
                  <a:cubicBezTo>
                    <a:pt x="70803" y="44351"/>
                    <a:pt x="73978" y="54511"/>
                    <a:pt x="73343" y="64671"/>
                  </a:cubicBezTo>
                  <a:cubicBezTo>
                    <a:pt x="73343" y="72291"/>
                    <a:pt x="71438" y="79276"/>
                    <a:pt x="67628" y="84356"/>
                  </a:cubicBezTo>
                  <a:cubicBezTo>
                    <a:pt x="63818" y="90071"/>
                    <a:pt x="56833" y="95786"/>
                    <a:pt x="46673" y="101501"/>
                  </a:cubicBezTo>
                  <a:lnTo>
                    <a:pt x="21273" y="115471"/>
                  </a:lnTo>
                  <a:lnTo>
                    <a:pt x="72073" y="145316"/>
                  </a:lnTo>
                  <a:lnTo>
                    <a:pt x="72073" y="159921"/>
                  </a:lnTo>
                  <a:lnTo>
                    <a:pt x="4763" y="121186"/>
                  </a:lnTo>
                  <a:lnTo>
                    <a:pt x="4763" y="107216"/>
                  </a:lnTo>
                  <a:lnTo>
                    <a:pt x="37148" y="88801"/>
                  </a:lnTo>
                  <a:cubicBezTo>
                    <a:pt x="46038" y="83721"/>
                    <a:pt x="51753" y="79276"/>
                    <a:pt x="54928" y="74831"/>
                  </a:cubicBezTo>
                  <a:cubicBezTo>
                    <a:pt x="58103" y="70386"/>
                    <a:pt x="59373" y="65306"/>
                    <a:pt x="59373" y="58956"/>
                  </a:cubicBezTo>
                  <a:cubicBezTo>
                    <a:pt x="59373" y="51971"/>
                    <a:pt x="57468" y="44986"/>
                    <a:pt x="54293" y="39271"/>
                  </a:cubicBezTo>
                  <a:cubicBezTo>
                    <a:pt x="51118" y="33556"/>
                    <a:pt x="45403" y="28476"/>
                    <a:pt x="39053" y="24666"/>
                  </a:cubicBezTo>
                  <a:cubicBezTo>
                    <a:pt x="28893" y="18951"/>
                    <a:pt x="20003" y="18316"/>
                    <a:pt x="11113" y="22761"/>
                  </a:cubicBezTo>
                  <a:lnTo>
                    <a:pt x="11113" y="6251"/>
                  </a:lnTo>
                  <a:cubicBezTo>
                    <a:pt x="20003" y="3076"/>
                    <a:pt x="30163" y="4981"/>
                    <a:pt x="41593" y="11966"/>
                  </a:cubicBezTo>
                  <a:close/>
                </a:path>
              </a:pathLst>
            </a:custGeom>
            <a:solidFill>
              <a:srgbClr val="F8F8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9" name="任意多边形: 形状 9988"/>
            <p:cNvSpPr/>
            <p:nvPr/>
          </p:nvSpPr>
          <p:spPr>
            <a:xfrm>
              <a:off x="10218738" y="3353634"/>
              <a:ext cx="57150" cy="120650"/>
            </a:xfrm>
            <a:custGeom>
              <a:avLst/>
              <a:gdLst>
                <a:gd name="connsiteX0" fmla="*/ 28257 w 57150"/>
                <a:gd name="connsiteY0" fmla="*/ 10596 h 120650"/>
                <a:gd name="connsiteX1" fmla="*/ 46038 w 57150"/>
                <a:gd name="connsiteY1" fmla="*/ 27741 h 120650"/>
                <a:gd name="connsiteX2" fmla="*/ 52388 w 57150"/>
                <a:gd name="connsiteY2" fmla="*/ 48696 h 120650"/>
                <a:gd name="connsiteX3" fmla="*/ 34607 w 57150"/>
                <a:gd name="connsiteY3" fmla="*/ 63937 h 120650"/>
                <a:gd name="connsiteX4" fmla="*/ 49213 w 57150"/>
                <a:gd name="connsiteY4" fmla="*/ 80446 h 120650"/>
                <a:gd name="connsiteX5" fmla="*/ 54928 w 57150"/>
                <a:gd name="connsiteY5" fmla="*/ 99496 h 120650"/>
                <a:gd name="connsiteX6" fmla="*/ 46672 w 57150"/>
                <a:gd name="connsiteY6" fmla="*/ 116641 h 120650"/>
                <a:gd name="connsiteX7" fmla="*/ 24447 w 57150"/>
                <a:gd name="connsiteY7" fmla="*/ 112196 h 120650"/>
                <a:gd name="connsiteX8" fmla="*/ 4763 w 57150"/>
                <a:gd name="connsiteY8" fmla="*/ 95687 h 120650"/>
                <a:gd name="connsiteX9" fmla="*/ 4763 w 57150"/>
                <a:gd name="connsiteY9" fmla="*/ 82351 h 120650"/>
                <a:gd name="connsiteX10" fmla="*/ 25082 w 57150"/>
                <a:gd name="connsiteY10" fmla="*/ 102037 h 120650"/>
                <a:gd name="connsiteX11" fmla="*/ 39053 w 57150"/>
                <a:gd name="connsiteY11" fmla="*/ 105212 h 120650"/>
                <a:gd name="connsiteX12" fmla="*/ 44132 w 57150"/>
                <a:gd name="connsiteY12" fmla="*/ 94416 h 120650"/>
                <a:gd name="connsiteX13" fmla="*/ 20638 w 57150"/>
                <a:gd name="connsiteY13" fmla="*/ 62032 h 120650"/>
                <a:gd name="connsiteX14" fmla="*/ 13653 w 57150"/>
                <a:gd name="connsiteY14" fmla="*/ 57587 h 120650"/>
                <a:gd name="connsiteX15" fmla="*/ 13653 w 57150"/>
                <a:gd name="connsiteY15" fmla="*/ 46791 h 120650"/>
                <a:gd name="connsiteX16" fmla="*/ 20638 w 57150"/>
                <a:gd name="connsiteY16" fmla="*/ 50601 h 120650"/>
                <a:gd name="connsiteX17" fmla="*/ 41593 w 57150"/>
                <a:gd name="connsiteY17" fmla="*/ 44887 h 120650"/>
                <a:gd name="connsiteX18" fmla="*/ 25718 w 57150"/>
                <a:gd name="connsiteY18" fmla="*/ 19487 h 120650"/>
                <a:gd name="connsiteX19" fmla="*/ 8572 w 57150"/>
                <a:gd name="connsiteY19" fmla="*/ 16946 h 120650"/>
                <a:gd name="connsiteX20" fmla="*/ 8572 w 57150"/>
                <a:gd name="connsiteY20" fmla="*/ 4882 h 120650"/>
                <a:gd name="connsiteX21" fmla="*/ 28257 w 57150"/>
                <a:gd name="connsiteY21" fmla="*/ 10596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7150" h="120650">
                  <a:moveTo>
                    <a:pt x="28257" y="10596"/>
                  </a:moveTo>
                  <a:cubicBezTo>
                    <a:pt x="35878" y="15041"/>
                    <a:pt x="41593" y="20757"/>
                    <a:pt x="46038" y="27741"/>
                  </a:cubicBezTo>
                  <a:cubicBezTo>
                    <a:pt x="50482" y="34726"/>
                    <a:pt x="53022" y="41712"/>
                    <a:pt x="52388" y="48696"/>
                  </a:cubicBezTo>
                  <a:cubicBezTo>
                    <a:pt x="52388" y="62032"/>
                    <a:pt x="46672" y="67112"/>
                    <a:pt x="34607" y="63937"/>
                  </a:cubicBezTo>
                  <a:cubicBezTo>
                    <a:pt x="40957" y="68382"/>
                    <a:pt x="46038" y="74096"/>
                    <a:pt x="49213" y="80446"/>
                  </a:cubicBezTo>
                  <a:cubicBezTo>
                    <a:pt x="53022" y="86796"/>
                    <a:pt x="54928" y="93146"/>
                    <a:pt x="54928" y="99496"/>
                  </a:cubicBezTo>
                  <a:cubicBezTo>
                    <a:pt x="54928" y="108387"/>
                    <a:pt x="52388" y="114101"/>
                    <a:pt x="46672" y="116641"/>
                  </a:cubicBezTo>
                  <a:cubicBezTo>
                    <a:pt x="40957" y="119182"/>
                    <a:pt x="33338" y="117276"/>
                    <a:pt x="24447" y="112196"/>
                  </a:cubicBezTo>
                  <a:cubicBezTo>
                    <a:pt x="16193" y="107751"/>
                    <a:pt x="9843" y="102037"/>
                    <a:pt x="4763" y="95687"/>
                  </a:cubicBezTo>
                  <a:lnTo>
                    <a:pt x="4763" y="82351"/>
                  </a:lnTo>
                  <a:cubicBezTo>
                    <a:pt x="10478" y="91241"/>
                    <a:pt x="17463" y="97591"/>
                    <a:pt x="25082" y="102037"/>
                  </a:cubicBezTo>
                  <a:cubicBezTo>
                    <a:pt x="30797" y="105212"/>
                    <a:pt x="35878" y="106482"/>
                    <a:pt x="39053" y="105212"/>
                  </a:cubicBezTo>
                  <a:cubicBezTo>
                    <a:pt x="42863" y="103941"/>
                    <a:pt x="44132" y="100132"/>
                    <a:pt x="44132" y="94416"/>
                  </a:cubicBezTo>
                  <a:cubicBezTo>
                    <a:pt x="44132" y="81716"/>
                    <a:pt x="36513" y="70921"/>
                    <a:pt x="20638" y="62032"/>
                  </a:cubicBezTo>
                  <a:lnTo>
                    <a:pt x="13653" y="57587"/>
                  </a:lnTo>
                  <a:lnTo>
                    <a:pt x="13653" y="46791"/>
                  </a:lnTo>
                  <a:lnTo>
                    <a:pt x="20638" y="50601"/>
                  </a:lnTo>
                  <a:cubicBezTo>
                    <a:pt x="34607" y="58857"/>
                    <a:pt x="41593" y="56951"/>
                    <a:pt x="41593" y="44887"/>
                  </a:cubicBezTo>
                  <a:cubicBezTo>
                    <a:pt x="41593" y="34091"/>
                    <a:pt x="36513" y="25201"/>
                    <a:pt x="25718" y="19487"/>
                  </a:cubicBezTo>
                  <a:cubicBezTo>
                    <a:pt x="19368" y="15676"/>
                    <a:pt x="13653" y="15041"/>
                    <a:pt x="8572" y="16946"/>
                  </a:cubicBezTo>
                  <a:lnTo>
                    <a:pt x="8572" y="4882"/>
                  </a:lnTo>
                  <a:cubicBezTo>
                    <a:pt x="14288" y="4246"/>
                    <a:pt x="21272" y="6151"/>
                    <a:pt x="28257" y="10596"/>
                  </a:cubicBezTo>
                  <a:close/>
                </a:path>
              </a:pathLst>
            </a:custGeom>
            <a:solidFill>
              <a:srgbClr val="F8F8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0" name="任意多边形: 形状 9989"/>
            <p:cNvSpPr/>
            <p:nvPr/>
          </p:nvSpPr>
          <p:spPr>
            <a:xfrm>
              <a:off x="6198363" y="3330258"/>
              <a:ext cx="5200650" cy="3149600"/>
            </a:xfrm>
            <a:custGeom>
              <a:avLst/>
              <a:gdLst>
                <a:gd name="connsiteX0" fmla="*/ 2463672 w 5200650"/>
                <a:gd name="connsiteY0" fmla="*/ 3146743 h 3149600"/>
                <a:gd name="connsiteX1" fmla="*/ 5197982 w 5200650"/>
                <a:gd name="connsiteY1" fmla="*/ 1550352 h 3149600"/>
                <a:gd name="connsiteX2" fmla="*/ 2471292 w 5200650"/>
                <a:gd name="connsiteY2" fmla="*/ 4763 h 3149600"/>
                <a:gd name="connsiteX3" fmla="*/ 1973452 w 5200650"/>
                <a:gd name="connsiteY3" fmla="*/ 205422 h 3149600"/>
                <a:gd name="connsiteX4" fmla="*/ 1312417 w 5200650"/>
                <a:gd name="connsiteY4" fmla="*/ 502602 h 3149600"/>
                <a:gd name="connsiteX5" fmla="*/ 1149222 w 5200650"/>
                <a:gd name="connsiteY5" fmla="*/ 940752 h 3149600"/>
                <a:gd name="connsiteX6" fmla="*/ 131317 w 5200650"/>
                <a:gd name="connsiteY6" fmla="*/ 1342072 h 3149600"/>
                <a:gd name="connsiteX7" fmla="*/ 153542 w 5200650"/>
                <a:gd name="connsiteY7" fmla="*/ 1839913 h 3149600"/>
                <a:gd name="connsiteX8" fmla="*/ 2463672 w 5200650"/>
                <a:gd name="connsiteY8" fmla="*/ 3146743 h 314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00650" h="3149600">
                  <a:moveTo>
                    <a:pt x="2463672" y="3146743"/>
                  </a:moveTo>
                  <a:lnTo>
                    <a:pt x="5197982" y="1550352"/>
                  </a:lnTo>
                  <a:lnTo>
                    <a:pt x="2471292" y="4763"/>
                  </a:lnTo>
                  <a:cubicBezTo>
                    <a:pt x="2411602" y="167958"/>
                    <a:pt x="2144267" y="205422"/>
                    <a:pt x="1973452" y="205422"/>
                  </a:cubicBezTo>
                  <a:cubicBezTo>
                    <a:pt x="1802637" y="205422"/>
                    <a:pt x="1260347" y="331788"/>
                    <a:pt x="1312417" y="502602"/>
                  </a:cubicBezTo>
                  <a:cubicBezTo>
                    <a:pt x="1364487" y="673417"/>
                    <a:pt x="1267967" y="844233"/>
                    <a:pt x="1149222" y="940752"/>
                  </a:cubicBezTo>
                  <a:cubicBezTo>
                    <a:pt x="1030477" y="1037272"/>
                    <a:pt x="428497" y="1193483"/>
                    <a:pt x="131317" y="1342072"/>
                  </a:cubicBezTo>
                  <a:cubicBezTo>
                    <a:pt x="-165863" y="1490663"/>
                    <a:pt x="153542" y="1839913"/>
                    <a:pt x="153542" y="1839913"/>
                  </a:cubicBezTo>
                  <a:lnTo>
                    <a:pt x="2463672" y="314674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1" name="任意多边形: 形状 9990"/>
            <p:cNvSpPr/>
            <p:nvPr/>
          </p:nvSpPr>
          <p:spPr>
            <a:xfrm>
              <a:off x="6371908" y="3534092"/>
              <a:ext cx="4159250" cy="2711450"/>
            </a:xfrm>
            <a:custGeom>
              <a:avLst/>
              <a:gdLst>
                <a:gd name="connsiteX0" fmla="*/ 2469198 w 4159250"/>
                <a:gd name="connsiteY0" fmla="*/ 2367598 h 2711450"/>
                <a:gd name="connsiteX1" fmla="*/ 4156393 w 4159250"/>
                <a:gd name="connsiteY1" fmla="*/ 1391603 h 2711450"/>
                <a:gd name="connsiteX2" fmla="*/ 1742123 w 4159250"/>
                <a:gd name="connsiteY2" fmla="*/ 4763 h 2711450"/>
                <a:gd name="connsiteX3" fmla="*/ 1683067 w 4159250"/>
                <a:gd name="connsiteY3" fmla="*/ 12383 h 2711450"/>
                <a:gd name="connsiteX4" fmla="*/ 2263458 w 4159250"/>
                <a:gd name="connsiteY4" fmla="*/ 345758 h 2711450"/>
                <a:gd name="connsiteX5" fmla="*/ 4763 w 4159250"/>
                <a:gd name="connsiteY5" fmla="*/ 1650683 h 2711450"/>
                <a:gd name="connsiteX6" fmla="*/ 40958 w 4159250"/>
                <a:gd name="connsiteY6" fmla="*/ 1671003 h 2711450"/>
                <a:gd name="connsiteX7" fmla="*/ 2299652 w 4159250"/>
                <a:gd name="connsiteY7" fmla="*/ 366713 h 2711450"/>
                <a:gd name="connsiteX8" fmla="*/ 2736533 w 4159250"/>
                <a:gd name="connsiteY8" fmla="*/ 617538 h 2711450"/>
                <a:gd name="connsiteX9" fmla="*/ 445452 w 4159250"/>
                <a:gd name="connsiteY9" fmla="*/ 1898967 h 2711450"/>
                <a:gd name="connsiteX10" fmla="*/ 482283 w 4159250"/>
                <a:gd name="connsiteY10" fmla="*/ 1919923 h 2711450"/>
                <a:gd name="connsiteX11" fmla="*/ 2772727 w 4159250"/>
                <a:gd name="connsiteY11" fmla="*/ 638492 h 2711450"/>
                <a:gd name="connsiteX12" fmla="*/ 3169602 w 4159250"/>
                <a:gd name="connsiteY12" fmla="*/ 866458 h 2711450"/>
                <a:gd name="connsiteX13" fmla="*/ 928052 w 4159250"/>
                <a:gd name="connsiteY13" fmla="*/ 2172018 h 2711450"/>
                <a:gd name="connsiteX14" fmla="*/ 964248 w 4159250"/>
                <a:gd name="connsiteY14" fmla="*/ 2192338 h 2711450"/>
                <a:gd name="connsiteX15" fmla="*/ 1524317 w 4159250"/>
                <a:gd name="connsiteY15" fmla="*/ 1865948 h 2711450"/>
                <a:gd name="connsiteX16" fmla="*/ 1927542 w 4159250"/>
                <a:gd name="connsiteY16" fmla="*/ 2097723 h 2711450"/>
                <a:gd name="connsiteX17" fmla="*/ 1363027 w 4159250"/>
                <a:gd name="connsiteY17" fmla="*/ 2417128 h 2711450"/>
                <a:gd name="connsiteX18" fmla="*/ 1399858 w 4159250"/>
                <a:gd name="connsiteY18" fmla="*/ 2438083 h 2711450"/>
                <a:gd name="connsiteX19" fmla="*/ 1964373 w 4159250"/>
                <a:gd name="connsiteY19" fmla="*/ 2119313 h 2711450"/>
                <a:gd name="connsiteX20" fmla="*/ 2396808 w 4159250"/>
                <a:gd name="connsiteY20" fmla="*/ 2368233 h 2711450"/>
                <a:gd name="connsiteX21" fmla="*/ 1842452 w 4159250"/>
                <a:gd name="connsiteY21" fmla="*/ 2688908 h 2711450"/>
                <a:gd name="connsiteX22" fmla="*/ 1878648 w 4159250"/>
                <a:gd name="connsiteY22" fmla="*/ 2709228 h 2711450"/>
                <a:gd name="connsiteX23" fmla="*/ 2432368 w 4159250"/>
                <a:gd name="connsiteY23" fmla="*/ 2389188 h 2711450"/>
                <a:gd name="connsiteX24" fmla="*/ 2831148 w 4159250"/>
                <a:gd name="connsiteY24" fmla="*/ 2618423 h 2711450"/>
                <a:gd name="connsiteX25" fmla="*/ 2867343 w 4159250"/>
                <a:gd name="connsiteY25" fmla="*/ 2597468 h 2711450"/>
                <a:gd name="connsiteX26" fmla="*/ 2469198 w 4159250"/>
                <a:gd name="connsiteY26" fmla="*/ 2367598 h 2711450"/>
                <a:gd name="connsiteX27" fmla="*/ 1561148 w 4159250"/>
                <a:gd name="connsiteY27" fmla="*/ 1845628 h 2711450"/>
                <a:gd name="connsiteX28" fmla="*/ 3206433 w 4159250"/>
                <a:gd name="connsiteY28" fmla="*/ 887413 h 2711450"/>
                <a:gd name="connsiteX29" fmla="*/ 3635693 w 4159250"/>
                <a:gd name="connsiteY29" fmla="*/ 1133792 h 2711450"/>
                <a:gd name="connsiteX30" fmla="*/ 1965642 w 4159250"/>
                <a:gd name="connsiteY30" fmla="*/ 2077403 h 2711450"/>
                <a:gd name="connsiteX31" fmla="*/ 1561148 w 4159250"/>
                <a:gd name="connsiteY31" fmla="*/ 1845628 h 2711450"/>
                <a:gd name="connsiteX32" fmla="*/ 2433002 w 4159250"/>
                <a:gd name="connsiteY32" fmla="*/ 2347278 h 2711450"/>
                <a:gd name="connsiteX33" fmla="*/ 2001202 w 4159250"/>
                <a:gd name="connsiteY33" fmla="*/ 2098993 h 2711450"/>
                <a:gd name="connsiteX34" fmla="*/ 3671252 w 4159250"/>
                <a:gd name="connsiteY34" fmla="*/ 1155383 h 2711450"/>
                <a:gd name="connsiteX35" fmla="*/ 4084637 w 4159250"/>
                <a:gd name="connsiteY35" fmla="*/ 1392873 h 2711450"/>
                <a:gd name="connsiteX36" fmla="*/ 2433002 w 4159250"/>
                <a:gd name="connsiteY36" fmla="*/ 2347278 h 271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159250" h="2711450">
                  <a:moveTo>
                    <a:pt x="2469198" y="2367598"/>
                  </a:moveTo>
                  <a:lnTo>
                    <a:pt x="4156393" y="1391603"/>
                  </a:lnTo>
                  <a:lnTo>
                    <a:pt x="1742123" y="4763"/>
                  </a:lnTo>
                  <a:cubicBezTo>
                    <a:pt x="1723708" y="6667"/>
                    <a:pt x="1704023" y="9208"/>
                    <a:pt x="1683067" y="12383"/>
                  </a:cubicBezTo>
                  <a:lnTo>
                    <a:pt x="2263458" y="345758"/>
                  </a:lnTo>
                  <a:lnTo>
                    <a:pt x="4763" y="1650683"/>
                  </a:lnTo>
                  <a:lnTo>
                    <a:pt x="40958" y="1671003"/>
                  </a:lnTo>
                  <a:lnTo>
                    <a:pt x="2299652" y="366713"/>
                  </a:lnTo>
                  <a:lnTo>
                    <a:pt x="2736533" y="617538"/>
                  </a:lnTo>
                  <a:lnTo>
                    <a:pt x="445452" y="1898967"/>
                  </a:lnTo>
                  <a:lnTo>
                    <a:pt x="482283" y="1919923"/>
                  </a:lnTo>
                  <a:lnTo>
                    <a:pt x="2772727" y="638492"/>
                  </a:lnTo>
                  <a:lnTo>
                    <a:pt x="3169602" y="866458"/>
                  </a:lnTo>
                  <a:lnTo>
                    <a:pt x="928052" y="2172018"/>
                  </a:lnTo>
                  <a:lnTo>
                    <a:pt x="964248" y="2192338"/>
                  </a:lnTo>
                  <a:lnTo>
                    <a:pt x="1524317" y="1865948"/>
                  </a:lnTo>
                  <a:lnTo>
                    <a:pt x="1927542" y="2097723"/>
                  </a:lnTo>
                  <a:lnTo>
                    <a:pt x="1363027" y="2417128"/>
                  </a:lnTo>
                  <a:lnTo>
                    <a:pt x="1399858" y="2438083"/>
                  </a:lnTo>
                  <a:lnTo>
                    <a:pt x="1964373" y="2119313"/>
                  </a:lnTo>
                  <a:lnTo>
                    <a:pt x="2396808" y="2368233"/>
                  </a:lnTo>
                  <a:lnTo>
                    <a:pt x="1842452" y="2688908"/>
                  </a:lnTo>
                  <a:lnTo>
                    <a:pt x="1878648" y="2709228"/>
                  </a:lnTo>
                  <a:lnTo>
                    <a:pt x="2432368" y="2389188"/>
                  </a:lnTo>
                  <a:lnTo>
                    <a:pt x="2831148" y="2618423"/>
                  </a:lnTo>
                  <a:lnTo>
                    <a:pt x="2867343" y="2597468"/>
                  </a:lnTo>
                  <a:lnTo>
                    <a:pt x="2469198" y="2367598"/>
                  </a:lnTo>
                  <a:close/>
                  <a:moveTo>
                    <a:pt x="1561148" y="1845628"/>
                  </a:moveTo>
                  <a:lnTo>
                    <a:pt x="3206433" y="887413"/>
                  </a:lnTo>
                  <a:lnTo>
                    <a:pt x="3635693" y="1133792"/>
                  </a:lnTo>
                  <a:lnTo>
                    <a:pt x="1965642" y="2077403"/>
                  </a:lnTo>
                  <a:lnTo>
                    <a:pt x="1561148" y="1845628"/>
                  </a:lnTo>
                  <a:close/>
                  <a:moveTo>
                    <a:pt x="2433002" y="2347278"/>
                  </a:moveTo>
                  <a:lnTo>
                    <a:pt x="2001202" y="2098993"/>
                  </a:lnTo>
                  <a:lnTo>
                    <a:pt x="3671252" y="1155383"/>
                  </a:lnTo>
                  <a:lnTo>
                    <a:pt x="4084637" y="1392873"/>
                  </a:lnTo>
                  <a:lnTo>
                    <a:pt x="2433002" y="234727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2" name="任意多边形: 形状 9991"/>
            <p:cNvSpPr/>
            <p:nvPr/>
          </p:nvSpPr>
          <p:spPr>
            <a:xfrm>
              <a:off x="6373178" y="5018927"/>
              <a:ext cx="990600" cy="317500"/>
            </a:xfrm>
            <a:custGeom>
              <a:avLst/>
              <a:gdLst>
                <a:gd name="connsiteX0" fmla="*/ 525463 w 990600"/>
                <a:gd name="connsiteY0" fmla="*/ 264908 h 317500"/>
                <a:gd name="connsiteX1" fmla="*/ 763588 w 990600"/>
                <a:gd name="connsiteY1" fmla="*/ 200138 h 317500"/>
                <a:gd name="connsiteX2" fmla="*/ 985203 w 990600"/>
                <a:gd name="connsiteY2" fmla="*/ 89648 h 317500"/>
                <a:gd name="connsiteX3" fmla="*/ 915988 w 990600"/>
                <a:gd name="connsiteY3" fmla="*/ 24243 h 317500"/>
                <a:gd name="connsiteX4" fmla="*/ 289878 w 990600"/>
                <a:gd name="connsiteY4" fmla="*/ 69328 h 317500"/>
                <a:gd name="connsiteX5" fmla="*/ 4763 w 990600"/>
                <a:gd name="connsiteY5" fmla="*/ 165848 h 317500"/>
                <a:gd name="connsiteX6" fmla="*/ 274003 w 990600"/>
                <a:gd name="connsiteY6" fmla="*/ 317613 h 317500"/>
                <a:gd name="connsiteX7" fmla="*/ 525463 w 990600"/>
                <a:gd name="connsiteY7" fmla="*/ 264908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0600" h="317500">
                  <a:moveTo>
                    <a:pt x="525463" y="264908"/>
                  </a:moveTo>
                  <a:cubicBezTo>
                    <a:pt x="816292" y="235063"/>
                    <a:pt x="763588" y="200138"/>
                    <a:pt x="763588" y="200138"/>
                  </a:cubicBezTo>
                  <a:cubicBezTo>
                    <a:pt x="790257" y="228713"/>
                    <a:pt x="970597" y="134733"/>
                    <a:pt x="985203" y="89648"/>
                  </a:cubicBezTo>
                  <a:cubicBezTo>
                    <a:pt x="999807" y="45198"/>
                    <a:pt x="915988" y="24243"/>
                    <a:pt x="915988" y="24243"/>
                  </a:cubicBezTo>
                  <a:cubicBezTo>
                    <a:pt x="834072" y="-39257"/>
                    <a:pt x="501967" y="73138"/>
                    <a:pt x="289878" y="69328"/>
                  </a:cubicBezTo>
                  <a:cubicBezTo>
                    <a:pt x="228917" y="68058"/>
                    <a:pt x="105727" y="120128"/>
                    <a:pt x="4763" y="165848"/>
                  </a:cubicBezTo>
                  <a:lnTo>
                    <a:pt x="274003" y="317613"/>
                  </a:lnTo>
                  <a:cubicBezTo>
                    <a:pt x="371157" y="312533"/>
                    <a:pt x="435928" y="274433"/>
                    <a:pt x="525463" y="264908"/>
                  </a:cubicBezTo>
                  <a:close/>
                </a:path>
              </a:pathLst>
            </a:custGeom>
            <a:solidFill>
              <a:srgbClr val="CCD8EA">
                <a:alpha val="4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3" name="任意多边形: 形状 9992"/>
            <p:cNvSpPr/>
            <p:nvPr/>
          </p:nvSpPr>
          <p:spPr>
            <a:xfrm>
              <a:off x="6898322" y="3901751"/>
              <a:ext cx="2692400" cy="1625600"/>
            </a:xfrm>
            <a:custGeom>
              <a:avLst/>
              <a:gdLst>
                <a:gd name="connsiteX0" fmla="*/ 2690813 w 2692400"/>
                <a:gd name="connsiteY0" fmla="*/ 1143959 h 1625600"/>
                <a:gd name="connsiteX1" fmla="*/ 2544128 w 2692400"/>
                <a:gd name="connsiteY1" fmla="*/ 765499 h 1625600"/>
                <a:gd name="connsiteX2" fmla="*/ 1347788 w 2692400"/>
                <a:gd name="connsiteY2" fmla="*/ 4769 h 1625600"/>
                <a:gd name="connsiteX3" fmla="*/ 627063 w 2692400"/>
                <a:gd name="connsiteY3" fmla="*/ 26358 h 1625600"/>
                <a:gd name="connsiteX4" fmla="*/ 449263 w 2692400"/>
                <a:gd name="connsiteY4" fmla="*/ 369258 h 1625600"/>
                <a:gd name="connsiteX5" fmla="*/ 4763 w 2692400"/>
                <a:gd name="connsiteY5" fmla="*/ 550869 h 1625600"/>
                <a:gd name="connsiteX6" fmla="*/ 1798003 w 2692400"/>
                <a:gd name="connsiteY6" fmla="*/ 1624019 h 1625600"/>
                <a:gd name="connsiteX7" fmla="*/ 2237422 w 2692400"/>
                <a:gd name="connsiteY7" fmla="*/ 1410024 h 1625600"/>
                <a:gd name="connsiteX8" fmla="*/ 2690813 w 2692400"/>
                <a:gd name="connsiteY8" fmla="*/ 1143959 h 162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2400" h="1625600">
                  <a:moveTo>
                    <a:pt x="2690813" y="1143959"/>
                  </a:moveTo>
                  <a:cubicBezTo>
                    <a:pt x="2690813" y="1143959"/>
                    <a:pt x="2680018" y="881704"/>
                    <a:pt x="2544128" y="765499"/>
                  </a:cubicBezTo>
                  <a:cubicBezTo>
                    <a:pt x="2161858" y="439744"/>
                    <a:pt x="1352233" y="2864"/>
                    <a:pt x="1347788" y="4769"/>
                  </a:cubicBezTo>
                  <a:cubicBezTo>
                    <a:pt x="1342072" y="6674"/>
                    <a:pt x="817563" y="21279"/>
                    <a:pt x="627063" y="26358"/>
                  </a:cubicBezTo>
                  <a:cubicBezTo>
                    <a:pt x="627697" y="162883"/>
                    <a:pt x="545783" y="290519"/>
                    <a:pt x="449263" y="369258"/>
                  </a:cubicBezTo>
                  <a:cubicBezTo>
                    <a:pt x="389572" y="417519"/>
                    <a:pt x="208597" y="481019"/>
                    <a:pt x="4763" y="550869"/>
                  </a:cubicBezTo>
                  <a:cubicBezTo>
                    <a:pt x="494983" y="911549"/>
                    <a:pt x="1788478" y="1637989"/>
                    <a:pt x="1798003" y="1624019"/>
                  </a:cubicBezTo>
                  <a:cubicBezTo>
                    <a:pt x="1810068" y="1606239"/>
                    <a:pt x="2083118" y="1457014"/>
                    <a:pt x="2237422" y="1410024"/>
                  </a:cubicBezTo>
                  <a:cubicBezTo>
                    <a:pt x="2391728" y="1363034"/>
                    <a:pt x="2690813" y="1143959"/>
                    <a:pt x="2690813" y="1143959"/>
                  </a:cubicBezTo>
                  <a:close/>
                </a:path>
              </a:pathLst>
            </a:custGeom>
            <a:solidFill>
              <a:srgbClr val="CCD8EA">
                <a:alpha val="4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4" name="任意多边形: 形状 9993"/>
            <p:cNvSpPr/>
            <p:nvPr/>
          </p:nvSpPr>
          <p:spPr>
            <a:xfrm>
              <a:off x="7849553" y="4378642"/>
              <a:ext cx="44450" cy="203200"/>
            </a:xfrm>
            <a:custGeom>
              <a:avLst/>
              <a:gdLst>
                <a:gd name="connsiteX0" fmla="*/ 4763 w 44450"/>
                <a:gd name="connsiteY0" fmla="*/ 7938 h 203200"/>
                <a:gd name="connsiteX1" fmla="*/ 9842 w 44450"/>
                <a:gd name="connsiteY1" fmla="*/ 176848 h 203200"/>
                <a:gd name="connsiteX2" fmla="*/ 42863 w 44450"/>
                <a:gd name="connsiteY2" fmla="*/ 202883 h 203200"/>
                <a:gd name="connsiteX3" fmla="*/ 44132 w 44450"/>
                <a:gd name="connsiteY3" fmla="*/ 4763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203200">
                  <a:moveTo>
                    <a:pt x="4763" y="7938"/>
                  </a:moveTo>
                  <a:lnTo>
                    <a:pt x="9842" y="176848"/>
                  </a:lnTo>
                  <a:lnTo>
                    <a:pt x="42863" y="202883"/>
                  </a:lnTo>
                  <a:lnTo>
                    <a:pt x="44132" y="4763"/>
                  </a:lnTo>
                  <a:close/>
                </a:path>
              </a:pathLst>
            </a:custGeom>
            <a:solidFill>
              <a:srgbClr val="B5CE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5" name="任意多边形: 形状 9994"/>
            <p:cNvSpPr/>
            <p:nvPr/>
          </p:nvSpPr>
          <p:spPr>
            <a:xfrm>
              <a:off x="7887653" y="4378642"/>
              <a:ext cx="50800" cy="203200"/>
            </a:xfrm>
            <a:custGeom>
              <a:avLst/>
              <a:gdLst>
                <a:gd name="connsiteX0" fmla="*/ 47942 w 50800"/>
                <a:gd name="connsiteY0" fmla="*/ 172403 h 203200"/>
                <a:gd name="connsiteX1" fmla="*/ 4763 w 50800"/>
                <a:gd name="connsiteY1" fmla="*/ 202883 h 203200"/>
                <a:gd name="connsiteX2" fmla="*/ 6032 w 50800"/>
                <a:gd name="connsiteY2" fmla="*/ 4763 h 203200"/>
                <a:gd name="connsiteX3" fmla="*/ 50482 w 50800"/>
                <a:gd name="connsiteY3" fmla="*/ 2889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203200">
                  <a:moveTo>
                    <a:pt x="47942" y="172403"/>
                  </a:moveTo>
                  <a:lnTo>
                    <a:pt x="4763" y="202883"/>
                  </a:lnTo>
                  <a:lnTo>
                    <a:pt x="6032" y="4763"/>
                  </a:lnTo>
                  <a:lnTo>
                    <a:pt x="50482" y="28892"/>
                  </a:lnTo>
                  <a:close/>
                </a:path>
              </a:pathLst>
            </a:custGeom>
            <a:solidFill>
              <a:srgbClr val="9CB5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6" name="任意多边形: 形状 9995"/>
            <p:cNvSpPr/>
            <p:nvPr/>
          </p:nvSpPr>
          <p:spPr>
            <a:xfrm>
              <a:off x="9110028" y="4958397"/>
              <a:ext cx="44450" cy="349250"/>
            </a:xfrm>
            <a:custGeom>
              <a:avLst/>
              <a:gdLst>
                <a:gd name="connsiteX0" fmla="*/ 4763 w 44450"/>
                <a:gd name="connsiteY0" fmla="*/ 7303 h 349250"/>
                <a:gd name="connsiteX1" fmla="*/ 9207 w 44450"/>
                <a:gd name="connsiteY1" fmla="*/ 320358 h 349250"/>
                <a:gd name="connsiteX2" fmla="*/ 42863 w 44450"/>
                <a:gd name="connsiteY2" fmla="*/ 347028 h 349250"/>
                <a:gd name="connsiteX3" fmla="*/ 44132 w 44450"/>
                <a:gd name="connsiteY3" fmla="*/ 4763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349250">
                  <a:moveTo>
                    <a:pt x="4763" y="7303"/>
                  </a:moveTo>
                  <a:lnTo>
                    <a:pt x="9207" y="320358"/>
                  </a:lnTo>
                  <a:lnTo>
                    <a:pt x="42863" y="347028"/>
                  </a:lnTo>
                  <a:lnTo>
                    <a:pt x="44132" y="4763"/>
                  </a:lnTo>
                  <a:close/>
                </a:path>
              </a:pathLst>
            </a:custGeom>
            <a:solidFill>
              <a:srgbClr val="B5CE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7" name="任意多边形: 形状 9996"/>
            <p:cNvSpPr/>
            <p:nvPr/>
          </p:nvSpPr>
          <p:spPr>
            <a:xfrm>
              <a:off x="9148128" y="4958397"/>
              <a:ext cx="50800" cy="349250"/>
            </a:xfrm>
            <a:custGeom>
              <a:avLst/>
              <a:gdLst>
                <a:gd name="connsiteX0" fmla="*/ 47942 w 50800"/>
                <a:gd name="connsiteY0" fmla="*/ 315913 h 349250"/>
                <a:gd name="connsiteX1" fmla="*/ 4763 w 50800"/>
                <a:gd name="connsiteY1" fmla="*/ 347028 h 349250"/>
                <a:gd name="connsiteX2" fmla="*/ 6032 w 50800"/>
                <a:gd name="connsiteY2" fmla="*/ 4763 h 349250"/>
                <a:gd name="connsiteX3" fmla="*/ 49847 w 50800"/>
                <a:gd name="connsiteY3" fmla="*/ 28893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349250">
                  <a:moveTo>
                    <a:pt x="47942" y="315913"/>
                  </a:moveTo>
                  <a:lnTo>
                    <a:pt x="4763" y="347028"/>
                  </a:lnTo>
                  <a:lnTo>
                    <a:pt x="6032" y="4763"/>
                  </a:lnTo>
                  <a:lnTo>
                    <a:pt x="49847" y="28893"/>
                  </a:lnTo>
                  <a:close/>
                </a:path>
              </a:pathLst>
            </a:custGeom>
            <a:solidFill>
              <a:srgbClr val="9CB5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8" name="任意多边形: 形状 9997"/>
            <p:cNvSpPr/>
            <p:nvPr/>
          </p:nvSpPr>
          <p:spPr>
            <a:xfrm>
              <a:off x="9503093" y="4729797"/>
              <a:ext cx="44450" cy="349250"/>
            </a:xfrm>
            <a:custGeom>
              <a:avLst/>
              <a:gdLst>
                <a:gd name="connsiteX0" fmla="*/ 4763 w 44450"/>
                <a:gd name="connsiteY0" fmla="*/ 7303 h 349250"/>
                <a:gd name="connsiteX1" fmla="*/ 9842 w 44450"/>
                <a:gd name="connsiteY1" fmla="*/ 320993 h 349250"/>
                <a:gd name="connsiteX2" fmla="*/ 42863 w 44450"/>
                <a:gd name="connsiteY2" fmla="*/ 347028 h 349250"/>
                <a:gd name="connsiteX3" fmla="*/ 44132 w 44450"/>
                <a:gd name="connsiteY3" fmla="*/ 4763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349250">
                  <a:moveTo>
                    <a:pt x="4763" y="7303"/>
                  </a:moveTo>
                  <a:lnTo>
                    <a:pt x="9842" y="320993"/>
                  </a:lnTo>
                  <a:lnTo>
                    <a:pt x="42863" y="347028"/>
                  </a:lnTo>
                  <a:lnTo>
                    <a:pt x="44132" y="4763"/>
                  </a:lnTo>
                  <a:close/>
                </a:path>
              </a:pathLst>
            </a:custGeom>
            <a:solidFill>
              <a:srgbClr val="B5CE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9" name="任意多边形: 形状 9998"/>
            <p:cNvSpPr/>
            <p:nvPr/>
          </p:nvSpPr>
          <p:spPr>
            <a:xfrm>
              <a:off x="9541193" y="4729797"/>
              <a:ext cx="50800" cy="349250"/>
            </a:xfrm>
            <a:custGeom>
              <a:avLst/>
              <a:gdLst>
                <a:gd name="connsiteX0" fmla="*/ 47942 w 50800"/>
                <a:gd name="connsiteY0" fmla="*/ 315913 h 349250"/>
                <a:gd name="connsiteX1" fmla="*/ 4763 w 50800"/>
                <a:gd name="connsiteY1" fmla="*/ 347028 h 349250"/>
                <a:gd name="connsiteX2" fmla="*/ 6032 w 50800"/>
                <a:gd name="connsiteY2" fmla="*/ 4763 h 349250"/>
                <a:gd name="connsiteX3" fmla="*/ 50482 w 50800"/>
                <a:gd name="connsiteY3" fmla="*/ 28893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349250">
                  <a:moveTo>
                    <a:pt x="47942" y="315913"/>
                  </a:moveTo>
                  <a:lnTo>
                    <a:pt x="4763" y="347028"/>
                  </a:lnTo>
                  <a:lnTo>
                    <a:pt x="6032" y="4763"/>
                  </a:lnTo>
                  <a:lnTo>
                    <a:pt x="50482" y="28893"/>
                  </a:lnTo>
                  <a:close/>
                </a:path>
              </a:pathLst>
            </a:custGeom>
            <a:solidFill>
              <a:srgbClr val="9CB5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0" name="任意多边形: 形状 9999"/>
            <p:cNvSpPr/>
            <p:nvPr/>
          </p:nvSpPr>
          <p:spPr>
            <a:xfrm>
              <a:off x="7714111" y="3899853"/>
              <a:ext cx="1924050" cy="1193800"/>
            </a:xfrm>
            <a:custGeom>
              <a:avLst/>
              <a:gdLst>
                <a:gd name="connsiteX0" fmla="*/ 538349 w 1924050"/>
                <a:gd name="connsiteY0" fmla="*/ 4763 h 1193800"/>
                <a:gd name="connsiteX1" fmla="*/ 44954 w 1924050"/>
                <a:gd name="connsiteY1" fmla="*/ 295592 h 1193800"/>
                <a:gd name="connsiteX2" fmla="*/ 8759 w 1924050"/>
                <a:gd name="connsiteY2" fmla="*/ 403542 h 1193800"/>
                <a:gd name="connsiteX3" fmla="*/ 156079 w 1924050"/>
                <a:gd name="connsiteY3" fmla="*/ 514667 h 1193800"/>
                <a:gd name="connsiteX4" fmla="*/ 1328924 w 1924050"/>
                <a:gd name="connsiteY4" fmla="*/ 1190942 h 1193800"/>
                <a:gd name="connsiteX5" fmla="*/ 1845179 w 1924050"/>
                <a:gd name="connsiteY5" fmla="*/ 893763 h 1193800"/>
                <a:gd name="connsiteX6" fmla="*/ 1920109 w 1924050"/>
                <a:gd name="connsiteY6" fmla="*/ 684847 h 1193800"/>
                <a:gd name="connsiteX7" fmla="*/ 538349 w 1924050"/>
                <a:gd name="connsiteY7" fmla="*/ 4763 h 1193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4050" h="1193800">
                  <a:moveTo>
                    <a:pt x="538349" y="4763"/>
                  </a:moveTo>
                  <a:lnTo>
                    <a:pt x="44954" y="295592"/>
                  </a:lnTo>
                  <a:cubicBezTo>
                    <a:pt x="44954" y="295592"/>
                    <a:pt x="-10291" y="341313"/>
                    <a:pt x="8759" y="403542"/>
                  </a:cubicBezTo>
                  <a:cubicBezTo>
                    <a:pt x="27809" y="465772"/>
                    <a:pt x="86864" y="472122"/>
                    <a:pt x="156079" y="514667"/>
                  </a:cubicBezTo>
                  <a:cubicBezTo>
                    <a:pt x="224659" y="557213"/>
                    <a:pt x="1328924" y="1190942"/>
                    <a:pt x="1328924" y="1190942"/>
                  </a:cubicBezTo>
                  <a:lnTo>
                    <a:pt x="1845179" y="893763"/>
                  </a:lnTo>
                  <a:lnTo>
                    <a:pt x="1920109" y="684847"/>
                  </a:lnTo>
                  <a:lnTo>
                    <a:pt x="538349" y="4763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1" name="任意多边形: 形状 10000"/>
            <p:cNvSpPr/>
            <p:nvPr/>
          </p:nvSpPr>
          <p:spPr>
            <a:xfrm>
              <a:off x="9008945" y="4085908"/>
              <a:ext cx="679450" cy="1003300"/>
            </a:xfrm>
            <a:custGeom>
              <a:avLst/>
              <a:gdLst>
                <a:gd name="connsiteX0" fmla="*/ 677980 w 679450"/>
                <a:gd name="connsiteY0" fmla="*/ 641667 h 1003300"/>
                <a:gd name="connsiteX1" fmla="*/ 63935 w 679450"/>
                <a:gd name="connsiteY1" fmla="*/ 1001077 h 1003300"/>
                <a:gd name="connsiteX2" fmla="*/ 4880 w 679450"/>
                <a:gd name="connsiteY2" fmla="*/ 958533 h 1003300"/>
                <a:gd name="connsiteX3" fmla="*/ 89970 w 679450"/>
                <a:gd name="connsiteY3" fmla="*/ 821372 h 1003300"/>
                <a:gd name="connsiteX4" fmla="*/ 540820 w 679450"/>
                <a:gd name="connsiteY4" fmla="*/ 559752 h 1003300"/>
                <a:gd name="connsiteX5" fmla="*/ 521135 w 679450"/>
                <a:gd name="connsiteY5" fmla="*/ 60008 h 1003300"/>
                <a:gd name="connsiteX6" fmla="*/ 576380 w 679450"/>
                <a:gd name="connsiteY6" fmla="*/ 4763 h 1003300"/>
                <a:gd name="connsiteX7" fmla="*/ 677980 w 679450"/>
                <a:gd name="connsiteY7" fmla="*/ 33972 h 1003300"/>
                <a:gd name="connsiteX8" fmla="*/ 677980 w 679450"/>
                <a:gd name="connsiteY8" fmla="*/ 641667 h 1003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9450" h="1003300">
                  <a:moveTo>
                    <a:pt x="677980" y="641667"/>
                  </a:moveTo>
                  <a:lnTo>
                    <a:pt x="63935" y="1001077"/>
                  </a:lnTo>
                  <a:cubicBezTo>
                    <a:pt x="63935" y="1001077"/>
                    <a:pt x="1705" y="1020763"/>
                    <a:pt x="4880" y="958533"/>
                  </a:cubicBezTo>
                  <a:cubicBezTo>
                    <a:pt x="8055" y="896302"/>
                    <a:pt x="34090" y="847408"/>
                    <a:pt x="89970" y="821372"/>
                  </a:cubicBezTo>
                  <a:cubicBezTo>
                    <a:pt x="145215" y="795338"/>
                    <a:pt x="540820" y="559752"/>
                    <a:pt x="540820" y="559752"/>
                  </a:cubicBezTo>
                  <a:lnTo>
                    <a:pt x="521135" y="60008"/>
                  </a:lnTo>
                  <a:lnTo>
                    <a:pt x="576380" y="4763"/>
                  </a:lnTo>
                  <a:lnTo>
                    <a:pt x="677980" y="33972"/>
                  </a:lnTo>
                  <a:lnTo>
                    <a:pt x="677980" y="641667"/>
                  </a:lnTo>
                  <a:close/>
                </a:path>
              </a:pathLst>
            </a:custGeom>
            <a:solidFill>
              <a:srgbClr val="D4DE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2" name="任意多边形: 形状 10001"/>
            <p:cNvSpPr/>
            <p:nvPr/>
          </p:nvSpPr>
          <p:spPr>
            <a:xfrm>
              <a:off x="8247697" y="3350929"/>
              <a:ext cx="1441450" cy="1295400"/>
            </a:xfrm>
            <a:custGeom>
              <a:avLst/>
              <a:gdLst>
                <a:gd name="connsiteX0" fmla="*/ 4763 w 1441450"/>
                <a:gd name="connsiteY0" fmla="*/ 553686 h 1295400"/>
                <a:gd name="connsiteX1" fmla="*/ 4763 w 1441450"/>
                <a:gd name="connsiteY1" fmla="*/ 122521 h 1295400"/>
                <a:gd name="connsiteX2" fmla="*/ 109538 w 1441450"/>
                <a:gd name="connsiteY2" fmla="*/ 5046 h 1295400"/>
                <a:gd name="connsiteX3" fmla="*/ 1439228 w 1441450"/>
                <a:gd name="connsiteY3" fmla="*/ 769586 h 1295400"/>
                <a:gd name="connsiteX4" fmla="*/ 1334453 w 1441450"/>
                <a:gd name="connsiteY4" fmla="*/ 786096 h 1295400"/>
                <a:gd name="connsiteX5" fmla="*/ 1298258 w 1441450"/>
                <a:gd name="connsiteY5" fmla="*/ 959451 h 1295400"/>
                <a:gd name="connsiteX6" fmla="*/ 1301433 w 1441450"/>
                <a:gd name="connsiteY6" fmla="*/ 1296001 h 1295400"/>
                <a:gd name="connsiteX7" fmla="*/ 4763 w 1441450"/>
                <a:gd name="connsiteY7" fmla="*/ 553686 h 129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1450" h="1295400">
                  <a:moveTo>
                    <a:pt x="4763" y="553686"/>
                  </a:moveTo>
                  <a:lnTo>
                    <a:pt x="4763" y="122521"/>
                  </a:lnTo>
                  <a:cubicBezTo>
                    <a:pt x="4763" y="122521"/>
                    <a:pt x="37147" y="-1939"/>
                    <a:pt x="109538" y="5046"/>
                  </a:cubicBezTo>
                  <a:cubicBezTo>
                    <a:pt x="181293" y="11396"/>
                    <a:pt x="1439228" y="769586"/>
                    <a:pt x="1439228" y="769586"/>
                  </a:cubicBezTo>
                  <a:cubicBezTo>
                    <a:pt x="1439228" y="769586"/>
                    <a:pt x="1364297" y="737201"/>
                    <a:pt x="1334453" y="786096"/>
                  </a:cubicBezTo>
                  <a:cubicBezTo>
                    <a:pt x="1305243" y="834991"/>
                    <a:pt x="1302068" y="854676"/>
                    <a:pt x="1298258" y="959451"/>
                  </a:cubicBezTo>
                  <a:cubicBezTo>
                    <a:pt x="1294447" y="1064226"/>
                    <a:pt x="1301433" y="1296001"/>
                    <a:pt x="1301433" y="1296001"/>
                  </a:cubicBezTo>
                  <a:lnTo>
                    <a:pt x="4763" y="553686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3" name="任意多边形: 形状 10002"/>
            <p:cNvSpPr/>
            <p:nvPr/>
          </p:nvSpPr>
          <p:spPr>
            <a:xfrm>
              <a:off x="8266864" y="5085869"/>
              <a:ext cx="133350" cy="146050"/>
            </a:xfrm>
            <a:custGeom>
              <a:avLst/>
              <a:gdLst>
                <a:gd name="connsiteX0" fmla="*/ 19886 w 133350"/>
                <a:gd name="connsiteY0" fmla="*/ 145261 h 146050"/>
                <a:gd name="connsiteX1" fmla="*/ 8456 w 133350"/>
                <a:gd name="connsiteY1" fmla="*/ 124306 h 146050"/>
                <a:gd name="connsiteX2" fmla="*/ 44016 w 133350"/>
                <a:gd name="connsiteY2" fmla="*/ 22706 h 146050"/>
                <a:gd name="connsiteX3" fmla="*/ 129106 w 133350"/>
                <a:gd name="connsiteY3" fmla="*/ 13816 h 146050"/>
                <a:gd name="connsiteX4" fmla="*/ 131646 w 133350"/>
                <a:gd name="connsiteY4" fmla="*/ 64616 h 146050"/>
                <a:gd name="connsiteX5" fmla="*/ 19886 w 133350"/>
                <a:gd name="connsiteY5" fmla="*/ 145261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350" h="146050">
                  <a:moveTo>
                    <a:pt x="19886" y="145261"/>
                  </a:moveTo>
                  <a:cubicBezTo>
                    <a:pt x="19886" y="145261"/>
                    <a:pt x="-4244" y="156691"/>
                    <a:pt x="8456" y="124306"/>
                  </a:cubicBezTo>
                  <a:cubicBezTo>
                    <a:pt x="21156" y="91921"/>
                    <a:pt x="41476" y="56996"/>
                    <a:pt x="44016" y="22706"/>
                  </a:cubicBezTo>
                  <a:cubicBezTo>
                    <a:pt x="46556" y="-11584"/>
                    <a:pt x="129106" y="13816"/>
                    <a:pt x="129106" y="13816"/>
                  </a:cubicBezTo>
                  <a:lnTo>
                    <a:pt x="131646" y="64616"/>
                  </a:lnTo>
                  <a:cubicBezTo>
                    <a:pt x="131646" y="64616"/>
                    <a:pt x="46556" y="135736"/>
                    <a:pt x="19886" y="145261"/>
                  </a:cubicBezTo>
                  <a:close/>
                </a:path>
              </a:pathLst>
            </a:custGeom>
            <a:solidFill>
              <a:srgbClr val="2C2F7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4" name="任意多边形: 形状 10003"/>
            <p:cNvSpPr/>
            <p:nvPr/>
          </p:nvSpPr>
          <p:spPr>
            <a:xfrm>
              <a:off x="8319429" y="5234040"/>
              <a:ext cx="120650" cy="158750"/>
            </a:xfrm>
            <a:custGeom>
              <a:avLst/>
              <a:gdLst>
                <a:gd name="connsiteX0" fmla="*/ 49236 w 120650"/>
                <a:gd name="connsiteY0" fmla="*/ 14235 h 158750"/>
                <a:gd name="connsiteX1" fmla="*/ 6691 w 120650"/>
                <a:gd name="connsiteY1" fmla="*/ 117740 h 158750"/>
                <a:gd name="connsiteX2" fmla="*/ 27646 w 120650"/>
                <a:gd name="connsiteY2" fmla="*/ 154570 h 158750"/>
                <a:gd name="connsiteX3" fmla="*/ 116546 w 120650"/>
                <a:gd name="connsiteY3" fmla="*/ 45350 h 158750"/>
                <a:gd name="connsiteX4" fmla="*/ 49236 w 120650"/>
                <a:gd name="connsiteY4" fmla="*/ 14235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650" h="158750">
                  <a:moveTo>
                    <a:pt x="49236" y="14235"/>
                  </a:moveTo>
                  <a:cubicBezTo>
                    <a:pt x="49236" y="14235"/>
                    <a:pt x="12406" y="79640"/>
                    <a:pt x="6691" y="117740"/>
                  </a:cubicBezTo>
                  <a:cubicBezTo>
                    <a:pt x="977" y="155840"/>
                    <a:pt x="7961" y="160285"/>
                    <a:pt x="27646" y="154570"/>
                  </a:cubicBezTo>
                  <a:cubicBezTo>
                    <a:pt x="47331" y="148855"/>
                    <a:pt x="117181" y="112025"/>
                    <a:pt x="116546" y="45350"/>
                  </a:cubicBezTo>
                  <a:cubicBezTo>
                    <a:pt x="115911" y="-21325"/>
                    <a:pt x="49236" y="14235"/>
                    <a:pt x="49236" y="14235"/>
                  </a:cubicBezTo>
                  <a:close/>
                </a:path>
              </a:pathLst>
            </a:custGeom>
            <a:solidFill>
              <a:srgbClr val="2C2F7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5" name="任意多边形: 形状 10004"/>
            <p:cNvSpPr/>
            <p:nvPr/>
          </p:nvSpPr>
          <p:spPr>
            <a:xfrm>
              <a:off x="8158242" y="4506913"/>
              <a:ext cx="349250" cy="615950"/>
            </a:xfrm>
            <a:custGeom>
              <a:avLst/>
              <a:gdLst>
                <a:gd name="connsiteX0" fmla="*/ 152638 w 349250"/>
                <a:gd name="connsiteY0" fmla="*/ 601663 h 615950"/>
                <a:gd name="connsiteX1" fmla="*/ 5952 w 349250"/>
                <a:gd name="connsiteY1" fmla="*/ 194628 h 615950"/>
                <a:gd name="connsiteX2" fmla="*/ 46592 w 349250"/>
                <a:gd name="connsiteY2" fmla="*/ 105728 h 615950"/>
                <a:gd name="connsiteX3" fmla="*/ 198358 w 349250"/>
                <a:gd name="connsiteY3" fmla="*/ 4763 h 615950"/>
                <a:gd name="connsiteX4" fmla="*/ 343138 w 349250"/>
                <a:gd name="connsiteY4" fmla="*/ 86678 h 615950"/>
                <a:gd name="connsiteX5" fmla="*/ 350123 w 349250"/>
                <a:gd name="connsiteY5" fmla="*/ 108267 h 615950"/>
                <a:gd name="connsiteX6" fmla="*/ 150098 w 349250"/>
                <a:gd name="connsiteY6" fmla="*/ 226378 h 615950"/>
                <a:gd name="connsiteX7" fmla="*/ 225027 w 349250"/>
                <a:gd name="connsiteY7" fmla="*/ 536892 h 615950"/>
                <a:gd name="connsiteX8" fmla="*/ 193913 w 349250"/>
                <a:gd name="connsiteY8" fmla="*/ 616267 h 615950"/>
                <a:gd name="connsiteX9" fmla="*/ 152638 w 349250"/>
                <a:gd name="connsiteY9" fmla="*/ 601663 h 6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9250" h="615950">
                  <a:moveTo>
                    <a:pt x="152638" y="601663"/>
                  </a:moveTo>
                  <a:lnTo>
                    <a:pt x="5952" y="194628"/>
                  </a:lnTo>
                  <a:cubicBezTo>
                    <a:pt x="5952" y="194628"/>
                    <a:pt x="-6112" y="131763"/>
                    <a:pt x="46592" y="105728"/>
                  </a:cubicBezTo>
                  <a:cubicBezTo>
                    <a:pt x="99298" y="79058"/>
                    <a:pt x="198358" y="4763"/>
                    <a:pt x="198358" y="4763"/>
                  </a:cubicBezTo>
                  <a:lnTo>
                    <a:pt x="343138" y="86678"/>
                  </a:lnTo>
                  <a:lnTo>
                    <a:pt x="350123" y="108267"/>
                  </a:lnTo>
                  <a:lnTo>
                    <a:pt x="150098" y="226378"/>
                  </a:lnTo>
                  <a:lnTo>
                    <a:pt x="225027" y="536892"/>
                  </a:lnTo>
                  <a:cubicBezTo>
                    <a:pt x="225027" y="536892"/>
                    <a:pt x="225027" y="613728"/>
                    <a:pt x="193913" y="616267"/>
                  </a:cubicBezTo>
                  <a:cubicBezTo>
                    <a:pt x="162163" y="618172"/>
                    <a:pt x="152638" y="601663"/>
                    <a:pt x="152638" y="601663"/>
                  </a:cubicBezTo>
                  <a:close/>
                </a:path>
              </a:pathLst>
            </a:custGeom>
            <a:solidFill>
              <a:srgbClr val="3E82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6" name="任意多边形: 形状 10005"/>
            <p:cNvSpPr/>
            <p:nvPr/>
          </p:nvSpPr>
          <p:spPr>
            <a:xfrm>
              <a:off x="8356477" y="4465003"/>
              <a:ext cx="469900" cy="831850"/>
            </a:xfrm>
            <a:custGeom>
              <a:avLst/>
              <a:gdLst>
                <a:gd name="connsiteX0" fmla="*/ 460498 w 469900"/>
                <a:gd name="connsiteY0" fmla="*/ 4763 h 831850"/>
                <a:gd name="connsiteX1" fmla="*/ 448433 w 469900"/>
                <a:gd name="connsiteY1" fmla="*/ 127317 h 831850"/>
                <a:gd name="connsiteX2" fmla="*/ 169033 w 469900"/>
                <a:gd name="connsiteY2" fmla="*/ 416242 h 831850"/>
                <a:gd name="connsiteX3" fmla="*/ 80133 w 469900"/>
                <a:gd name="connsiteY3" fmla="*/ 813752 h 831850"/>
                <a:gd name="connsiteX4" fmla="*/ 7743 w 469900"/>
                <a:gd name="connsiteY4" fmla="*/ 808672 h 831850"/>
                <a:gd name="connsiteX5" fmla="*/ 36954 w 469900"/>
                <a:gd name="connsiteY5" fmla="*/ 370522 h 831850"/>
                <a:gd name="connsiteX6" fmla="*/ 210308 w 469900"/>
                <a:gd name="connsiteY6" fmla="*/ 93663 h 831850"/>
                <a:gd name="connsiteX7" fmla="*/ 306829 w 469900"/>
                <a:gd name="connsiteY7" fmla="*/ 23813 h 831850"/>
                <a:gd name="connsiteX8" fmla="*/ 460498 w 469900"/>
                <a:gd name="connsiteY8" fmla="*/ 4763 h 83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9900" h="831850">
                  <a:moveTo>
                    <a:pt x="460498" y="4763"/>
                  </a:moveTo>
                  <a:cubicBezTo>
                    <a:pt x="460498" y="4763"/>
                    <a:pt x="482088" y="77152"/>
                    <a:pt x="448433" y="127317"/>
                  </a:cubicBezTo>
                  <a:cubicBezTo>
                    <a:pt x="414779" y="177482"/>
                    <a:pt x="212213" y="336867"/>
                    <a:pt x="169033" y="416242"/>
                  </a:cubicBezTo>
                  <a:cubicBezTo>
                    <a:pt x="139188" y="471488"/>
                    <a:pt x="80133" y="813752"/>
                    <a:pt x="80133" y="813752"/>
                  </a:cubicBezTo>
                  <a:cubicBezTo>
                    <a:pt x="80133" y="813752"/>
                    <a:pt x="22348" y="854392"/>
                    <a:pt x="7743" y="808672"/>
                  </a:cubicBezTo>
                  <a:cubicBezTo>
                    <a:pt x="-6862" y="762952"/>
                    <a:pt x="36954" y="370522"/>
                    <a:pt x="36954" y="370522"/>
                  </a:cubicBezTo>
                  <a:cubicBezTo>
                    <a:pt x="36954" y="370522"/>
                    <a:pt x="183638" y="122238"/>
                    <a:pt x="210308" y="93663"/>
                  </a:cubicBezTo>
                  <a:cubicBezTo>
                    <a:pt x="236979" y="64452"/>
                    <a:pt x="275079" y="18732"/>
                    <a:pt x="306829" y="23813"/>
                  </a:cubicBezTo>
                  <a:cubicBezTo>
                    <a:pt x="338579" y="28892"/>
                    <a:pt x="460498" y="4763"/>
                    <a:pt x="460498" y="4763"/>
                  </a:cubicBezTo>
                  <a:close/>
                </a:path>
              </a:pathLst>
            </a:custGeom>
            <a:solidFill>
              <a:srgbClr val="6591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7" name="任意多边形: 形状 10006"/>
            <p:cNvSpPr/>
            <p:nvPr/>
          </p:nvSpPr>
          <p:spPr>
            <a:xfrm>
              <a:off x="8227378" y="4307522"/>
              <a:ext cx="527050" cy="336550"/>
            </a:xfrm>
            <a:custGeom>
              <a:avLst/>
              <a:gdLst>
                <a:gd name="connsiteX0" fmla="*/ 168592 w 527050"/>
                <a:gd name="connsiteY0" fmla="*/ 4763 h 336550"/>
                <a:gd name="connsiteX1" fmla="*/ 4763 w 527050"/>
                <a:gd name="connsiteY1" fmla="*/ 118428 h 336550"/>
                <a:gd name="connsiteX2" fmla="*/ 287338 w 527050"/>
                <a:gd name="connsiteY2" fmla="*/ 337503 h 336550"/>
                <a:gd name="connsiteX3" fmla="*/ 528003 w 527050"/>
                <a:gd name="connsiteY3" fmla="*/ 220663 h 3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7050" h="336550">
                  <a:moveTo>
                    <a:pt x="168592" y="4763"/>
                  </a:moveTo>
                  <a:lnTo>
                    <a:pt x="4763" y="118428"/>
                  </a:lnTo>
                  <a:lnTo>
                    <a:pt x="287338" y="337503"/>
                  </a:lnTo>
                  <a:lnTo>
                    <a:pt x="528003" y="2206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8" name="任意多边形: 形状 10007"/>
            <p:cNvSpPr/>
            <p:nvPr/>
          </p:nvSpPr>
          <p:spPr>
            <a:xfrm>
              <a:off x="7986713" y="4252913"/>
              <a:ext cx="527050" cy="393700"/>
            </a:xfrm>
            <a:custGeom>
              <a:avLst/>
              <a:gdLst>
                <a:gd name="connsiteX0" fmla="*/ 4763 w 527050"/>
                <a:gd name="connsiteY0" fmla="*/ 4763 h 393700"/>
                <a:gd name="connsiteX1" fmla="*/ 350203 w 527050"/>
                <a:gd name="connsiteY1" fmla="*/ 210503 h 393700"/>
                <a:gd name="connsiteX2" fmla="*/ 528003 w 527050"/>
                <a:gd name="connsiteY2" fmla="*/ 392113 h 393700"/>
                <a:gd name="connsiteX3" fmla="*/ 210503 w 527050"/>
                <a:gd name="connsiteY3" fmla="*/ 227647 h 39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7050" h="393700">
                  <a:moveTo>
                    <a:pt x="4763" y="4763"/>
                  </a:moveTo>
                  <a:lnTo>
                    <a:pt x="350203" y="210503"/>
                  </a:lnTo>
                  <a:lnTo>
                    <a:pt x="528003" y="392113"/>
                  </a:lnTo>
                  <a:lnTo>
                    <a:pt x="210503" y="227647"/>
                  </a:lnTo>
                  <a:close/>
                </a:path>
              </a:pathLst>
            </a:custGeom>
            <a:solidFill>
              <a:srgbClr val="D4DE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9" name="任意多边形: 形状 10008"/>
            <p:cNvSpPr/>
            <p:nvPr/>
          </p:nvSpPr>
          <p:spPr>
            <a:xfrm>
              <a:off x="8372865" y="4086542"/>
              <a:ext cx="177800" cy="361950"/>
            </a:xfrm>
            <a:custGeom>
              <a:avLst/>
              <a:gdLst>
                <a:gd name="connsiteX0" fmla="*/ 107560 w 177800"/>
                <a:gd name="connsiteY0" fmla="*/ 4763 h 361950"/>
                <a:gd name="connsiteX1" fmla="*/ 107560 w 177800"/>
                <a:gd name="connsiteY1" fmla="*/ 137478 h 361950"/>
                <a:gd name="connsiteX2" fmla="*/ 57395 w 177800"/>
                <a:gd name="connsiteY2" fmla="*/ 259398 h 361950"/>
                <a:gd name="connsiteX3" fmla="*/ 17391 w 177800"/>
                <a:gd name="connsiteY3" fmla="*/ 282892 h 361950"/>
                <a:gd name="connsiteX4" fmla="*/ 9135 w 177800"/>
                <a:gd name="connsiteY4" fmla="*/ 338138 h 361950"/>
                <a:gd name="connsiteX5" fmla="*/ 52316 w 177800"/>
                <a:gd name="connsiteY5" fmla="*/ 359092 h 361950"/>
                <a:gd name="connsiteX6" fmla="*/ 75810 w 177800"/>
                <a:gd name="connsiteY6" fmla="*/ 307658 h 361950"/>
                <a:gd name="connsiteX7" fmla="*/ 103116 w 177800"/>
                <a:gd name="connsiteY7" fmla="*/ 323533 h 361950"/>
                <a:gd name="connsiteX8" fmla="*/ 100575 w 177800"/>
                <a:gd name="connsiteY8" fmla="*/ 276542 h 361950"/>
                <a:gd name="connsiteX9" fmla="*/ 147566 w 177800"/>
                <a:gd name="connsiteY9" fmla="*/ 201613 h 361950"/>
                <a:gd name="connsiteX10" fmla="*/ 176775 w 177800"/>
                <a:gd name="connsiteY10" fmla="*/ 35878 h 361950"/>
                <a:gd name="connsiteX11" fmla="*/ 107560 w 177800"/>
                <a:gd name="connsiteY11" fmla="*/ 4763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7800" h="361950">
                  <a:moveTo>
                    <a:pt x="107560" y="4763"/>
                  </a:moveTo>
                  <a:cubicBezTo>
                    <a:pt x="107560" y="4763"/>
                    <a:pt x="121530" y="88583"/>
                    <a:pt x="107560" y="137478"/>
                  </a:cubicBezTo>
                  <a:cubicBezTo>
                    <a:pt x="98035" y="169863"/>
                    <a:pt x="72000" y="249238"/>
                    <a:pt x="57395" y="259398"/>
                  </a:cubicBezTo>
                  <a:cubicBezTo>
                    <a:pt x="50410" y="264478"/>
                    <a:pt x="33266" y="263842"/>
                    <a:pt x="17391" y="282892"/>
                  </a:cubicBezTo>
                  <a:cubicBezTo>
                    <a:pt x="4691" y="297498"/>
                    <a:pt x="880" y="324167"/>
                    <a:pt x="9135" y="338138"/>
                  </a:cubicBezTo>
                  <a:cubicBezTo>
                    <a:pt x="16755" y="352742"/>
                    <a:pt x="40885" y="367348"/>
                    <a:pt x="52316" y="359092"/>
                  </a:cubicBezTo>
                  <a:cubicBezTo>
                    <a:pt x="63745" y="350838"/>
                    <a:pt x="65650" y="298767"/>
                    <a:pt x="75810" y="307658"/>
                  </a:cubicBezTo>
                  <a:cubicBezTo>
                    <a:pt x="86605" y="316548"/>
                    <a:pt x="92955" y="333692"/>
                    <a:pt x="103116" y="323533"/>
                  </a:cubicBezTo>
                  <a:cubicBezTo>
                    <a:pt x="103116" y="323533"/>
                    <a:pt x="91050" y="290513"/>
                    <a:pt x="100575" y="276542"/>
                  </a:cubicBezTo>
                  <a:cubicBezTo>
                    <a:pt x="109466" y="261938"/>
                    <a:pt x="147566" y="201613"/>
                    <a:pt x="147566" y="201613"/>
                  </a:cubicBezTo>
                  <a:lnTo>
                    <a:pt x="176775" y="35878"/>
                  </a:lnTo>
                  <a:lnTo>
                    <a:pt x="107560" y="4763"/>
                  </a:lnTo>
                  <a:close/>
                </a:path>
              </a:pathLst>
            </a:custGeom>
            <a:solidFill>
              <a:srgbClr val="F7AF9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0" name="任意多边形: 形状 10009"/>
            <p:cNvSpPr/>
            <p:nvPr/>
          </p:nvSpPr>
          <p:spPr>
            <a:xfrm>
              <a:off x="8471218" y="3825942"/>
              <a:ext cx="406400" cy="692150"/>
            </a:xfrm>
            <a:custGeom>
              <a:avLst/>
              <a:gdLst>
                <a:gd name="connsiteX0" fmla="*/ 360997 w 406400"/>
                <a:gd name="connsiteY0" fmla="*/ 93913 h 692150"/>
                <a:gd name="connsiteX1" fmla="*/ 192088 w 406400"/>
                <a:gd name="connsiteY1" fmla="*/ 8188 h 692150"/>
                <a:gd name="connsiteX2" fmla="*/ 39052 w 406400"/>
                <a:gd name="connsiteY2" fmla="*/ 30413 h 692150"/>
                <a:gd name="connsiteX3" fmla="*/ 4763 w 406400"/>
                <a:gd name="connsiteY3" fmla="*/ 180273 h 692150"/>
                <a:gd name="connsiteX4" fmla="*/ 56197 w 406400"/>
                <a:gd name="connsiteY4" fmla="*/ 294573 h 692150"/>
                <a:gd name="connsiteX5" fmla="*/ 40322 w 406400"/>
                <a:gd name="connsiteY5" fmla="*/ 556192 h 692150"/>
                <a:gd name="connsiteX6" fmla="*/ 262572 w 406400"/>
                <a:gd name="connsiteY6" fmla="*/ 689542 h 692150"/>
                <a:gd name="connsiteX7" fmla="*/ 363538 w 406400"/>
                <a:gd name="connsiteY7" fmla="*/ 642553 h 692150"/>
                <a:gd name="connsiteX8" fmla="*/ 407352 w 406400"/>
                <a:gd name="connsiteY8" fmla="*/ 454592 h 692150"/>
                <a:gd name="connsiteX9" fmla="*/ 360997 w 406400"/>
                <a:gd name="connsiteY9" fmla="*/ 93913 h 69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6400" h="692150">
                  <a:moveTo>
                    <a:pt x="360997" y="93913"/>
                  </a:moveTo>
                  <a:cubicBezTo>
                    <a:pt x="360997" y="93913"/>
                    <a:pt x="278447" y="22792"/>
                    <a:pt x="192088" y="8188"/>
                  </a:cubicBezTo>
                  <a:cubicBezTo>
                    <a:pt x="105727" y="-6417"/>
                    <a:pt x="39052" y="30413"/>
                    <a:pt x="39052" y="30413"/>
                  </a:cubicBezTo>
                  <a:lnTo>
                    <a:pt x="4763" y="180273"/>
                  </a:lnTo>
                  <a:lnTo>
                    <a:pt x="56197" y="294573"/>
                  </a:lnTo>
                  <a:cubicBezTo>
                    <a:pt x="56197" y="294573"/>
                    <a:pt x="56197" y="537142"/>
                    <a:pt x="40322" y="556192"/>
                  </a:cubicBezTo>
                  <a:lnTo>
                    <a:pt x="262572" y="689542"/>
                  </a:lnTo>
                  <a:cubicBezTo>
                    <a:pt x="262572" y="689542"/>
                    <a:pt x="340677" y="690178"/>
                    <a:pt x="363538" y="642553"/>
                  </a:cubicBezTo>
                  <a:cubicBezTo>
                    <a:pt x="386397" y="594928"/>
                    <a:pt x="409257" y="495233"/>
                    <a:pt x="407352" y="454592"/>
                  </a:cubicBezTo>
                  <a:cubicBezTo>
                    <a:pt x="405447" y="413953"/>
                    <a:pt x="360997" y="93913"/>
                    <a:pt x="360997" y="93913"/>
                  </a:cubicBezTo>
                  <a:close/>
                </a:path>
              </a:pathLst>
            </a:custGeom>
            <a:solidFill>
              <a:srgbClr val="54559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1" name="任意多边形: 形状 10010"/>
            <p:cNvSpPr/>
            <p:nvPr/>
          </p:nvSpPr>
          <p:spPr>
            <a:xfrm>
              <a:off x="8463950" y="3832542"/>
              <a:ext cx="63500" cy="292100"/>
            </a:xfrm>
            <a:custGeom>
              <a:avLst/>
              <a:gdLst>
                <a:gd name="connsiteX0" fmla="*/ 59019 w 63500"/>
                <a:gd name="connsiteY0" fmla="*/ 4763 h 292100"/>
                <a:gd name="connsiteX1" fmla="*/ 10125 w 63500"/>
                <a:gd name="connsiteY1" fmla="*/ 85408 h 292100"/>
                <a:gd name="connsiteX2" fmla="*/ 10125 w 63500"/>
                <a:gd name="connsiteY2" fmla="*/ 266383 h 292100"/>
                <a:gd name="connsiteX3" fmla="*/ 64735 w 63500"/>
                <a:gd name="connsiteY3" fmla="*/ 287338 h 292100"/>
                <a:gd name="connsiteX4" fmla="*/ 39969 w 63500"/>
                <a:gd name="connsiteY4" fmla="*/ 72708 h 292100"/>
                <a:gd name="connsiteX5" fmla="*/ 59019 w 63500"/>
                <a:gd name="connsiteY5" fmla="*/ 4763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00" h="292100">
                  <a:moveTo>
                    <a:pt x="59019" y="4763"/>
                  </a:moveTo>
                  <a:cubicBezTo>
                    <a:pt x="59019" y="4763"/>
                    <a:pt x="22190" y="4763"/>
                    <a:pt x="10125" y="85408"/>
                  </a:cubicBezTo>
                  <a:cubicBezTo>
                    <a:pt x="-1940" y="166053"/>
                    <a:pt x="10125" y="266383"/>
                    <a:pt x="10125" y="266383"/>
                  </a:cubicBezTo>
                  <a:lnTo>
                    <a:pt x="64735" y="287338"/>
                  </a:lnTo>
                  <a:cubicBezTo>
                    <a:pt x="64735" y="287338"/>
                    <a:pt x="26000" y="104458"/>
                    <a:pt x="39969" y="72708"/>
                  </a:cubicBezTo>
                  <a:cubicBezTo>
                    <a:pt x="53940" y="41592"/>
                    <a:pt x="59019" y="4763"/>
                    <a:pt x="59019" y="4763"/>
                  </a:cubicBezTo>
                  <a:close/>
                </a:path>
              </a:pathLst>
            </a:custGeom>
            <a:solidFill>
              <a:srgbClr val="3F427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2" name="任意多边形: 形状 10011"/>
            <p:cNvSpPr/>
            <p:nvPr/>
          </p:nvSpPr>
          <p:spPr>
            <a:xfrm>
              <a:off x="8428038" y="3612833"/>
              <a:ext cx="266700" cy="342900"/>
            </a:xfrm>
            <a:custGeom>
              <a:avLst/>
              <a:gdLst>
                <a:gd name="connsiteX0" fmla="*/ 4763 w 266700"/>
                <a:gd name="connsiteY0" fmla="*/ 83502 h 342900"/>
                <a:gd name="connsiteX1" fmla="*/ 96838 w 266700"/>
                <a:gd name="connsiteY1" fmla="*/ 246697 h 342900"/>
                <a:gd name="connsiteX2" fmla="*/ 154622 w 266700"/>
                <a:gd name="connsiteY2" fmla="*/ 227013 h 342900"/>
                <a:gd name="connsiteX3" fmla="*/ 148272 w 266700"/>
                <a:gd name="connsiteY3" fmla="*/ 280988 h 342900"/>
                <a:gd name="connsiteX4" fmla="*/ 187643 w 266700"/>
                <a:gd name="connsiteY4" fmla="*/ 340042 h 342900"/>
                <a:gd name="connsiteX5" fmla="*/ 263843 w 266700"/>
                <a:gd name="connsiteY5" fmla="*/ 282258 h 342900"/>
                <a:gd name="connsiteX6" fmla="*/ 234632 w 266700"/>
                <a:gd name="connsiteY6" fmla="*/ 221933 h 342900"/>
                <a:gd name="connsiteX7" fmla="*/ 218757 w 266700"/>
                <a:gd name="connsiteY7" fmla="*/ 161608 h 342900"/>
                <a:gd name="connsiteX8" fmla="*/ 134303 w 266700"/>
                <a:gd name="connsiteY8" fmla="*/ 4763 h 342900"/>
                <a:gd name="connsiteX9" fmla="*/ 4763 w 266700"/>
                <a:gd name="connsiteY9" fmla="*/ 83502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6700" h="342900">
                  <a:moveTo>
                    <a:pt x="4763" y="83502"/>
                  </a:moveTo>
                  <a:cubicBezTo>
                    <a:pt x="6032" y="87313"/>
                    <a:pt x="56197" y="242888"/>
                    <a:pt x="96838" y="246697"/>
                  </a:cubicBezTo>
                  <a:cubicBezTo>
                    <a:pt x="137478" y="250508"/>
                    <a:pt x="154622" y="227013"/>
                    <a:pt x="154622" y="227013"/>
                  </a:cubicBezTo>
                  <a:cubicBezTo>
                    <a:pt x="154622" y="227013"/>
                    <a:pt x="160972" y="246697"/>
                    <a:pt x="148272" y="280988"/>
                  </a:cubicBezTo>
                  <a:cubicBezTo>
                    <a:pt x="134938" y="315277"/>
                    <a:pt x="159068" y="341313"/>
                    <a:pt x="187643" y="340042"/>
                  </a:cubicBezTo>
                  <a:cubicBezTo>
                    <a:pt x="216853" y="338772"/>
                    <a:pt x="254953" y="322897"/>
                    <a:pt x="263843" y="282258"/>
                  </a:cubicBezTo>
                  <a:cubicBezTo>
                    <a:pt x="273368" y="241617"/>
                    <a:pt x="246697" y="228283"/>
                    <a:pt x="234632" y="221933"/>
                  </a:cubicBezTo>
                  <a:cubicBezTo>
                    <a:pt x="222568" y="215583"/>
                    <a:pt x="214947" y="214313"/>
                    <a:pt x="218757" y="161608"/>
                  </a:cubicBezTo>
                  <a:cubicBezTo>
                    <a:pt x="222568" y="108902"/>
                    <a:pt x="134303" y="4763"/>
                    <a:pt x="134303" y="4763"/>
                  </a:cubicBezTo>
                  <a:lnTo>
                    <a:pt x="4763" y="83502"/>
                  </a:lnTo>
                  <a:close/>
                </a:path>
              </a:pathLst>
            </a:custGeom>
            <a:solidFill>
              <a:srgbClr val="F7AF9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3" name="任意多边形: 形状 10012"/>
            <p:cNvSpPr/>
            <p:nvPr/>
          </p:nvSpPr>
          <p:spPr>
            <a:xfrm>
              <a:off x="8372157" y="3540827"/>
              <a:ext cx="298450" cy="260350"/>
            </a:xfrm>
            <a:custGeom>
              <a:avLst/>
              <a:gdLst>
                <a:gd name="connsiteX0" fmla="*/ 4763 w 298450"/>
                <a:gd name="connsiteY0" fmla="*/ 97088 h 260350"/>
                <a:gd name="connsiteX1" fmla="*/ 70803 w 298450"/>
                <a:gd name="connsiteY1" fmla="*/ 175828 h 260350"/>
                <a:gd name="connsiteX2" fmla="*/ 192723 w 298450"/>
                <a:gd name="connsiteY2" fmla="*/ 155508 h 260350"/>
                <a:gd name="connsiteX3" fmla="*/ 220663 w 298450"/>
                <a:gd name="connsiteY3" fmla="*/ 193608 h 260350"/>
                <a:gd name="connsiteX4" fmla="*/ 258763 w 298450"/>
                <a:gd name="connsiteY4" fmla="*/ 188528 h 260350"/>
                <a:gd name="connsiteX5" fmla="*/ 248603 w 298450"/>
                <a:gd name="connsiteY5" fmla="*/ 244408 h 260350"/>
                <a:gd name="connsiteX6" fmla="*/ 291783 w 298450"/>
                <a:gd name="connsiteY6" fmla="*/ 254568 h 260350"/>
                <a:gd name="connsiteX7" fmla="*/ 291783 w 298450"/>
                <a:gd name="connsiteY7" fmla="*/ 86293 h 260350"/>
                <a:gd name="connsiteX8" fmla="*/ 213043 w 298450"/>
                <a:gd name="connsiteY8" fmla="*/ 55813 h 260350"/>
                <a:gd name="connsiteX9" fmla="*/ 131763 w 298450"/>
                <a:gd name="connsiteY9" fmla="*/ 15173 h 260350"/>
                <a:gd name="connsiteX10" fmla="*/ 4763 w 298450"/>
                <a:gd name="connsiteY10" fmla="*/ 97088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450" h="260350">
                  <a:moveTo>
                    <a:pt x="4763" y="97088"/>
                  </a:moveTo>
                  <a:cubicBezTo>
                    <a:pt x="4763" y="97088"/>
                    <a:pt x="17463" y="193608"/>
                    <a:pt x="70803" y="175828"/>
                  </a:cubicBezTo>
                  <a:cubicBezTo>
                    <a:pt x="124143" y="158048"/>
                    <a:pt x="164783" y="117408"/>
                    <a:pt x="192723" y="155508"/>
                  </a:cubicBezTo>
                  <a:cubicBezTo>
                    <a:pt x="220663" y="193608"/>
                    <a:pt x="220663" y="193608"/>
                    <a:pt x="220663" y="193608"/>
                  </a:cubicBezTo>
                  <a:cubicBezTo>
                    <a:pt x="220663" y="193608"/>
                    <a:pt x="251143" y="165668"/>
                    <a:pt x="258763" y="188528"/>
                  </a:cubicBezTo>
                  <a:cubicBezTo>
                    <a:pt x="266383" y="211388"/>
                    <a:pt x="240983" y="229168"/>
                    <a:pt x="248603" y="244408"/>
                  </a:cubicBezTo>
                  <a:cubicBezTo>
                    <a:pt x="256223" y="259648"/>
                    <a:pt x="279083" y="267268"/>
                    <a:pt x="291783" y="254568"/>
                  </a:cubicBezTo>
                  <a:cubicBezTo>
                    <a:pt x="304483" y="241868"/>
                    <a:pt x="291783" y="116773"/>
                    <a:pt x="291783" y="86293"/>
                  </a:cubicBezTo>
                  <a:cubicBezTo>
                    <a:pt x="291783" y="55813"/>
                    <a:pt x="243523" y="32953"/>
                    <a:pt x="213043" y="55813"/>
                  </a:cubicBezTo>
                  <a:cubicBezTo>
                    <a:pt x="213043" y="55813"/>
                    <a:pt x="213043" y="-22927"/>
                    <a:pt x="131763" y="15173"/>
                  </a:cubicBezTo>
                  <a:cubicBezTo>
                    <a:pt x="50483" y="53273"/>
                    <a:pt x="42863" y="107883"/>
                    <a:pt x="4763" y="97088"/>
                  </a:cubicBezTo>
                  <a:close/>
                </a:path>
              </a:pathLst>
            </a:custGeom>
            <a:solidFill>
              <a:srgbClr val="AE5A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4" name="任意多边形: 形状 10013"/>
            <p:cNvSpPr/>
            <p:nvPr/>
          </p:nvSpPr>
          <p:spPr>
            <a:xfrm>
              <a:off x="8474537" y="4137342"/>
              <a:ext cx="438150" cy="374650"/>
            </a:xfrm>
            <a:custGeom>
              <a:avLst/>
              <a:gdLst>
                <a:gd name="connsiteX0" fmla="*/ 319578 w 438150"/>
                <a:gd name="connsiteY0" fmla="*/ 45403 h 374650"/>
                <a:gd name="connsiteX1" fmla="*/ 344978 w 438150"/>
                <a:gd name="connsiteY1" fmla="*/ 132398 h 374650"/>
                <a:gd name="connsiteX2" fmla="*/ 104313 w 438150"/>
                <a:gd name="connsiteY2" fmla="*/ 292417 h 374650"/>
                <a:gd name="connsiteX3" fmla="*/ 25573 w 438150"/>
                <a:gd name="connsiteY3" fmla="*/ 307658 h 374650"/>
                <a:gd name="connsiteX4" fmla="*/ 15413 w 438150"/>
                <a:gd name="connsiteY4" fmla="*/ 367348 h 374650"/>
                <a:gd name="connsiteX5" fmla="*/ 77644 w 438150"/>
                <a:gd name="connsiteY5" fmla="*/ 357188 h 374650"/>
                <a:gd name="connsiteX6" fmla="*/ 136063 w 438150"/>
                <a:gd name="connsiteY6" fmla="*/ 320992 h 374650"/>
                <a:gd name="connsiteX7" fmla="*/ 431338 w 438150"/>
                <a:gd name="connsiteY7" fmla="*/ 164783 h 374650"/>
                <a:gd name="connsiteX8" fmla="*/ 432608 w 438150"/>
                <a:gd name="connsiteY8" fmla="*/ 4763 h 374650"/>
                <a:gd name="connsiteX9" fmla="*/ 319578 w 438150"/>
                <a:gd name="connsiteY9" fmla="*/ 45403 h 37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150" h="374650">
                  <a:moveTo>
                    <a:pt x="319578" y="45403"/>
                  </a:moveTo>
                  <a:cubicBezTo>
                    <a:pt x="319578" y="45403"/>
                    <a:pt x="338628" y="123508"/>
                    <a:pt x="344978" y="132398"/>
                  </a:cubicBezTo>
                  <a:cubicBezTo>
                    <a:pt x="344978" y="132398"/>
                    <a:pt x="217344" y="253048"/>
                    <a:pt x="104313" y="292417"/>
                  </a:cubicBezTo>
                  <a:cubicBezTo>
                    <a:pt x="104313" y="292417"/>
                    <a:pt x="55419" y="286067"/>
                    <a:pt x="25573" y="307658"/>
                  </a:cubicBezTo>
                  <a:cubicBezTo>
                    <a:pt x="-4272" y="329883"/>
                    <a:pt x="3348" y="361633"/>
                    <a:pt x="15413" y="367348"/>
                  </a:cubicBezTo>
                  <a:cubicBezTo>
                    <a:pt x="26844" y="372428"/>
                    <a:pt x="42719" y="385128"/>
                    <a:pt x="77644" y="357188"/>
                  </a:cubicBezTo>
                  <a:cubicBezTo>
                    <a:pt x="112569" y="328613"/>
                    <a:pt x="104313" y="331788"/>
                    <a:pt x="136063" y="320992"/>
                  </a:cubicBezTo>
                  <a:cubicBezTo>
                    <a:pt x="153208" y="315278"/>
                    <a:pt x="413558" y="244792"/>
                    <a:pt x="431338" y="164783"/>
                  </a:cubicBezTo>
                  <a:cubicBezTo>
                    <a:pt x="449119" y="84773"/>
                    <a:pt x="432608" y="4763"/>
                    <a:pt x="432608" y="4763"/>
                  </a:cubicBezTo>
                  <a:lnTo>
                    <a:pt x="319578" y="45403"/>
                  </a:lnTo>
                  <a:close/>
                </a:path>
              </a:pathLst>
            </a:custGeom>
            <a:solidFill>
              <a:srgbClr val="F7AF9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5" name="任意多边形: 形状 10014"/>
            <p:cNvSpPr/>
            <p:nvPr/>
          </p:nvSpPr>
          <p:spPr>
            <a:xfrm>
              <a:off x="8752646" y="3901122"/>
              <a:ext cx="158750" cy="285750"/>
            </a:xfrm>
            <a:custGeom>
              <a:avLst/>
              <a:gdLst>
                <a:gd name="connsiteX0" fmla="*/ 42739 w 158750"/>
                <a:gd name="connsiteY0" fmla="*/ 4763 h 285750"/>
                <a:gd name="connsiteX1" fmla="*/ 5909 w 158750"/>
                <a:gd name="connsiteY1" fmla="*/ 178753 h 285750"/>
                <a:gd name="connsiteX2" fmla="*/ 24959 w 158750"/>
                <a:gd name="connsiteY2" fmla="*/ 282258 h 285750"/>
                <a:gd name="connsiteX3" fmla="*/ 160214 w 158750"/>
                <a:gd name="connsiteY3" fmla="*/ 247333 h 285750"/>
                <a:gd name="connsiteX4" fmla="*/ 42739 w 158750"/>
                <a:gd name="connsiteY4" fmla="*/ 4763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750" h="285750">
                  <a:moveTo>
                    <a:pt x="42739" y="4763"/>
                  </a:moveTo>
                  <a:cubicBezTo>
                    <a:pt x="42739" y="4763"/>
                    <a:pt x="-2981" y="87313"/>
                    <a:pt x="5909" y="178753"/>
                  </a:cubicBezTo>
                  <a:cubicBezTo>
                    <a:pt x="14799" y="270193"/>
                    <a:pt x="24959" y="282258"/>
                    <a:pt x="24959" y="282258"/>
                  </a:cubicBezTo>
                  <a:cubicBezTo>
                    <a:pt x="24959" y="282258"/>
                    <a:pt x="118304" y="305118"/>
                    <a:pt x="160214" y="247333"/>
                  </a:cubicBezTo>
                  <a:cubicBezTo>
                    <a:pt x="160214" y="247333"/>
                    <a:pt x="165929" y="17463"/>
                    <a:pt x="42739" y="4763"/>
                  </a:cubicBezTo>
                  <a:close/>
                </a:path>
              </a:pathLst>
            </a:custGeom>
            <a:solidFill>
              <a:srgbClr val="5E63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6" name="任意多边形: 形状 10015"/>
            <p:cNvSpPr/>
            <p:nvPr/>
          </p:nvSpPr>
          <p:spPr>
            <a:xfrm>
              <a:off x="7043103" y="4850447"/>
              <a:ext cx="387350" cy="323850"/>
            </a:xfrm>
            <a:custGeom>
              <a:avLst/>
              <a:gdLst>
                <a:gd name="connsiteX0" fmla="*/ 315278 w 387350"/>
                <a:gd name="connsiteY0" fmla="*/ 258763 h 323850"/>
                <a:gd name="connsiteX1" fmla="*/ 251142 w 387350"/>
                <a:gd name="connsiteY1" fmla="*/ 314643 h 323850"/>
                <a:gd name="connsiteX2" fmla="*/ 101282 w 387350"/>
                <a:gd name="connsiteY2" fmla="*/ 295593 h 323850"/>
                <a:gd name="connsiteX3" fmla="*/ 4763 w 387350"/>
                <a:gd name="connsiteY3" fmla="*/ 28258 h 323850"/>
                <a:gd name="connsiteX4" fmla="*/ 388303 w 387350"/>
                <a:gd name="connsiteY4" fmla="*/ 4763 h 323850"/>
                <a:gd name="connsiteX5" fmla="*/ 315278 w 387350"/>
                <a:gd name="connsiteY5" fmla="*/ 258763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7350" h="323850">
                  <a:moveTo>
                    <a:pt x="315278" y="258763"/>
                  </a:moveTo>
                  <a:cubicBezTo>
                    <a:pt x="315278" y="258763"/>
                    <a:pt x="304482" y="299403"/>
                    <a:pt x="251142" y="314643"/>
                  </a:cubicBezTo>
                  <a:cubicBezTo>
                    <a:pt x="197803" y="329883"/>
                    <a:pt x="112078" y="319088"/>
                    <a:pt x="101282" y="295593"/>
                  </a:cubicBezTo>
                  <a:cubicBezTo>
                    <a:pt x="90488" y="272098"/>
                    <a:pt x="4763" y="28258"/>
                    <a:pt x="4763" y="28258"/>
                  </a:cubicBezTo>
                  <a:lnTo>
                    <a:pt x="388303" y="4763"/>
                  </a:lnTo>
                  <a:lnTo>
                    <a:pt x="315278" y="25876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7" name="任意多边形: 形状 10016"/>
            <p:cNvSpPr/>
            <p:nvPr/>
          </p:nvSpPr>
          <p:spPr>
            <a:xfrm>
              <a:off x="7042670" y="4783982"/>
              <a:ext cx="393700" cy="190500"/>
            </a:xfrm>
            <a:custGeom>
              <a:avLst/>
              <a:gdLst>
                <a:gd name="connsiteX0" fmla="*/ 33136 w 393700"/>
                <a:gd name="connsiteY0" fmla="*/ 31858 h 190500"/>
                <a:gd name="connsiteX1" fmla="*/ 11545 w 393700"/>
                <a:gd name="connsiteY1" fmla="*/ 106788 h 190500"/>
                <a:gd name="connsiteX2" fmla="*/ 208396 w 393700"/>
                <a:gd name="connsiteY2" fmla="*/ 188068 h 190500"/>
                <a:gd name="connsiteX3" fmla="*/ 390640 w 393700"/>
                <a:gd name="connsiteY3" fmla="*/ 83293 h 190500"/>
                <a:gd name="connsiteX4" fmla="*/ 247130 w 393700"/>
                <a:gd name="connsiteY4" fmla="*/ 6458 h 190500"/>
                <a:gd name="connsiteX5" fmla="*/ 33136 w 393700"/>
                <a:gd name="connsiteY5" fmla="*/ 31858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700" h="190500">
                  <a:moveTo>
                    <a:pt x="33136" y="31858"/>
                  </a:moveTo>
                  <a:cubicBezTo>
                    <a:pt x="33136" y="31858"/>
                    <a:pt x="-11950" y="72498"/>
                    <a:pt x="11545" y="106788"/>
                  </a:cubicBezTo>
                  <a:cubicBezTo>
                    <a:pt x="35040" y="141078"/>
                    <a:pt x="129021" y="186163"/>
                    <a:pt x="208396" y="188068"/>
                  </a:cubicBezTo>
                  <a:cubicBezTo>
                    <a:pt x="287771" y="189973"/>
                    <a:pt x="381750" y="128378"/>
                    <a:pt x="390640" y="83293"/>
                  </a:cubicBezTo>
                  <a:cubicBezTo>
                    <a:pt x="398896" y="38208"/>
                    <a:pt x="343650" y="-4337"/>
                    <a:pt x="247130" y="6458"/>
                  </a:cubicBezTo>
                  <a:cubicBezTo>
                    <a:pt x="151246" y="17253"/>
                    <a:pt x="33136" y="31858"/>
                    <a:pt x="33136" y="31858"/>
                  </a:cubicBezTo>
                  <a:close/>
                </a:path>
              </a:pathLst>
            </a:custGeom>
            <a:solidFill>
              <a:srgbClr val="A7BBE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8" name="任意多边形: 形状 10017"/>
            <p:cNvSpPr/>
            <p:nvPr/>
          </p:nvSpPr>
          <p:spPr>
            <a:xfrm>
              <a:off x="6981511" y="3701821"/>
              <a:ext cx="488950" cy="1231900"/>
            </a:xfrm>
            <a:custGeom>
              <a:avLst/>
              <a:gdLst>
                <a:gd name="connsiteX0" fmla="*/ 215579 w 488950"/>
                <a:gd name="connsiteY0" fmla="*/ 614909 h 1231900"/>
                <a:gd name="connsiteX1" fmla="*/ 178749 w 488950"/>
                <a:gd name="connsiteY1" fmla="*/ 321539 h 1231900"/>
                <a:gd name="connsiteX2" fmla="*/ 301939 w 488950"/>
                <a:gd name="connsiteY2" fmla="*/ 21184 h 1231900"/>
                <a:gd name="connsiteX3" fmla="*/ 352104 w 488950"/>
                <a:gd name="connsiteY3" fmla="*/ 411709 h 1231900"/>
                <a:gd name="connsiteX4" fmla="*/ 388934 w 488950"/>
                <a:gd name="connsiteY4" fmla="*/ 578714 h 1231900"/>
                <a:gd name="connsiteX5" fmla="*/ 479104 w 488950"/>
                <a:gd name="connsiteY5" fmla="*/ 605384 h 1231900"/>
                <a:gd name="connsiteX6" fmla="*/ 392109 w 488950"/>
                <a:gd name="connsiteY6" fmla="*/ 879069 h 1231900"/>
                <a:gd name="connsiteX7" fmla="*/ 435289 w 488950"/>
                <a:gd name="connsiteY7" fmla="*/ 935584 h 1231900"/>
                <a:gd name="connsiteX8" fmla="*/ 448624 w 488950"/>
                <a:gd name="connsiteY8" fmla="*/ 1105764 h 1231900"/>
                <a:gd name="connsiteX9" fmla="*/ 178114 w 488950"/>
                <a:gd name="connsiteY9" fmla="*/ 1209269 h 1231900"/>
                <a:gd name="connsiteX10" fmla="*/ 44764 w 488950"/>
                <a:gd name="connsiteY10" fmla="*/ 929234 h 1231900"/>
                <a:gd name="connsiteX11" fmla="*/ 127949 w 488950"/>
                <a:gd name="connsiteY11" fmla="*/ 922249 h 1231900"/>
                <a:gd name="connsiteX12" fmla="*/ 44764 w 488950"/>
                <a:gd name="connsiteY12" fmla="*/ 648564 h 1231900"/>
                <a:gd name="connsiteX13" fmla="*/ 215579 w 488950"/>
                <a:gd name="connsiteY13" fmla="*/ 614909 h 1231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8950" h="1231900">
                  <a:moveTo>
                    <a:pt x="215579" y="614909"/>
                  </a:moveTo>
                  <a:cubicBezTo>
                    <a:pt x="215579" y="614909"/>
                    <a:pt x="181924" y="451714"/>
                    <a:pt x="178749" y="321539"/>
                  </a:cubicBezTo>
                  <a:cubicBezTo>
                    <a:pt x="175574" y="191364"/>
                    <a:pt x="218754" y="-62001"/>
                    <a:pt x="301939" y="21184"/>
                  </a:cubicBezTo>
                  <a:cubicBezTo>
                    <a:pt x="385124" y="104369"/>
                    <a:pt x="362264" y="265024"/>
                    <a:pt x="352104" y="411709"/>
                  </a:cubicBezTo>
                  <a:cubicBezTo>
                    <a:pt x="341944" y="558394"/>
                    <a:pt x="345119" y="588239"/>
                    <a:pt x="388934" y="578714"/>
                  </a:cubicBezTo>
                  <a:cubicBezTo>
                    <a:pt x="432114" y="568554"/>
                    <a:pt x="475929" y="512039"/>
                    <a:pt x="479104" y="605384"/>
                  </a:cubicBezTo>
                  <a:cubicBezTo>
                    <a:pt x="482279" y="698729"/>
                    <a:pt x="462594" y="792074"/>
                    <a:pt x="392109" y="879069"/>
                  </a:cubicBezTo>
                  <a:cubicBezTo>
                    <a:pt x="322259" y="966064"/>
                    <a:pt x="395284" y="929234"/>
                    <a:pt x="435289" y="935584"/>
                  </a:cubicBezTo>
                  <a:cubicBezTo>
                    <a:pt x="475294" y="942569"/>
                    <a:pt x="518474" y="985749"/>
                    <a:pt x="448624" y="1105764"/>
                  </a:cubicBezTo>
                  <a:cubicBezTo>
                    <a:pt x="378774" y="1225779"/>
                    <a:pt x="340039" y="1254989"/>
                    <a:pt x="178114" y="1209269"/>
                  </a:cubicBezTo>
                  <a:cubicBezTo>
                    <a:pt x="10474" y="1161644"/>
                    <a:pt x="-39056" y="935584"/>
                    <a:pt x="44764" y="929234"/>
                  </a:cubicBezTo>
                  <a:cubicBezTo>
                    <a:pt x="127949" y="922249"/>
                    <a:pt x="127949" y="922249"/>
                    <a:pt x="127949" y="922249"/>
                  </a:cubicBezTo>
                  <a:cubicBezTo>
                    <a:pt x="127949" y="922249"/>
                    <a:pt x="14284" y="741909"/>
                    <a:pt x="44764" y="648564"/>
                  </a:cubicBezTo>
                  <a:cubicBezTo>
                    <a:pt x="75244" y="554584"/>
                    <a:pt x="119059" y="517754"/>
                    <a:pt x="215579" y="61490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9" name="任意多边形: 形状 10018"/>
            <p:cNvSpPr/>
            <p:nvPr/>
          </p:nvSpPr>
          <p:spPr>
            <a:xfrm>
              <a:off x="7471093" y="2961958"/>
              <a:ext cx="317500" cy="209550"/>
            </a:xfrm>
            <a:custGeom>
              <a:avLst/>
              <a:gdLst>
                <a:gd name="connsiteX0" fmla="*/ 313372 w 317500"/>
                <a:gd name="connsiteY0" fmla="*/ 4763 h 209550"/>
                <a:gd name="connsiteX1" fmla="*/ 313372 w 317500"/>
                <a:gd name="connsiteY1" fmla="*/ 30163 h 209550"/>
                <a:gd name="connsiteX2" fmla="*/ 4763 w 317500"/>
                <a:gd name="connsiteY2" fmla="*/ 208597 h 209550"/>
                <a:gd name="connsiteX3" fmla="*/ 4763 w 317500"/>
                <a:gd name="connsiteY3" fmla="*/ 18319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0" h="209550">
                  <a:moveTo>
                    <a:pt x="313372" y="4763"/>
                  </a:moveTo>
                  <a:lnTo>
                    <a:pt x="313372" y="30163"/>
                  </a:lnTo>
                  <a:lnTo>
                    <a:pt x="4763" y="208597"/>
                  </a:lnTo>
                  <a:lnTo>
                    <a:pt x="4763" y="18319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0" name="任意多边形: 形状 10019"/>
            <p:cNvSpPr/>
            <p:nvPr/>
          </p:nvSpPr>
          <p:spPr>
            <a:xfrm>
              <a:off x="7470457" y="2663508"/>
              <a:ext cx="317500" cy="361950"/>
            </a:xfrm>
            <a:custGeom>
              <a:avLst/>
              <a:gdLst>
                <a:gd name="connsiteX0" fmla="*/ 313373 w 317500"/>
                <a:gd name="connsiteY0" fmla="*/ 4763 h 361950"/>
                <a:gd name="connsiteX1" fmla="*/ 314008 w 317500"/>
                <a:gd name="connsiteY1" fmla="*/ 181927 h 361950"/>
                <a:gd name="connsiteX2" fmla="*/ 5398 w 317500"/>
                <a:gd name="connsiteY2" fmla="*/ 360363 h 361950"/>
                <a:gd name="connsiteX3" fmla="*/ 4763 w 317500"/>
                <a:gd name="connsiteY3" fmla="*/ 183197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0" h="361950">
                  <a:moveTo>
                    <a:pt x="313373" y="4763"/>
                  </a:moveTo>
                  <a:lnTo>
                    <a:pt x="314008" y="181927"/>
                  </a:lnTo>
                  <a:lnTo>
                    <a:pt x="5398" y="360363"/>
                  </a:lnTo>
                  <a:lnTo>
                    <a:pt x="4763" y="183197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1" name="任意多边形: 形状 10020"/>
            <p:cNvSpPr/>
            <p:nvPr/>
          </p:nvSpPr>
          <p:spPr>
            <a:xfrm>
              <a:off x="7100253" y="2877502"/>
              <a:ext cx="317500" cy="361950"/>
            </a:xfrm>
            <a:custGeom>
              <a:avLst/>
              <a:gdLst>
                <a:gd name="connsiteX0" fmla="*/ 313372 w 317500"/>
                <a:gd name="connsiteY0" fmla="*/ 4763 h 361950"/>
                <a:gd name="connsiteX1" fmla="*/ 314007 w 317500"/>
                <a:gd name="connsiteY1" fmla="*/ 181927 h 361950"/>
                <a:gd name="connsiteX2" fmla="*/ 5397 w 317500"/>
                <a:gd name="connsiteY2" fmla="*/ 359727 h 361950"/>
                <a:gd name="connsiteX3" fmla="*/ 4763 w 317500"/>
                <a:gd name="connsiteY3" fmla="*/ 182563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0" h="361950">
                  <a:moveTo>
                    <a:pt x="313372" y="4763"/>
                  </a:moveTo>
                  <a:lnTo>
                    <a:pt x="314007" y="181927"/>
                  </a:lnTo>
                  <a:lnTo>
                    <a:pt x="5397" y="359727"/>
                  </a:lnTo>
                  <a:lnTo>
                    <a:pt x="4763" y="18256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2" name="任意多边形: 形状 10021"/>
            <p:cNvSpPr/>
            <p:nvPr/>
          </p:nvSpPr>
          <p:spPr>
            <a:xfrm>
              <a:off x="6723697" y="2655888"/>
              <a:ext cx="330200" cy="558800"/>
            </a:xfrm>
            <a:custGeom>
              <a:avLst/>
              <a:gdLst>
                <a:gd name="connsiteX0" fmla="*/ 4763 w 330200"/>
                <a:gd name="connsiteY0" fmla="*/ 189548 h 558800"/>
                <a:gd name="connsiteX1" fmla="*/ 324803 w 330200"/>
                <a:gd name="connsiteY1" fmla="*/ 4763 h 558800"/>
                <a:gd name="connsiteX2" fmla="*/ 326072 w 330200"/>
                <a:gd name="connsiteY2" fmla="*/ 372427 h 558800"/>
                <a:gd name="connsiteX3" fmla="*/ 6033 w 330200"/>
                <a:gd name="connsiteY3" fmla="*/ 557213 h 558800"/>
                <a:gd name="connsiteX4" fmla="*/ 4763 w 330200"/>
                <a:gd name="connsiteY4" fmla="*/ 189548 h 558800"/>
                <a:gd name="connsiteX5" fmla="*/ 206693 w 330200"/>
                <a:gd name="connsiteY5" fmla="*/ 364173 h 558800"/>
                <a:gd name="connsiteX6" fmla="*/ 267018 w 330200"/>
                <a:gd name="connsiteY6" fmla="*/ 329248 h 558800"/>
                <a:gd name="connsiteX7" fmla="*/ 196533 w 330200"/>
                <a:gd name="connsiteY7" fmla="*/ 155892 h 558800"/>
                <a:gd name="connsiteX8" fmla="*/ 133668 w 330200"/>
                <a:gd name="connsiteY8" fmla="*/ 192088 h 558800"/>
                <a:gd name="connsiteX9" fmla="*/ 64453 w 330200"/>
                <a:gd name="connsiteY9" fmla="*/ 446723 h 558800"/>
                <a:gd name="connsiteX10" fmla="*/ 123508 w 330200"/>
                <a:gd name="connsiteY10" fmla="*/ 412433 h 558800"/>
                <a:gd name="connsiteX11" fmla="*/ 132397 w 330200"/>
                <a:gd name="connsiteY11" fmla="*/ 371792 h 558800"/>
                <a:gd name="connsiteX12" fmla="*/ 197803 w 330200"/>
                <a:gd name="connsiteY12" fmla="*/ 334327 h 558800"/>
                <a:gd name="connsiteX13" fmla="*/ 206693 w 330200"/>
                <a:gd name="connsiteY13" fmla="*/ 364173 h 55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0200" h="558800">
                  <a:moveTo>
                    <a:pt x="4763" y="189548"/>
                  </a:moveTo>
                  <a:lnTo>
                    <a:pt x="324803" y="4763"/>
                  </a:lnTo>
                  <a:lnTo>
                    <a:pt x="326072" y="372427"/>
                  </a:lnTo>
                  <a:lnTo>
                    <a:pt x="6033" y="557213"/>
                  </a:lnTo>
                  <a:lnTo>
                    <a:pt x="4763" y="189548"/>
                  </a:lnTo>
                  <a:close/>
                  <a:moveTo>
                    <a:pt x="206693" y="364173"/>
                  </a:moveTo>
                  <a:lnTo>
                    <a:pt x="267018" y="329248"/>
                  </a:lnTo>
                  <a:lnTo>
                    <a:pt x="196533" y="155892"/>
                  </a:lnTo>
                  <a:lnTo>
                    <a:pt x="133668" y="192088"/>
                  </a:lnTo>
                  <a:lnTo>
                    <a:pt x="64453" y="446723"/>
                  </a:lnTo>
                  <a:lnTo>
                    <a:pt x="123508" y="412433"/>
                  </a:lnTo>
                  <a:lnTo>
                    <a:pt x="132397" y="371792"/>
                  </a:lnTo>
                  <a:lnTo>
                    <a:pt x="197803" y="334327"/>
                  </a:lnTo>
                  <a:lnTo>
                    <a:pt x="206693" y="364173"/>
                  </a:lnTo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3" name="任意多边形: 形状 10022"/>
            <p:cNvSpPr/>
            <p:nvPr/>
          </p:nvSpPr>
          <p:spPr>
            <a:xfrm>
              <a:off x="6862763" y="2880677"/>
              <a:ext cx="50800" cy="95250"/>
            </a:xfrm>
            <a:custGeom>
              <a:avLst/>
              <a:gdLst>
                <a:gd name="connsiteX0" fmla="*/ 4763 w 50800"/>
                <a:gd name="connsiteY0" fmla="*/ 93663 h 95250"/>
                <a:gd name="connsiteX1" fmla="*/ 25082 w 50800"/>
                <a:gd name="connsiteY1" fmla="*/ 4763 h 95250"/>
                <a:gd name="connsiteX2" fmla="*/ 46038 w 50800"/>
                <a:gd name="connsiteY2" fmla="*/ 7016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800" h="95250">
                  <a:moveTo>
                    <a:pt x="4763" y="93663"/>
                  </a:moveTo>
                  <a:lnTo>
                    <a:pt x="25082" y="4763"/>
                  </a:lnTo>
                  <a:lnTo>
                    <a:pt x="46038" y="70168"/>
                  </a:lnTo>
                  <a:close/>
                </a:path>
              </a:pathLst>
            </a:custGeom>
            <a:solidFill>
              <a:srgbClr val="B5CE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4" name="任意多边形: 形状 10023"/>
            <p:cNvSpPr/>
            <p:nvPr/>
          </p:nvSpPr>
          <p:spPr>
            <a:xfrm>
              <a:off x="6526840" y="2078592"/>
              <a:ext cx="1435100" cy="1739900"/>
            </a:xfrm>
            <a:custGeom>
              <a:avLst/>
              <a:gdLst>
                <a:gd name="connsiteX0" fmla="*/ 1430979 w 1435100"/>
                <a:gd name="connsiteY0" fmla="*/ 850663 h 1739900"/>
                <a:gd name="connsiteX1" fmla="*/ 1430979 w 1435100"/>
                <a:gd name="connsiteY1" fmla="*/ 817643 h 1739900"/>
                <a:gd name="connsiteX2" fmla="*/ 1429075 w 1435100"/>
                <a:gd name="connsiteY2" fmla="*/ 72153 h 1739900"/>
                <a:gd name="connsiteX3" fmla="*/ 1333825 w 1435100"/>
                <a:gd name="connsiteY3" fmla="*/ 17543 h 1739900"/>
                <a:gd name="connsiteX4" fmla="*/ 99385 w 1435100"/>
                <a:gd name="connsiteY4" fmla="*/ 730648 h 1739900"/>
                <a:gd name="connsiteX5" fmla="*/ 4769 w 1435100"/>
                <a:gd name="connsiteY5" fmla="*/ 895113 h 1739900"/>
                <a:gd name="connsiteX6" fmla="*/ 6675 w 1435100"/>
                <a:gd name="connsiteY6" fmla="*/ 1673624 h 1739900"/>
                <a:gd name="connsiteX7" fmla="*/ 101925 w 1435100"/>
                <a:gd name="connsiteY7" fmla="*/ 1728233 h 1739900"/>
                <a:gd name="connsiteX8" fmla="*/ 1332554 w 1435100"/>
                <a:gd name="connsiteY8" fmla="*/ 1017668 h 1739900"/>
                <a:gd name="connsiteX9" fmla="*/ 1432250 w 1435100"/>
                <a:gd name="connsiteY9" fmla="*/ 1074183 h 1739900"/>
                <a:gd name="connsiteX10" fmla="*/ 1430979 w 1435100"/>
                <a:gd name="connsiteY10" fmla="*/ 850663 h 1739900"/>
                <a:gd name="connsiteX11" fmla="*/ 208604 w 1435100"/>
                <a:gd name="connsiteY11" fmla="*/ 1195468 h 1739900"/>
                <a:gd name="connsiteX12" fmla="*/ 517215 w 1435100"/>
                <a:gd name="connsiteY12" fmla="*/ 1017668 h 1739900"/>
                <a:gd name="connsiteX13" fmla="*/ 517850 w 1435100"/>
                <a:gd name="connsiteY13" fmla="*/ 1194833 h 1739900"/>
                <a:gd name="connsiteX14" fmla="*/ 209240 w 1435100"/>
                <a:gd name="connsiteY14" fmla="*/ 1372633 h 1739900"/>
                <a:gd name="connsiteX15" fmla="*/ 208604 w 1435100"/>
                <a:gd name="connsiteY15" fmla="*/ 1195468 h 1739900"/>
                <a:gd name="connsiteX16" fmla="*/ 209875 w 1435100"/>
                <a:gd name="connsiteY16" fmla="*/ 1569483 h 1739900"/>
                <a:gd name="connsiteX17" fmla="*/ 209875 w 1435100"/>
                <a:gd name="connsiteY17" fmla="*/ 1544083 h 1739900"/>
                <a:gd name="connsiteX18" fmla="*/ 364179 w 1435100"/>
                <a:gd name="connsiteY18" fmla="*/ 1455183 h 1739900"/>
                <a:gd name="connsiteX19" fmla="*/ 364179 w 1435100"/>
                <a:gd name="connsiteY19" fmla="*/ 1480583 h 1739900"/>
                <a:gd name="connsiteX20" fmla="*/ 209875 w 1435100"/>
                <a:gd name="connsiteY20" fmla="*/ 1569483 h 1739900"/>
                <a:gd name="connsiteX21" fmla="*/ 209240 w 1435100"/>
                <a:gd name="connsiteY21" fmla="*/ 1519318 h 1739900"/>
                <a:gd name="connsiteX22" fmla="*/ 209240 w 1435100"/>
                <a:gd name="connsiteY22" fmla="*/ 1493918 h 1739900"/>
                <a:gd name="connsiteX23" fmla="*/ 517850 w 1435100"/>
                <a:gd name="connsiteY23" fmla="*/ 1316118 h 1739900"/>
                <a:gd name="connsiteX24" fmla="*/ 517850 w 1435100"/>
                <a:gd name="connsiteY24" fmla="*/ 1341518 h 1739900"/>
                <a:gd name="connsiteX25" fmla="*/ 209240 w 1435100"/>
                <a:gd name="connsiteY25" fmla="*/ 1519318 h 1739900"/>
                <a:gd name="connsiteX26" fmla="*/ 202254 w 1435100"/>
                <a:gd name="connsiteY26" fmla="*/ 1134508 h 1739900"/>
                <a:gd name="connsiteX27" fmla="*/ 200985 w 1435100"/>
                <a:gd name="connsiteY27" fmla="*/ 766843 h 1739900"/>
                <a:gd name="connsiteX28" fmla="*/ 521660 w 1435100"/>
                <a:gd name="connsiteY28" fmla="*/ 582058 h 1739900"/>
                <a:gd name="connsiteX29" fmla="*/ 522929 w 1435100"/>
                <a:gd name="connsiteY29" fmla="*/ 949723 h 1739900"/>
                <a:gd name="connsiteX30" fmla="*/ 202254 w 1435100"/>
                <a:gd name="connsiteY30" fmla="*/ 1134508 h 1739900"/>
                <a:gd name="connsiteX31" fmla="*/ 577540 w 1435100"/>
                <a:gd name="connsiteY31" fmla="*/ 606823 h 1739900"/>
                <a:gd name="connsiteX32" fmla="*/ 1255719 w 1435100"/>
                <a:gd name="connsiteY32" fmla="*/ 215028 h 1739900"/>
                <a:gd name="connsiteX33" fmla="*/ 1255719 w 1435100"/>
                <a:gd name="connsiteY33" fmla="*/ 240428 h 1739900"/>
                <a:gd name="connsiteX34" fmla="*/ 577540 w 1435100"/>
                <a:gd name="connsiteY34" fmla="*/ 632223 h 1739900"/>
                <a:gd name="connsiteX35" fmla="*/ 577540 w 1435100"/>
                <a:gd name="connsiteY35" fmla="*/ 606823 h 1739900"/>
                <a:gd name="connsiteX36" fmla="*/ 577540 w 1435100"/>
                <a:gd name="connsiteY36" fmla="*/ 657623 h 1739900"/>
                <a:gd name="connsiteX37" fmla="*/ 1255719 w 1435100"/>
                <a:gd name="connsiteY37" fmla="*/ 265828 h 1739900"/>
                <a:gd name="connsiteX38" fmla="*/ 1255719 w 1435100"/>
                <a:gd name="connsiteY38" fmla="*/ 291228 h 1739900"/>
                <a:gd name="connsiteX39" fmla="*/ 577540 w 1435100"/>
                <a:gd name="connsiteY39" fmla="*/ 683023 h 1739900"/>
                <a:gd name="connsiteX40" fmla="*/ 577540 w 1435100"/>
                <a:gd name="connsiteY40" fmla="*/ 657623 h 1739900"/>
                <a:gd name="connsiteX41" fmla="*/ 578175 w 1435100"/>
                <a:gd name="connsiteY41" fmla="*/ 981473 h 1739900"/>
                <a:gd name="connsiteX42" fmla="*/ 886785 w 1435100"/>
                <a:gd name="connsiteY42" fmla="*/ 803673 h 1739900"/>
                <a:gd name="connsiteX43" fmla="*/ 887419 w 1435100"/>
                <a:gd name="connsiteY43" fmla="*/ 980838 h 1739900"/>
                <a:gd name="connsiteX44" fmla="*/ 578810 w 1435100"/>
                <a:gd name="connsiteY44" fmla="*/ 1158638 h 1739900"/>
                <a:gd name="connsiteX45" fmla="*/ 578175 w 1435100"/>
                <a:gd name="connsiteY45" fmla="*/ 981473 h 1739900"/>
                <a:gd name="connsiteX46" fmla="*/ 579444 w 1435100"/>
                <a:gd name="connsiteY46" fmla="*/ 1229758 h 1739900"/>
                <a:gd name="connsiteX47" fmla="*/ 888054 w 1435100"/>
                <a:gd name="connsiteY47" fmla="*/ 1051958 h 1739900"/>
                <a:gd name="connsiteX48" fmla="*/ 888054 w 1435100"/>
                <a:gd name="connsiteY48" fmla="*/ 1077358 h 1739900"/>
                <a:gd name="connsiteX49" fmla="*/ 579444 w 1435100"/>
                <a:gd name="connsiteY49" fmla="*/ 1255158 h 1739900"/>
                <a:gd name="connsiteX50" fmla="*/ 579444 w 1435100"/>
                <a:gd name="connsiteY50" fmla="*/ 1229758 h 1739900"/>
                <a:gd name="connsiteX51" fmla="*/ 579444 w 1435100"/>
                <a:gd name="connsiteY51" fmla="*/ 1356124 h 1739900"/>
                <a:gd name="connsiteX52" fmla="*/ 579444 w 1435100"/>
                <a:gd name="connsiteY52" fmla="*/ 1330724 h 1739900"/>
                <a:gd name="connsiteX53" fmla="*/ 733750 w 1435100"/>
                <a:gd name="connsiteY53" fmla="*/ 1241824 h 1739900"/>
                <a:gd name="connsiteX54" fmla="*/ 733750 w 1435100"/>
                <a:gd name="connsiteY54" fmla="*/ 1267224 h 1739900"/>
                <a:gd name="connsiteX55" fmla="*/ 579444 w 1435100"/>
                <a:gd name="connsiteY55" fmla="*/ 1356124 h 1739900"/>
                <a:gd name="connsiteX56" fmla="*/ 579444 w 1435100"/>
                <a:gd name="connsiteY56" fmla="*/ 1305324 h 1739900"/>
                <a:gd name="connsiteX57" fmla="*/ 579444 w 1435100"/>
                <a:gd name="connsiteY57" fmla="*/ 1279924 h 1739900"/>
                <a:gd name="connsiteX58" fmla="*/ 888054 w 1435100"/>
                <a:gd name="connsiteY58" fmla="*/ 1102123 h 1739900"/>
                <a:gd name="connsiteX59" fmla="*/ 888054 w 1435100"/>
                <a:gd name="connsiteY59" fmla="*/ 1127523 h 1739900"/>
                <a:gd name="connsiteX60" fmla="*/ 579444 w 1435100"/>
                <a:gd name="connsiteY60" fmla="*/ 1305324 h 1739900"/>
                <a:gd name="connsiteX61" fmla="*/ 577540 w 1435100"/>
                <a:gd name="connsiteY61" fmla="*/ 733823 h 1739900"/>
                <a:gd name="connsiteX62" fmla="*/ 577540 w 1435100"/>
                <a:gd name="connsiteY62" fmla="*/ 708423 h 1739900"/>
                <a:gd name="connsiteX63" fmla="*/ 916629 w 1435100"/>
                <a:gd name="connsiteY63" fmla="*/ 512843 h 1739900"/>
                <a:gd name="connsiteX64" fmla="*/ 916629 w 1435100"/>
                <a:gd name="connsiteY64" fmla="*/ 538243 h 1739900"/>
                <a:gd name="connsiteX65" fmla="*/ 577540 w 1435100"/>
                <a:gd name="connsiteY65" fmla="*/ 733823 h 1739900"/>
                <a:gd name="connsiteX66" fmla="*/ 948379 w 1435100"/>
                <a:gd name="connsiteY66" fmla="*/ 768113 h 1739900"/>
                <a:gd name="connsiteX67" fmla="*/ 1256990 w 1435100"/>
                <a:gd name="connsiteY67" fmla="*/ 590313 h 1739900"/>
                <a:gd name="connsiteX68" fmla="*/ 1257625 w 1435100"/>
                <a:gd name="connsiteY68" fmla="*/ 767479 h 1739900"/>
                <a:gd name="connsiteX69" fmla="*/ 949015 w 1435100"/>
                <a:gd name="connsiteY69" fmla="*/ 945279 h 1739900"/>
                <a:gd name="connsiteX70" fmla="*/ 948379 w 1435100"/>
                <a:gd name="connsiteY70" fmla="*/ 768113 h 1739900"/>
                <a:gd name="connsiteX71" fmla="*/ 949015 w 1435100"/>
                <a:gd name="connsiteY71" fmla="*/ 1015763 h 1739900"/>
                <a:gd name="connsiteX72" fmla="*/ 1257625 w 1435100"/>
                <a:gd name="connsiteY72" fmla="*/ 837963 h 1739900"/>
                <a:gd name="connsiteX73" fmla="*/ 1257625 w 1435100"/>
                <a:gd name="connsiteY73" fmla="*/ 863363 h 1739900"/>
                <a:gd name="connsiteX74" fmla="*/ 949015 w 1435100"/>
                <a:gd name="connsiteY74" fmla="*/ 1041163 h 1739900"/>
                <a:gd name="connsiteX75" fmla="*/ 949015 w 1435100"/>
                <a:gd name="connsiteY75" fmla="*/ 1015763 h 1739900"/>
                <a:gd name="connsiteX76" fmla="*/ 949015 w 1435100"/>
                <a:gd name="connsiteY76" fmla="*/ 1091963 h 1739900"/>
                <a:gd name="connsiteX77" fmla="*/ 949015 w 1435100"/>
                <a:gd name="connsiteY77" fmla="*/ 1066563 h 1739900"/>
                <a:gd name="connsiteX78" fmla="*/ 1257625 w 1435100"/>
                <a:gd name="connsiteY78" fmla="*/ 888763 h 1739900"/>
                <a:gd name="connsiteX79" fmla="*/ 1257625 w 1435100"/>
                <a:gd name="connsiteY79" fmla="*/ 914163 h 1739900"/>
                <a:gd name="connsiteX80" fmla="*/ 949015 w 1435100"/>
                <a:gd name="connsiteY80" fmla="*/ 1091963 h 1739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435100" h="1739900">
                  <a:moveTo>
                    <a:pt x="1430979" y="850663"/>
                  </a:moveTo>
                  <a:lnTo>
                    <a:pt x="1430979" y="817643"/>
                  </a:lnTo>
                  <a:lnTo>
                    <a:pt x="1429075" y="72153"/>
                  </a:lnTo>
                  <a:cubicBezTo>
                    <a:pt x="1429075" y="11828"/>
                    <a:pt x="1385894" y="-12302"/>
                    <a:pt x="1333825" y="17543"/>
                  </a:cubicBezTo>
                  <a:lnTo>
                    <a:pt x="99385" y="730648"/>
                  </a:lnTo>
                  <a:cubicBezTo>
                    <a:pt x="47315" y="761129"/>
                    <a:pt x="4135" y="834788"/>
                    <a:pt x="4769" y="895113"/>
                  </a:cubicBezTo>
                  <a:lnTo>
                    <a:pt x="6675" y="1673624"/>
                  </a:lnTo>
                  <a:cubicBezTo>
                    <a:pt x="6675" y="1733949"/>
                    <a:pt x="49854" y="1758079"/>
                    <a:pt x="101925" y="1728233"/>
                  </a:cubicBezTo>
                  <a:lnTo>
                    <a:pt x="1332554" y="1017668"/>
                  </a:lnTo>
                  <a:lnTo>
                    <a:pt x="1432250" y="1074183"/>
                  </a:lnTo>
                  <a:lnTo>
                    <a:pt x="1430979" y="850663"/>
                  </a:lnTo>
                  <a:close/>
                  <a:moveTo>
                    <a:pt x="208604" y="1195468"/>
                  </a:moveTo>
                  <a:lnTo>
                    <a:pt x="517215" y="1017668"/>
                  </a:lnTo>
                  <a:lnTo>
                    <a:pt x="517850" y="1194833"/>
                  </a:lnTo>
                  <a:lnTo>
                    <a:pt x="209240" y="1372633"/>
                  </a:lnTo>
                  <a:lnTo>
                    <a:pt x="208604" y="1195468"/>
                  </a:lnTo>
                  <a:close/>
                  <a:moveTo>
                    <a:pt x="209875" y="1569483"/>
                  </a:moveTo>
                  <a:lnTo>
                    <a:pt x="209875" y="1544083"/>
                  </a:lnTo>
                  <a:lnTo>
                    <a:pt x="364179" y="1455183"/>
                  </a:lnTo>
                  <a:lnTo>
                    <a:pt x="364179" y="1480583"/>
                  </a:lnTo>
                  <a:lnTo>
                    <a:pt x="209875" y="1569483"/>
                  </a:lnTo>
                  <a:close/>
                  <a:moveTo>
                    <a:pt x="209240" y="1519318"/>
                  </a:moveTo>
                  <a:lnTo>
                    <a:pt x="209240" y="1493918"/>
                  </a:lnTo>
                  <a:lnTo>
                    <a:pt x="517850" y="1316118"/>
                  </a:lnTo>
                  <a:lnTo>
                    <a:pt x="517850" y="1341518"/>
                  </a:lnTo>
                  <a:lnTo>
                    <a:pt x="209240" y="1519318"/>
                  </a:lnTo>
                  <a:close/>
                  <a:moveTo>
                    <a:pt x="202254" y="1134508"/>
                  </a:moveTo>
                  <a:lnTo>
                    <a:pt x="200985" y="766843"/>
                  </a:lnTo>
                  <a:lnTo>
                    <a:pt x="521660" y="582058"/>
                  </a:lnTo>
                  <a:lnTo>
                    <a:pt x="522929" y="949723"/>
                  </a:lnTo>
                  <a:lnTo>
                    <a:pt x="202254" y="1134508"/>
                  </a:lnTo>
                  <a:close/>
                  <a:moveTo>
                    <a:pt x="577540" y="606823"/>
                  </a:moveTo>
                  <a:lnTo>
                    <a:pt x="1255719" y="215028"/>
                  </a:lnTo>
                  <a:lnTo>
                    <a:pt x="1255719" y="240428"/>
                  </a:lnTo>
                  <a:lnTo>
                    <a:pt x="577540" y="632223"/>
                  </a:lnTo>
                  <a:lnTo>
                    <a:pt x="577540" y="606823"/>
                  </a:lnTo>
                  <a:close/>
                  <a:moveTo>
                    <a:pt x="577540" y="657623"/>
                  </a:moveTo>
                  <a:lnTo>
                    <a:pt x="1255719" y="265828"/>
                  </a:lnTo>
                  <a:lnTo>
                    <a:pt x="1255719" y="291228"/>
                  </a:lnTo>
                  <a:lnTo>
                    <a:pt x="577540" y="683023"/>
                  </a:lnTo>
                  <a:lnTo>
                    <a:pt x="577540" y="657623"/>
                  </a:lnTo>
                  <a:close/>
                  <a:moveTo>
                    <a:pt x="578175" y="981473"/>
                  </a:moveTo>
                  <a:lnTo>
                    <a:pt x="886785" y="803673"/>
                  </a:lnTo>
                  <a:lnTo>
                    <a:pt x="887419" y="980838"/>
                  </a:lnTo>
                  <a:lnTo>
                    <a:pt x="578810" y="1158638"/>
                  </a:lnTo>
                  <a:lnTo>
                    <a:pt x="578175" y="981473"/>
                  </a:lnTo>
                  <a:close/>
                  <a:moveTo>
                    <a:pt x="579444" y="1229758"/>
                  </a:moveTo>
                  <a:lnTo>
                    <a:pt x="888054" y="1051958"/>
                  </a:lnTo>
                  <a:lnTo>
                    <a:pt x="888054" y="1077358"/>
                  </a:lnTo>
                  <a:lnTo>
                    <a:pt x="579444" y="1255158"/>
                  </a:lnTo>
                  <a:lnTo>
                    <a:pt x="579444" y="1229758"/>
                  </a:lnTo>
                  <a:close/>
                  <a:moveTo>
                    <a:pt x="579444" y="1356124"/>
                  </a:moveTo>
                  <a:lnTo>
                    <a:pt x="579444" y="1330724"/>
                  </a:lnTo>
                  <a:lnTo>
                    <a:pt x="733750" y="1241824"/>
                  </a:lnTo>
                  <a:lnTo>
                    <a:pt x="733750" y="1267224"/>
                  </a:lnTo>
                  <a:lnTo>
                    <a:pt x="579444" y="1356124"/>
                  </a:lnTo>
                  <a:close/>
                  <a:moveTo>
                    <a:pt x="579444" y="1305324"/>
                  </a:moveTo>
                  <a:lnTo>
                    <a:pt x="579444" y="1279924"/>
                  </a:lnTo>
                  <a:lnTo>
                    <a:pt x="888054" y="1102123"/>
                  </a:lnTo>
                  <a:lnTo>
                    <a:pt x="888054" y="1127523"/>
                  </a:lnTo>
                  <a:lnTo>
                    <a:pt x="579444" y="1305324"/>
                  </a:lnTo>
                  <a:close/>
                  <a:moveTo>
                    <a:pt x="577540" y="733823"/>
                  </a:moveTo>
                  <a:lnTo>
                    <a:pt x="577540" y="708423"/>
                  </a:lnTo>
                  <a:lnTo>
                    <a:pt x="916629" y="512843"/>
                  </a:lnTo>
                  <a:lnTo>
                    <a:pt x="916629" y="538243"/>
                  </a:lnTo>
                  <a:lnTo>
                    <a:pt x="577540" y="733823"/>
                  </a:lnTo>
                  <a:close/>
                  <a:moveTo>
                    <a:pt x="948379" y="768113"/>
                  </a:moveTo>
                  <a:lnTo>
                    <a:pt x="1256990" y="590313"/>
                  </a:lnTo>
                  <a:lnTo>
                    <a:pt x="1257625" y="767479"/>
                  </a:lnTo>
                  <a:lnTo>
                    <a:pt x="949015" y="945279"/>
                  </a:lnTo>
                  <a:lnTo>
                    <a:pt x="948379" y="768113"/>
                  </a:lnTo>
                  <a:close/>
                  <a:moveTo>
                    <a:pt x="949015" y="1015763"/>
                  </a:moveTo>
                  <a:lnTo>
                    <a:pt x="1257625" y="837963"/>
                  </a:lnTo>
                  <a:lnTo>
                    <a:pt x="1257625" y="863363"/>
                  </a:lnTo>
                  <a:lnTo>
                    <a:pt x="949015" y="1041163"/>
                  </a:lnTo>
                  <a:lnTo>
                    <a:pt x="949015" y="1015763"/>
                  </a:lnTo>
                  <a:close/>
                  <a:moveTo>
                    <a:pt x="949015" y="1091963"/>
                  </a:moveTo>
                  <a:lnTo>
                    <a:pt x="949015" y="1066563"/>
                  </a:lnTo>
                  <a:lnTo>
                    <a:pt x="1257625" y="888763"/>
                  </a:lnTo>
                  <a:lnTo>
                    <a:pt x="1257625" y="914163"/>
                  </a:lnTo>
                  <a:lnTo>
                    <a:pt x="949015" y="1091963"/>
                  </a:lnTo>
                  <a:close/>
                </a:path>
              </a:pathLst>
            </a:custGeom>
            <a:solidFill>
              <a:srgbClr val="F3F6F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5" name="任意多边形: 形状 10024"/>
            <p:cNvSpPr/>
            <p:nvPr/>
          </p:nvSpPr>
          <p:spPr>
            <a:xfrm>
              <a:off x="7471093" y="2911792"/>
              <a:ext cx="317500" cy="209550"/>
            </a:xfrm>
            <a:custGeom>
              <a:avLst/>
              <a:gdLst>
                <a:gd name="connsiteX0" fmla="*/ 313372 w 317500"/>
                <a:gd name="connsiteY0" fmla="*/ 4763 h 209550"/>
                <a:gd name="connsiteX1" fmla="*/ 313372 w 317500"/>
                <a:gd name="connsiteY1" fmla="*/ 30163 h 209550"/>
                <a:gd name="connsiteX2" fmla="*/ 4763 w 317500"/>
                <a:gd name="connsiteY2" fmla="*/ 207963 h 209550"/>
                <a:gd name="connsiteX3" fmla="*/ 4763 w 317500"/>
                <a:gd name="connsiteY3" fmla="*/ 182563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0" h="209550">
                  <a:moveTo>
                    <a:pt x="313372" y="4763"/>
                  </a:moveTo>
                  <a:lnTo>
                    <a:pt x="313372" y="30163"/>
                  </a:lnTo>
                  <a:lnTo>
                    <a:pt x="4763" y="207963"/>
                  </a:lnTo>
                  <a:lnTo>
                    <a:pt x="4763" y="1825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6" name="任意多边形: 形状 10025"/>
            <p:cNvSpPr/>
            <p:nvPr/>
          </p:nvSpPr>
          <p:spPr>
            <a:xfrm>
              <a:off x="7099618" y="2586038"/>
              <a:ext cx="349250" cy="228600"/>
            </a:xfrm>
            <a:custGeom>
              <a:avLst/>
              <a:gdLst>
                <a:gd name="connsiteX0" fmla="*/ 343852 w 349250"/>
                <a:gd name="connsiteY0" fmla="*/ 4763 h 228600"/>
                <a:gd name="connsiteX1" fmla="*/ 344488 w 349250"/>
                <a:gd name="connsiteY1" fmla="*/ 30163 h 228600"/>
                <a:gd name="connsiteX2" fmla="*/ 4763 w 349250"/>
                <a:gd name="connsiteY2" fmla="*/ 226377 h 228600"/>
                <a:gd name="connsiteX3" fmla="*/ 4763 w 349250"/>
                <a:gd name="connsiteY3" fmla="*/ 200977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9250" h="228600">
                  <a:moveTo>
                    <a:pt x="343852" y="4763"/>
                  </a:moveTo>
                  <a:lnTo>
                    <a:pt x="344488" y="30163"/>
                  </a:lnTo>
                  <a:lnTo>
                    <a:pt x="4763" y="226377"/>
                  </a:lnTo>
                  <a:lnTo>
                    <a:pt x="4763" y="20097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7" name="任意多边形: 形状 10026"/>
            <p:cNvSpPr/>
            <p:nvPr/>
          </p:nvSpPr>
          <p:spPr>
            <a:xfrm>
              <a:off x="7099618" y="2339658"/>
              <a:ext cx="685800" cy="425450"/>
            </a:xfrm>
            <a:custGeom>
              <a:avLst/>
              <a:gdLst>
                <a:gd name="connsiteX0" fmla="*/ 682942 w 685800"/>
                <a:gd name="connsiteY0" fmla="*/ 4763 h 425450"/>
                <a:gd name="connsiteX1" fmla="*/ 682942 w 685800"/>
                <a:gd name="connsiteY1" fmla="*/ 30163 h 425450"/>
                <a:gd name="connsiteX2" fmla="*/ 4763 w 685800"/>
                <a:gd name="connsiteY2" fmla="*/ 421957 h 425450"/>
                <a:gd name="connsiteX3" fmla="*/ 4763 w 685800"/>
                <a:gd name="connsiteY3" fmla="*/ 396557 h 42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" h="425450">
                  <a:moveTo>
                    <a:pt x="682942" y="4763"/>
                  </a:moveTo>
                  <a:lnTo>
                    <a:pt x="682942" y="30163"/>
                  </a:lnTo>
                  <a:lnTo>
                    <a:pt x="4763" y="421957"/>
                  </a:lnTo>
                  <a:lnTo>
                    <a:pt x="4763" y="39655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8" name="任意多边形: 形状 10027"/>
            <p:cNvSpPr/>
            <p:nvPr/>
          </p:nvSpPr>
          <p:spPr>
            <a:xfrm>
              <a:off x="7099618" y="2289492"/>
              <a:ext cx="685800" cy="425450"/>
            </a:xfrm>
            <a:custGeom>
              <a:avLst/>
              <a:gdLst>
                <a:gd name="connsiteX0" fmla="*/ 682942 w 685800"/>
                <a:gd name="connsiteY0" fmla="*/ 4763 h 425450"/>
                <a:gd name="connsiteX1" fmla="*/ 682942 w 685800"/>
                <a:gd name="connsiteY1" fmla="*/ 29528 h 425450"/>
                <a:gd name="connsiteX2" fmla="*/ 4763 w 685800"/>
                <a:gd name="connsiteY2" fmla="*/ 421323 h 425450"/>
                <a:gd name="connsiteX3" fmla="*/ 4763 w 685800"/>
                <a:gd name="connsiteY3" fmla="*/ 395923 h 42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" h="425450">
                  <a:moveTo>
                    <a:pt x="682942" y="4763"/>
                  </a:moveTo>
                  <a:lnTo>
                    <a:pt x="682942" y="29528"/>
                  </a:lnTo>
                  <a:lnTo>
                    <a:pt x="4763" y="421323"/>
                  </a:lnTo>
                  <a:lnTo>
                    <a:pt x="4763" y="39592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9" name="任意多边形: 形状 10028"/>
            <p:cNvSpPr/>
            <p:nvPr/>
          </p:nvSpPr>
          <p:spPr>
            <a:xfrm>
              <a:off x="7477443" y="3102292"/>
              <a:ext cx="158750" cy="120650"/>
            </a:xfrm>
            <a:custGeom>
              <a:avLst/>
              <a:gdLst>
                <a:gd name="connsiteX0" fmla="*/ 159067 w 158750"/>
                <a:gd name="connsiteY0" fmla="*/ 4763 h 120650"/>
                <a:gd name="connsiteX1" fmla="*/ 159067 w 158750"/>
                <a:gd name="connsiteY1" fmla="*/ 29528 h 120650"/>
                <a:gd name="connsiteX2" fmla="*/ 4763 w 158750"/>
                <a:gd name="connsiteY2" fmla="*/ 119063 h 120650"/>
                <a:gd name="connsiteX3" fmla="*/ 4763 w 158750"/>
                <a:gd name="connsiteY3" fmla="*/ 93663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750" h="120650">
                  <a:moveTo>
                    <a:pt x="159067" y="4763"/>
                  </a:moveTo>
                  <a:lnTo>
                    <a:pt x="159067" y="29528"/>
                  </a:lnTo>
                  <a:lnTo>
                    <a:pt x="4763" y="119063"/>
                  </a:lnTo>
                  <a:lnTo>
                    <a:pt x="4763" y="936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0" name="任意多边形: 形状 10029"/>
            <p:cNvSpPr/>
            <p:nvPr/>
          </p:nvSpPr>
          <p:spPr>
            <a:xfrm>
              <a:off x="6729413" y="3327083"/>
              <a:ext cx="317500" cy="209550"/>
            </a:xfrm>
            <a:custGeom>
              <a:avLst/>
              <a:gdLst>
                <a:gd name="connsiteX0" fmla="*/ 313372 w 317500"/>
                <a:gd name="connsiteY0" fmla="*/ 4763 h 209550"/>
                <a:gd name="connsiteX1" fmla="*/ 313372 w 317500"/>
                <a:gd name="connsiteY1" fmla="*/ 29527 h 209550"/>
                <a:gd name="connsiteX2" fmla="*/ 4763 w 317500"/>
                <a:gd name="connsiteY2" fmla="*/ 207963 h 209550"/>
                <a:gd name="connsiteX3" fmla="*/ 4763 w 317500"/>
                <a:gd name="connsiteY3" fmla="*/ 182563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0" h="209550">
                  <a:moveTo>
                    <a:pt x="313372" y="4763"/>
                  </a:moveTo>
                  <a:lnTo>
                    <a:pt x="313372" y="29527"/>
                  </a:lnTo>
                  <a:lnTo>
                    <a:pt x="4763" y="207963"/>
                  </a:lnTo>
                  <a:lnTo>
                    <a:pt x="4763" y="1825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1" name="任意多边形: 形状 10030"/>
            <p:cNvSpPr/>
            <p:nvPr/>
          </p:nvSpPr>
          <p:spPr>
            <a:xfrm>
              <a:off x="6727507" y="3089592"/>
              <a:ext cx="317500" cy="368300"/>
            </a:xfrm>
            <a:custGeom>
              <a:avLst/>
              <a:gdLst>
                <a:gd name="connsiteX0" fmla="*/ 316548 w 317500"/>
                <a:gd name="connsiteY0" fmla="*/ 4763 h 368300"/>
                <a:gd name="connsiteX1" fmla="*/ 317183 w 317500"/>
                <a:gd name="connsiteY1" fmla="*/ 184467 h 368300"/>
                <a:gd name="connsiteX2" fmla="*/ 4763 w 317500"/>
                <a:gd name="connsiteY2" fmla="*/ 364173 h 368300"/>
                <a:gd name="connsiteX3" fmla="*/ 4763 w 317500"/>
                <a:gd name="connsiteY3" fmla="*/ 185103 h 36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0" h="368300">
                  <a:moveTo>
                    <a:pt x="316548" y="4763"/>
                  </a:moveTo>
                  <a:lnTo>
                    <a:pt x="317183" y="184467"/>
                  </a:lnTo>
                  <a:lnTo>
                    <a:pt x="4763" y="364173"/>
                  </a:lnTo>
                  <a:lnTo>
                    <a:pt x="4763" y="18510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2" name="任意多边形: 形状 10031"/>
            <p:cNvSpPr/>
            <p:nvPr/>
          </p:nvSpPr>
          <p:spPr>
            <a:xfrm>
              <a:off x="8581707" y="2420593"/>
              <a:ext cx="488950" cy="622300"/>
            </a:xfrm>
            <a:custGeom>
              <a:avLst/>
              <a:gdLst>
                <a:gd name="connsiteX0" fmla="*/ 430213 w 488950"/>
                <a:gd name="connsiteY0" fmla="*/ 226087 h 622300"/>
                <a:gd name="connsiteX1" fmla="*/ 484188 w 488950"/>
                <a:gd name="connsiteY1" fmla="*/ 319432 h 622300"/>
                <a:gd name="connsiteX2" fmla="*/ 482918 w 488950"/>
                <a:gd name="connsiteY2" fmla="*/ 583592 h 622300"/>
                <a:gd name="connsiteX3" fmla="*/ 428943 w 488950"/>
                <a:gd name="connsiteY3" fmla="*/ 614707 h 622300"/>
                <a:gd name="connsiteX4" fmla="*/ 58738 w 488950"/>
                <a:gd name="connsiteY4" fmla="*/ 400712 h 622300"/>
                <a:gd name="connsiteX5" fmla="*/ 4763 w 488950"/>
                <a:gd name="connsiteY5" fmla="*/ 307367 h 622300"/>
                <a:gd name="connsiteX6" fmla="*/ 6033 w 488950"/>
                <a:gd name="connsiteY6" fmla="*/ 43207 h 622300"/>
                <a:gd name="connsiteX7" fmla="*/ 60008 w 488950"/>
                <a:gd name="connsiteY7" fmla="*/ 12092 h 622300"/>
                <a:gd name="connsiteX8" fmla="*/ 430213 w 488950"/>
                <a:gd name="connsiteY8" fmla="*/ 226087 h 622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8950" h="622300">
                  <a:moveTo>
                    <a:pt x="430213" y="226087"/>
                  </a:moveTo>
                  <a:cubicBezTo>
                    <a:pt x="460058" y="243232"/>
                    <a:pt x="484188" y="285142"/>
                    <a:pt x="484188" y="319432"/>
                  </a:cubicBezTo>
                  <a:lnTo>
                    <a:pt x="482918" y="583592"/>
                  </a:lnTo>
                  <a:cubicBezTo>
                    <a:pt x="482918" y="617882"/>
                    <a:pt x="458788" y="631852"/>
                    <a:pt x="428943" y="614707"/>
                  </a:cubicBezTo>
                  <a:lnTo>
                    <a:pt x="58738" y="400712"/>
                  </a:lnTo>
                  <a:cubicBezTo>
                    <a:pt x="28893" y="383567"/>
                    <a:pt x="4763" y="341657"/>
                    <a:pt x="4763" y="307367"/>
                  </a:cubicBezTo>
                  <a:lnTo>
                    <a:pt x="6033" y="43207"/>
                  </a:lnTo>
                  <a:cubicBezTo>
                    <a:pt x="6033" y="8917"/>
                    <a:pt x="30798" y="-5053"/>
                    <a:pt x="60008" y="12092"/>
                  </a:cubicBezTo>
                  <a:lnTo>
                    <a:pt x="430213" y="226087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3" name="任意多边形: 形状 10032"/>
            <p:cNvSpPr/>
            <p:nvPr/>
          </p:nvSpPr>
          <p:spPr>
            <a:xfrm>
              <a:off x="8623618" y="2586038"/>
              <a:ext cx="127000" cy="139700"/>
            </a:xfrm>
            <a:custGeom>
              <a:avLst/>
              <a:gdLst>
                <a:gd name="connsiteX0" fmla="*/ 122238 w 127000"/>
                <a:gd name="connsiteY0" fmla="*/ 72073 h 139700"/>
                <a:gd name="connsiteX1" fmla="*/ 122238 w 127000"/>
                <a:gd name="connsiteY1" fmla="*/ 137477 h 139700"/>
                <a:gd name="connsiteX2" fmla="*/ 4763 w 127000"/>
                <a:gd name="connsiteY2" fmla="*/ 70167 h 139700"/>
                <a:gd name="connsiteX3" fmla="*/ 4763 w 127000"/>
                <a:gd name="connsiteY3" fmla="*/ 4763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139700">
                  <a:moveTo>
                    <a:pt x="122238" y="72073"/>
                  </a:moveTo>
                  <a:lnTo>
                    <a:pt x="122238" y="137477"/>
                  </a:lnTo>
                  <a:lnTo>
                    <a:pt x="4763" y="70167"/>
                  </a:lnTo>
                  <a:lnTo>
                    <a:pt x="4763" y="4763"/>
                  </a:lnTo>
                  <a:close/>
                </a:path>
              </a:pathLst>
            </a:custGeom>
            <a:solidFill>
              <a:srgbClr val="D6A5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4" name="任意多边形: 形状 10033"/>
            <p:cNvSpPr/>
            <p:nvPr/>
          </p:nvSpPr>
          <p:spPr>
            <a:xfrm>
              <a:off x="8740457" y="2653983"/>
              <a:ext cx="247650" cy="209550"/>
            </a:xfrm>
            <a:custGeom>
              <a:avLst/>
              <a:gdLst>
                <a:gd name="connsiteX0" fmla="*/ 248603 w 247650"/>
                <a:gd name="connsiteY0" fmla="*/ 145097 h 209550"/>
                <a:gd name="connsiteX1" fmla="*/ 248603 w 247650"/>
                <a:gd name="connsiteY1" fmla="*/ 210502 h 209550"/>
                <a:gd name="connsiteX2" fmla="*/ 4763 w 247650"/>
                <a:gd name="connsiteY2" fmla="*/ 70167 h 209550"/>
                <a:gd name="connsiteX3" fmla="*/ 5398 w 247650"/>
                <a:gd name="connsiteY3" fmla="*/ 4763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50" h="209550">
                  <a:moveTo>
                    <a:pt x="248603" y="145097"/>
                  </a:moveTo>
                  <a:lnTo>
                    <a:pt x="248603" y="210502"/>
                  </a:lnTo>
                  <a:lnTo>
                    <a:pt x="4763" y="70167"/>
                  </a:lnTo>
                  <a:lnTo>
                    <a:pt x="5398" y="47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5" name="任意多边形: 形状 10034"/>
            <p:cNvSpPr/>
            <p:nvPr/>
          </p:nvSpPr>
          <p:spPr>
            <a:xfrm>
              <a:off x="5910897" y="3909281"/>
              <a:ext cx="469900" cy="603250"/>
            </a:xfrm>
            <a:custGeom>
              <a:avLst/>
              <a:gdLst>
                <a:gd name="connsiteX0" fmla="*/ 56833 w 469900"/>
                <a:gd name="connsiteY0" fmla="*/ 218219 h 603250"/>
                <a:gd name="connsiteX1" fmla="*/ 4763 w 469900"/>
                <a:gd name="connsiteY1" fmla="*/ 308389 h 603250"/>
                <a:gd name="connsiteX2" fmla="*/ 6033 w 469900"/>
                <a:gd name="connsiteY2" fmla="*/ 563024 h 603250"/>
                <a:gd name="connsiteX3" fmla="*/ 58103 w 469900"/>
                <a:gd name="connsiteY3" fmla="*/ 592869 h 603250"/>
                <a:gd name="connsiteX4" fmla="*/ 414973 w 469900"/>
                <a:gd name="connsiteY4" fmla="*/ 386494 h 603250"/>
                <a:gd name="connsiteX5" fmla="*/ 467043 w 469900"/>
                <a:gd name="connsiteY5" fmla="*/ 296324 h 603250"/>
                <a:gd name="connsiteX6" fmla="*/ 465773 w 469900"/>
                <a:gd name="connsiteY6" fmla="*/ 41689 h 603250"/>
                <a:gd name="connsiteX7" fmla="*/ 413703 w 469900"/>
                <a:gd name="connsiteY7" fmla="*/ 11844 h 603250"/>
                <a:gd name="connsiteX8" fmla="*/ 56833 w 469900"/>
                <a:gd name="connsiteY8" fmla="*/ 218219 h 603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9900" h="603250">
                  <a:moveTo>
                    <a:pt x="56833" y="218219"/>
                  </a:moveTo>
                  <a:cubicBezTo>
                    <a:pt x="28258" y="234729"/>
                    <a:pt x="4763" y="275369"/>
                    <a:pt x="4763" y="308389"/>
                  </a:cubicBezTo>
                  <a:lnTo>
                    <a:pt x="6033" y="563024"/>
                  </a:lnTo>
                  <a:cubicBezTo>
                    <a:pt x="6033" y="596044"/>
                    <a:pt x="29528" y="609379"/>
                    <a:pt x="58103" y="592869"/>
                  </a:cubicBezTo>
                  <a:lnTo>
                    <a:pt x="414973" y="386494"/>
                  </a:lnTo>
                  <a:cubicBezTo>
                    <a:pt x="443548" y="369984"/>
                    <a:pt x="467043" y="329344"/>
                    <a:pt x="467043" y="296324"/>
                  </a:cubicBezTo>
                  <a:lnTo>
                    <a:pt x="465773" y="41689"/>
                  </a:lnTo>
                  <a:cubicBezTo>
                    <a:pt x="465773" y="8669"/>
                    <a:pt x="442278" y="-4666"/>
                    <a:pt x="413703" y="11844"/>
                  </a:cubicBezTo>
                  <a:lnTo>
                    <a:pt x="56833" y="218219"/>
                  </a:lnTo>
                  <a:close/>
                </a:path>
              </a:pathLst>
            </a:custGeom>
            <a:solidFill>
              <a:srgbClr val="DAF1F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6" name="任意多边形: 形状 10035"/>
            <p:cNvSpPr/>
            <p:nvPr/>
          </p:nvSpPr>
          <p:spPr>
            <a:xfrm>
              <a:off x="6158547" y="4066858"/>
              <a:ext cx="139700" cy="107950"/>
            </a:xfrm>
            <a:custGeom>
              <a:avLst/>
              <a:gdLst>
                <a:gd name="connsiteX0" fmla="*/ 4763 w 139700"/>
                <a:gd name="connsiteY0" fmla="*/ 78422 h 107950"/>
                <a:gd name="connsiteX1" fmla="*/ 4763 w 139700"/>
                <a:gd name="connsiteY1" fmla="*/ 108267 h 107950"/>
                <a:gd name="connsiteX2" fmla="*/ 135573 w 139700"/>
                <a:gd name="connsiteY2" fmla="*/ 33972 h 107950"/>
                <a:gd name="connsiteX3" fmla="*/ 135573 w 139700"/>
                <a:gd name="connsiteY3" fmla="*/ 4763 h 10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700" h="107950">
                  <a:moveTo>
                    <a:pt x="4763" y="78422"/>
                  </a:moveTo>
                  <a:lnTo>
                    <a:pt x="4763" y="108267"/>
                  </a:lnTo>
                  <a:lnTo>
                    <a:pt x="135573" y="33972"/>
                  </a:lnTo>
                  <a:lnTo>
                    <a:pt x="135573" y="47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7" name="任意多边形: 形状 10036"/>
            <p:cNvSpPr/>
            <p:nvPr/>
          </p:nvSpPr>
          <p:spPr>
            <a:xfrm>
              <a:off x="6011863" y="4165283"/>
              <a:ext cx="285750" cy="196850"/>
            </a:xfrm>
            <a:custGeom>
              <a:avLst/>
              <a:gdLst>
                <a:gd name="connsiteX0" fmla="*/ 4763 w 285750"/>
                <a:gd name="connsiteY0" fmla="*/ 164783 h 196850"/>
                <a:gd name="connsiteX1" fmla="*/ 4763 w 285750"/>
                <a:gd name="connsiteY1" fmla="*/ 193992 h 196850"/>
                <a:gd name="connsiteX2" fmla="*/ 282258 w 285750"/>
                <a:gd name="connsiteY2" fmla="*/ 34608 h 196850"/>
                <a:gd name="connsiteX3" fmla="*/ 282258 w 285750"/>
                <a:gd name="connsiteY3" fmla="*/ 4763 h 19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196850">
                  <a:moveTo>
                    <a:pt x="4763" y="164783"/>
                  </a:moveTo>
                  <a:lnTo>
                    <a:pt x="4763" y="193992"/>
                  </a:lnTo>
                  <a:lnTo>
                    <a:pt x="282258" y="34608"/>
                  </a:lnTo>
                  <a:lnTo>
                    <a:pt x="282258" y="47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8" name="任意多边形: 形状 10037"/>
            <p:cNvSpPr/>
            <p:nvPr/>
          </p:nvSpPr>
          <p:spPr>
            <a:xfrm>
              <a:off x="10943908" y="5193983"/>
              <a:ext cx="50800" cy="139700"/>
            </a:xfrm>
            <a:custGeom>
              <a:avLst/>
              <a:gdLst>
                <a:gd name="connsiteX0" fmla="*/ 4762 w 50800"/>
                <a:gd name="connsiteY0" fmla="*/ 4763 h 139700"/>
                <a:gd name="connsiteX1" fmla="*/ 46672 w 50800"/>
                <a:gd name="connsiteY1" fmla="*/ 4763 h 139700"/>
                <a:gd name="connsiteX2" fmla="*/ 46672 w 50800"/>
                <a:gd name="connsiteY2" fmla="*/ 138747 h 139700"/>
                <a:gd name="connsiteX3" fmla="*/ 4762 w 50800"/>
                <a:gd name="connsiteY3" fmla="*/ 138747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9700">
                  <a:moveTo>
                    <a:pt x="4762" y="4763"/>
                  </a:moveTo>
                  <a:lnTo>
                    <a:pt x="46672" y="4763"/>
                  </a:lnTo>
                  <a:lnTo>
                    <a:pt x="46672" y="138747"/>
                  </a:lnTo>
                  <a:lnTo>
                    <a:pt x="4762" y="138747"/>
                  </a:lnTo>
                  <a:close/>
                </a:path>
              </a:pathLst>
            </a:custGeom>
            <a:solidFill>
              <a:srgbClr val="47476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9" name="任意多边形: 形状 10038"/>
            <p:cNvSpPr/>
            <p:nvPr/>
          </p:nvSpPr>
          <p:spPr>
            <a:xfrm>
              <a:off x="10964863" y="4828222"/>
              <a:ext cx="146050" cy="400050"/>
            </a:xfrm>
            <a:custGeom>
              <a:avLst/>
              <a:gdLst>
                <a:gd name="connsiteX0" fmla="*/ 4763 w 146050"/>
                <a:gd name="connsiteY0" fmla="*/ 4763 h 400050"/>
                <a:gd name="connsiteX1" fmla="*/ 4763 w 146050"/>
                <a:gd name="connsiteY1" fmla="*/ 399098 h 400050"/>
                <a:gd name="connsiteX2" fmla="*/ 142557 w 146050"/>
                <a:gd name="connsiteY2" fmla="*/ 319088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6050" h="400050">
                  <a:moveTo>
                    <a:pt x="4763" y="4763"/>
                  </a:moveTo>
                  <a:lnTo>
                    <a:pt x="4763" y="399098"/>
                  </a:lnTo>
                  <a:lnTo>
                    <a:pt x="142557" y="31908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0" name="任意多边形: 形状 10039"/>
            <p:cNvSpPr/>
            <p:nvPr/>
          </p:nvSpPr>
          <p:spPr>
            <a:xfrm>
              <a:off x="10827068" y="4828222"/>
              <a:ext cx="146050" cy="400050"/>
            </a:xfrm>
            <a:custGeom>
              <a:avLst/>
              <a:gdLst>
                <a:gd name="connsiteX0" fmla="*/ 142557 w 146050"/>
                <a:gd name="connsiteY0" fmla="*/ 4763 h 400050"/>
                <a:gd name="connsiteX1" fmla="*/ 142557 w 146050"/>
                <a:gd name="connsiteY1" fmla="*/ 399098 h 400050"/>
                <a:gd name="connsiteX2" fmla="*/ 4763 w 146050"/>
                <a:gd name="connsiteY2" fmla="*/ 319088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6050" h="400050">
                  <a:moveTo>
                    <a:pt x="142557" y="4763"/>
                  </a:moveTo>
                  <a:lnTo>
                    <a:pt x="142557" y="399098"/>
                  </a:lnTo>
                  <a:lnTo>
                    <a:pt x="4763" y="319088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1" name="任意多边形: 形状 10040"/>
            <p:cNvSpPr/>
            <p:nvPr/>
          </p:nvSpPr>
          <p:spPr>
            <a:xfrm>
              <a:off x="10958513" y="2288223"/>
              <a:ext cx="63500" cy="38100"/>
            </a:xfrm>
            <a:custGeom>
              <a:avLst/>
              <a:gdLst>
                <a:gd name="connsiteX0" fmla="*/ 4763 w 63500"/>
                <a:gd name="connsiteY0" fmla="*/ 35877 h 38100"/>
                <a:gd name="connsiteX1" fmla="*/ 56197 w 63500"/>
                <a:gd name="connsiteY1" fmla="*/ 6032 h 38100"/>
                <a:gd name="connsiteX2" fmla="*/ 59372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587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877"/>
                  </a:moveTo>
                  <a:lnTo>
                    <a:pt x="56197" y="6032"/>
                  </a:lnTo>
                  <a:cubicBezTo>
                    <a:pt x="57468" y="5398"/>
                    <a:pt x="58103" y="4763"/>
                    <a:pt x="59372" y="4763"/>
                  </a:cubicBezTo>
                  <a:lnTo>
                    <a:pt x="7938" y="34607"/>
                  </a:lnTo>
                  <a:cubicBezTo>
                    <a:pt x="6668" y="35242"/>
                    <a:pt x="5397" y="35877"/>
                    <a:pt x="4763" y="3587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2" name="任意多边形: 形状 10041"/>
            <p:cNvSpPr/>
            <p:nvPr/>
          </p:nvSpPr>
          <p:spPr>
            <a:xfrm>
              <a:off x="10961688" y="2287588"/>
              <a:ext cx="63500" cy="38100"/>
            </a:xfrm>
            <a:custGeom>
              <a:avLst/>
              <a:gdLst>
                <a:gd name="connsiteX0" fmla="*/ 4763 w 63500"/>
                <a:gd name="connsiteY0" fmla="*/ 35242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8 h 38100"/>
                <a:gd name="connsiteX4" fmla="*/ 4763 w 63500"/>
                <a:gd name="connsiteY4" fmla="*/ 3524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2"/>
                  </a:moveTo>
                  <a:lnTo>
                    <a:pt x="56197" y="5398"/>
                  </a:lnTo>
                  <a:cubicBezTo>
                    <a:pt x="56832" y="5398"/>
                    <a:pt x="58103" y="4763"/>
                    <a:pt x="58738" y="4763"/>
                  </a:cubicBezTo>
                  <a:lnTo>
                    <a:pt x="7303" y="34608"/>
                  </a:lnTo>
                  <a:cubicBezTo>
                    <a:pt x="6032" y="34608"/>
                    <a:pt x="5397" y="35242"/>
                    <a:pt x="4763" y="3524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3" name="任意多边形: 形状 10042"/>
            <p:cNvSpPr/>
            <p:nvPr/>
          </p:nvSpPr>
          <p:spPr>
            <a:xfrm>
              <a:off x="10964228" y="2286952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2" y="5398"/>
                    <a:pt x="57467" y="5398"/>
                    <a:pt x="58738" y="4763"/>
                  </a:cubicBezTo>
                  <a:lnTo>
                    <a:pt x="7303" y="34608"/>
                  </a:lnTo>
                  <a:cubicBezTo>
                    <a:pt x="6032" y="35243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4" name="任意多边形: 形状 10043"/>
            <p:cNvSpPr/>
            <p:nvPr/>
          </p:nvSpPr>
          <p:spPr>
            <a:xfrm>
              <a:off x="10966768" y="22869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4763"/>
                  </a:cubicBezTo>
                  <a:lnTo>
                    <a:pt x="6667" y="34608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5" name="任意多边形: 形状 10044"/>
            <p:cNvSpPr/>
            <p:nvPr/>
          </p:nvSpPr>
          <p:spPr>
            <a:xfrm>
              <a:off x="10968672" y="22869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6" name="任意多边形: 形状 10045"/>
            <p:cNvSpPr/>
            <p:nvPr/>
          </p:nvSpPr>
          <p:spPr>
            <a:xfrm>
              <a:off x="10970578" y="22869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3" y="4763"/>
                  </a:cubicBezTo>
                  <a:lnTo>
                    <a:pt x="6667" y="34608"/>
                  </a:lnTo>
                  <a:cubicBezTo>
                    <a:pt x="6032" y="35243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7" name="任意多边形: 形状 10046"/>
            <p:cNvSpPr/>
            <p:nvPr/>
          </p:nvSpPr>
          <p:spPr>
            <a:xfrm>
              <a:off x="10972482" y="22875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4608"/>
                    <a:pt x="5398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8" name="任意多边形: 形状 10047"/>
            <p:cNvSpPr/>
            <p:nvPr/>
          </p:nvSpPr>
          <p:spPr>
            <a:xfrm>
              <a:off x="10974388" y="22875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2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8" y="4763"/>
                    <a:pt x="58103" y="5398"/>
                  </a:cubicBezTo>
                  <a:lnTo>
                    <a:pt x="6668" y="35242"/>
                  </a:lnTo>
                  <a:cubicBezTo>
                    <a:pt x="5397" y="34608"/>
                    <a:pt x="476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9" name="任意多边形: 形状 10048"/>
            <p:cNvSpPr/>
            <p:nvPr/>
          </p:nvSpPr>
          <p:spPr>
            <a:xfrm>
              <a:off x="10975657" y="22882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5398"/>
                  </a:cubicBezTo>
                  <a:lnTo>
                    <a:pt x="6668" y="35242"/>
                  </a:lnTo>
                  <a:cubicBezTo>
                    <a:pt x="6033" y="34607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0" name="任意多边形: 形状 10049"/>
            <p:cNvSpPr/>
            <p:nvPr/>
          </p:nvSpPr>
          <p:spPr>
            <a:xfrm>
              <a:off x="10977563" y="22882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8" y="5398"/>
                    <a:pt x="58103" y="5398"/>
                  </a:cubicBezTo>
                  <a:lnTo>
                    <a:pt x="6668" y="35242"/>
                  </a:lnTo>
                  <a:cubicBezTo>
                    <a:pt x="6032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1" name="任意多边形: 形状 10050"/>
            <p:cNvSpPr/>
            <p:nvPr/>
          </p:nvSpPr>
          <p:spPr>
            <a:xfrm>
              <a:off x="10979468" y="22888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5397 h 38100"/>
                <a:gd name="connsiteX3" fmla="*/ 6667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7"/>
                    <a:pt x="58102" y="5397"/>
                  </a:cubicBezTo>
                  <a:lnTo>
                    <a:pt x="6667" y="35242"/>
                  </a:lnTo>
                  <a:cubicBezTo>
                    <a:pt x="5397" y="35242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2" name="任意多边形: 形状 10051"/>
            <p:cNvSpPr/>
            <p:nvPr/>
          </p:nvSpPr>
          <p:spPr>
            <a:xfrm>
              <a:off x="10980738" y="228949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832 w 57150"/>
                <a:gd name="connsiteY2" fmla="*/ 4763 h 38100"/>
                <a:gd name="connsiteX3" fmla="*/ 4763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4763"/>
                    <a:pt x="56832" y="4763"/>
                    <a:pt x="56832" y="4763"/>
                  </a:cubicBezTo>
                  <a:lnTo>
                    <a:pt x="4763" y="34608"/>
                  </a:lnTo>
                  <a:cubicBezTo>
                    <a:pt x="5397" y="35243"/>
                    <a:pt x="476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3" name="任意多边形: 形状 10052"/>
            <p:cNvSpPr/>
            <p:nvPr/>
          </p:nvSpPr>
          <p:spPr>
            <a:xfrm>
              <a:off x="10990897" y="2249488"/>
              <a:ext cx="63500" cy="38100"/>
            </a:xfrm>
            <a:custGeom>
              <a:avLst/>
              <a:gdLst>
                <a:gd name="connsiteX0" fmla="*/ 4763 w 63500"/>
                <a:gd name="connsiteY0" fmla="*/ 35877 h 38100"/>
                <a:gd name="connsiteX1" fmla="*/ 56197 w 63500"/>
                <a:gd name="connsiteY1" fmla="*/ 6033 h 38100"/>
                <a:gd name="connsiteX2" fmla="*/ 59372 w 63500"/>
                <a:gd name="connsiteY2" fmla="*/ 4763 h 38100"/>
                <a:gd name="connsiteX3" fmla="*/ 7938 w 63500"/>
                <a:gd name="connsiteY3" fmla="*/ 34608 h 38100"/>
                <a:gd name="connsiteX4" fmla="*/ 4763 w 63500"/>
                <a:gd name="connsiteY4" fmla="*/ 3587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877"/>
                  </a:moveTo>
                  <a:lnTo>
                    <a:pt x="56197" y="6033"/>
                  </a:lnTo>
                  <a:cubicBezTo>
                    <a:pt x="57468" y="5398"/>
                    <a:pt x="58103" y="4763"/>
                    <a:pt x="59372" y="4763"/>
                  </a:cubicBezTo>
                  <a:lnTo>
                    <a:pt x="7938" y="34608"/>
                  </a:lnTo>
                  <a:cubicBezTo>
                    <a:pt x="6668" y="34608"/>
                    <a:pt x="5397" y="35242"/>
                    <a:pt x="4763" y="3587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4" name="任意多边形: 形状 10053"/>
            <p:cNvSpPr/>
            <p:nvPr/>
          </p:nvSpPr>
          <p:spPr>
            <a:xfrm>
              <a:off x="10994072" y="2248852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3" y="5398"/>
                    <a:pt x="58103" y="4763"/>
                    <a:pt x="58738" y="4763"/>
                  </a:cubicBezTo>
                  <a:lnTo>
                    <a:pt x="7303" y="34608"/>
                  </a:lnTo>
                  <a:cubicBezTo>
                    <a:pt x="6668" y="34608"/>
                    <a:pt x="5397" y="34608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5" name="任意多边形: 形状 10054"/>
            <p:cNvSpPr/>
            <p:nvPr/>
          </p:nvSpPr>
          <p:spPr>
            <a:xfrm>
              <a:off x="10996613" y="2248217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2" y="5398"/>
                    <a:pt x="57468" y="5398"/>
                    <a:pt x="58738" y="4763"/>
                  </a:cubicBezTo>
                  <a:lnTo>
                    <a:pt x="7303" y="34608"/>
                  </a:lnTo>
                  <a:cubicBezTo>
                    <a:pt x="6668" y="34608"/>
                    <a:pt x="5397" y="34608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6" name="任意多边形: 形状 10055"/>
            <p:cNvSpPr/>
            <p:nvPr/>
          </p:nvSpPr>
          <p:spPr>
            <a:xfrm>
              <a:off x="10999153" y="224821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3" y="4763"/>
                  </a:cubicBezTo>
                  <a:lnTo>
                    <a:pt x="6667" y="34608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7" name="任意多边形: 形状 10056"/>
            <p:cNvSpPr/>
            <p:nvPr/>
          </p:nvSpPr>
          <p:spPr>
            <a:xfrm>
              <a:off x="11001057" y="224821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4608"/>
                    <a:pt x="5398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8" name="任意多边形: 形状 10057"/>
            <p:cNvSpPr/>
            <p:nvPr/>
          </p:nvSpPr>
          <p:spPr>
            <a:xfrm>
              <a:off x="11002963" y="224821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9" name="任意多边形: 形状 10058"/>
            <p:cNvSpPr/>
            <p:nvPr/>
          </p:nvSpPr>
          <p:spPr>
            <a:xfrm>
              <a:off x="11004868" y="224821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4763"/>
                  </a:cubicBezTo>
                  <a:lnTo>
                    <a:pt x="6667" y="34608"/>
                  </a:lnTo>
                  <a:cubicBezTo>
                    <a:pt x="6032" y="35243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0" name="任意多边形: 形状 10059"/>
            <p:cNvSpPr/>
            <p:nvPr/>
          </p:nvSpPr>
          <p:spPr>
            <a:xfrm>
              <a:off x="11006772" y="22488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5398"/>
                  </a:cubicBezTo>
                  <a:lnTo>
                    <a:pt x="6668" y="35243"/>
                  </a:lnTo>
                  <a:cubicBezTo>
                    <a:pt x="5397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1" name="任意多边形: 形状 10060"/>
            <p:cNvSpPr/>
            <p:nvPr/>
          </p:nvSpPr>
          <p:spPr>
            <a:xfrm>
              <a:off x="11008043" y="22488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5398 h 38100"/>
                <a:gd name="connsiteX3" fmla="*/ 6667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5398"/>
                  </a:cubicBezTo>
                  <a:lnTo>
                    <a:pt x="6667" y="35243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2" name="任意多边形: 形状 10061"/>
            <p:cNvSpPr/>
            <p:nvPr/>
          </p:nvSpPr>
          <p:spPr>
            <a:xfrm>
              <a:off x="11009947" y="22494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2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4763"/>
                    <a:pt x="57468" y="5398"/>
                    <a:pt x="58103" y="5398"/>
                  </a:cubicBezTo>
                  <a:lnTo>
                    <a:pt x="6668" y="35242"/>
                  </a:lnTo>
                  <a:cubicBezTo>
                    <a:pt x="6033" y="35242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3" name="任意多边形: 形状 10062"/>
            <p:cNvSpPr/>
            <p:nvPr/>
          </p:nvSpPr>
          <p:spPr>
            <a:xfrm>
              <a:off x="11011853" y="22501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7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3" y="5398"/>
                  </a:cubicBezTo>
                  <a:lnTo>
                    <a:pt x="6667" y="35242"/>
                  </a:lnTo>
                  <a:cubicBezTo>
                    <a:pt x="5397" y="35242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4" name="任意多边形: 形状 10063"/>
            <p:cNvSpPr/>
            <p:nvPr/>
          </p:nvSpPr>
          <p:spPr>
            <a:xfrm>
              <a:off x="11013122" y="22507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7468" y="5397"/>
                    <a:pt x="58103" y="5397"/>
                  </a:cubicBezTo>
                  <a:lnTo>
                    <a:pt x="6668" y="35242"/>
                  </a:lnTo>
                  <a:cubicBezTo>
                    <a:pt x="6033" y="35242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5" name="任意多边形: 形状 10064"/>
            <p:cNvSpPr/>
            <p:nvPr/>
          </p:nvSpPr>
          <p:spPr>
            <a:xfrm>
              <a:off x="11015028" y="225139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7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3" y="5398"/>
                  </a:cubicBezTo>
                  <a:lnTo>
                    <a:pt x="6667" y="35243"/>
                  </a:lnTo>
                  <a:cubicBezTo>
                    <a:pt x="6032" y="35243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6" name="任意多边形: 形状 10065"/>
            <p:cNvSpPr/>
            <p:nvPr/>
          </p:nvSpPr>
          <p:spPr>
            <a:xfrm>
              <a:off x="11016932" y="225202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5398"/>
                    <a:pt x="58103" y="5398"/>
                  </a:cubicBezTo>
                  <a:lnTo>
                    <a:pt x="6668" y="35243"/>
                  </a:lnTo>
                  <a:cubicBezTo>
                    <a:pt x="5398" y="35243"/>
                    <a:pt x="476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7" name="任意多边形: 形状 10066"/>
            <p:cNvSpPr/>
            <p:nvPr/>
          </p:nvSpPr>
          <p:spPr>
            <a:xfrm>
              <a:off x="11018203" y="22532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5398 h 38100"/>
                <a:gd name="connsiteX3" fmla="*/ 58103 w 57150"/>
                <a:gd name="connsiteY3" fmla="*/ 5398 h 38100"/>
                <a:gd name="connsiteX4" fmla="*/ 6667 w 57150"/>
                <a:gd name="connsiteY4" fmla="*/ 35242 h 38100"/>
                <a:gd name="connsiteX5" fmla="*/ 6032 w 57150"/>
                <a:gd name="connsiteY5" fmla="*/ 35242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6832" y="5398"/>
                    <a:pt x="57467" y="5398"/>
                  </a:cubicBezTo>
                  <a:cubicBezTo>
                    <a:pt x="57467" y="5398"/>
                    <a:pt x="57467" y="5398"/>
                    <a:pt x="58103" y="5398"/>
                  </a:cubicBezTo>
                  <a:lnTo>
                    <a:pt x="6667" y="35242"/>
                  </a:lnTo>
                  <a:cubicBezTo>
                    <a:pt x="6667" y="35242"/>
                    <a:pt x="6667" y="35242"/>
                    <a:pt x="6032" y="35242"/>
                  </a:cubicBez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8" name="任意多边形: 形状 10067"/>
            <p:cNvSpPr/>
            <p:nvPr/>
          </p:nvSpPr>
          <p:spPr>
            <a:xfrm>
              <a:off x="11020107" y="225393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6032 h 38100"/>
                <a:gd name="connsiteX3" fmla="*/ 6668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7468" y="5397"/>
                    <a:pt x="58103" y="6032"/>
                  </a:cubicBezTo>
                  <a:lnTo>
                    <a:pt x="6668" y="35877"/>
                  </a:lnTo>
                  <a:cubicBezTo>
                    <a:pt x="6033" y="35242"/>
                    <a:pt x="5398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9" name="任意多边形: 形状 10068"/>
            <p:cNvSpPr/>
            <p:nvPr/>
          </p:nvSpPr>
          <p:spPr>
            <a:xfrm>
              <a:off x="11022013" y="225520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033 h 38100"/>
                <a:gd name="connsiteX3" fmla="*/ 6668 w 57150"/>
                <a:gd name="connsiteY3" fmla="*/ 35877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8" y="5398"/>
                    <a:pt x="58103" y="6033"/>
                  </a:cubicBezTo>
                  <a:lnTo>
                    <a:pt x="6668" y="35877"/>
                  </a:lnTo>
                  <a:cubicBezTo>
                    <a:pt x="5397" y="35243"/>
                    <a:pt x="476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0" name="任意多边形: 形状 10069"/>
            <p:cNvSpPr/>
            <p:nvPr/>
          </p:nvSpPr>
          <p:spPr>
            <a:xfrm>
              <a:off x="11023282" y="22564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6032 h 38100"/>
                <a:gd name="connsiteX3" fmla="*/ 6668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8"/>
                    <a:pt x="57468" y="5398"/>
                    <a:pt x="58103" y="6032"/>
                  </a:cubicBezTo>
                  <a:lnTo>
                    <a:pt x="6668" y="35877"/>
                  </a:lnTo>
                  <a:cubicBezTo>
                    <a:pt x="6033" y="35242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1" name="任意多边形: 形状 10070"/>
            <p:cNvSpPr/>
            <p:nvPr/>
          </p:nvSpPr>
          <p:spPr>
            <a:xfrm>
              <a:off x="11025188" y="22577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033 h 38100"/>
                <a:gd name="connsiteX3" fmla="*/ 6668 w 57150"/>
                <a:gd name="connsiteY3" fmla="*/ 3587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8" y="5398"/>
                    <a:pt x="58103" y="6033"/>
                  </a:cubicBezTo>
                  <a:lnTo>
                    <a:pt x="6668" y="35878"/>
                  </a:lnTo>
                  <a:cubicBezTo>
                    <a:pt x="6032" y="35243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2" name="任意多边形: 形状 10071"/>
            <p:cNvSpPr/>
            <p:nvPr/>
          </p:nvSpPr>
          <p:spPr>
            <a:xfrm>
              <a:off x="11027093" y="225901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6033 h 38100"/>
                <a:gd name="connsiteX3" fmla="*/ 6667 w 57150"/>
                <a:gd name="connsiteY3" fmla="*/ 35877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2" y="6033"/>
                  </a:cubicBezTo>
                  <a:lnTo>
                    <a:pt x="6667" y="35877"/>
                  </a:lnTo>
                  <a:cubicBezTo>
                    <a:pt x="6032" y="35242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3" name="任意多边形: 形状 10072"/>
            <p:cNvSpPr/>
            <p:nvPr/>
          </p:nvSpPr>
          <p:spPr>
            <a:xfrm>
              <a:off x="11028997" y="22602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033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4" name="任意多边形: 形状 10073"/>
            <p:cNvSpPr/>
            <p:nvPr/>
          </p:nvSpPr>
          <p:spPr>
            <a:xfrm>
              <a:off x="11030903" y="22621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7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3" y="6667"/>
                  </a:cubicBezTo>
                  <a:lnTo>
                    <a:pt x="6667" y="36513"/>
                  </a:lnTo>
                  <a:cubicBezTo>
                    <a:pt x="6032" y="35242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5" name="任意多边形: 形状 10074"/>
            <p:cNvSpPr/>
            <p:nvPr/>
          </p:nvSpPr>
          <p:spPr>
            <a:xfrm>
              <a:off x="11032172" y="22634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033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6" name="任意多边形: 形状 10075"/>
            <p:cNvSpPr/>
            <p:nvPr/>
          </p:nvSpPr>
          <p:spPr>
            <a:xfrm>
              <a:off x="11034078" y="226536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7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3" y="6667"/>
                  </a:cubicBezTo>
                  <a:lnTo>
                    <a:pt x="6667" y="36513"/>
                  </a:lnTo>
                  <a:cubicBezTo>
                    <a:pt x="6032" y="35877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7" name="任意多边形: 形状 10076"/>
            <p:cNvSpPr/>
            <p:nvPr/>
          </p:nvSpPr>
          <p:spPr>
            <a:xfrm>
              <a:off x="11035982" y="226726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6668 h 38100"/>
                <a:gd name="connsiteX3" fmla="*/ 6668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5398"/>
                    <a:pt x="57468" y="6033"/>
                    <a:pt x="58103" y="6668"/>
                  </a:cubicBezTo>
                  <a:lnTo>
                    <a:pt x="6668" y="36513"/>
                  </a:lnTo>
                  <a:cubicBezTo>
                    <a:pt x="6033" y="35878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8" name="任意多边形: 形状 10077"/>
            <p:cNvSpPr/>
            <p:nvPr/>
          </p:nvSpPr>
          <p:spPr>
            <a:xfrm>
              <a:off x="11037253" y="226853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7 w 57150"/>
                <a:gd name="connsiteY2" fmla="*/ 6667 h 38100"/>
                <a:gd name="connsiteX3" fmla="*/ 6032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7467" y="6667"/>
                  </a:cubicBezTo>
                  <a:lnTo>
                    <a:pt x="6032" y="36513"/>
                  </a:lnTo>
                  <a:cubicBezTo>
                    <a:pt x="6032" y="35877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9" name="任意多边形: 形状 10078"/>
            <p:cNvSpPr/>
            <p:nvPr/>
          </p:nvSpPr>
          <p:spPr>
            <a:xfrm>
              <a:off x="11039157" y="22704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7468 w 57150"/>
                <a:gd name="connsiteY2" fmla="*/ 6668 h 38100"/>
                <a:gd name="connsiteX3" fmla="*/ 6033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5398"/>
                    <a:pt x="57468" y="6033"/>
                    <a:pt x="57468" y="6668"/>
                  </a:cubicBezTo>
                  <a:lnTo>
                    <a:pt x="6033" y="36513"/>
                  </a:lnTo>
                  <a:cubicBezTo>
                    <a:pt x="5398" y="35878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0" name="任意多边形: 形状 10079"/>
            <p:cNvSpPr/>
            <p:nvPr/>
          </p:nvSpPr>
          <p:spPr>
            <a:xfrm>
              <a:off x="11040428" y="22723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832 w 57150"/>
                <a:gd name="connsiteY1" fmla="*/ 4763 h 38100"/>
                <a:gd name="connsiteX2" fmla="*/ 56832 w 57150"/>
                <a:gd name="connsiteY2" fmla="*/ 4763 h 38100"/>
                <a:gd name="connsiteX3" fmla="*/ 4763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832" y="4763"/>
                  </a:lnTo>
                  <a:lnTo>
                    <a:pt x="56832" y="4763"/>
                  </a:lnTo>
                  <a:lnTo>
                    <a:pt x="4763" y="34607"/>
                  </a:lnTo>
                  <a:lnTo>
                    <a:pt x="4763" y="34607"/>
                  </a:ln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1" name="任意多边形: 形状 10080"/>
            <p:cNvSpPr/>
            <p:nvPr/>
          </p:nvSpPr>
          <p:spPr>
            <a:xfrm>
              <a:off x="11052493" y="2246313"/>
              <a:ext cx="63500" cy="38100"/>
            </a:xfrm>
            <a:custGeom>
              <a:avLst/>
              <a:gdLst>
                <a:gd name="connsiteX0" fmla="*/ 4763 w 63500"/>
                <a:gd name="connsiteY0" fmla="*/ 36513 h 38100"/>
                <a:gd name="connsiteX1" fmla="*/ 56197 w 63500"/>
                <a:gd name="connsiteY1" fmla="*/ 6667 h 38100"/>
                <a:gd name="connsiteX2" fmla="*/ 60007 w 63500"/>
                <a:gd name="connsiteY2" fmla="*/ 4763 h 38100"/>
                <a:gd name="connsiteX3" fmla="*/ 8572 w 63500"/>
                <a:gd name="connsiteY3" fmla="*/ 34608 h 38100"/>
                <a:gd name="connsiteX4" fmla="*/ 4763 w 63500"/>
                <a:gd name="connsiteY4" fmla="*/ 3651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6513"/>
                  </a:moveTo>
                  <a:lnTo>
                    <a:pt x="56197" y="6667"/>
                  </a:lnTo>
                  <a:cubicBezTo>
                    <a:pt x="57467" y="6033"/>
                    <a:pt x="58738" y="5398"/>
                    <a:pt x="60007" y="4763"/>
                  </a:cubicBezTo>
                  <a:lnTo>
                    <a:pt x="8572" y="34608"/>
                  </a:lnTo>
                  <a:cubicBezTo>
                    <a:pt x="7302" y="35242"/>
                    <a:pt x="6032" y="35242"/>
                    <a:pt x="4763" y="3651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2" name="任意多边形: 形状 10081"/>
            <p:cNvSpPr/>
            <p:nvPr/>
          </p:nvSpPr>
          <p:spPr>
            <a:xfrm>
              <a:off x="11056303" y="2245677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9372 w 63500"/>
                <a:gd name="connsiteY2" fmla="*/ 4763 h 38100"/>
                <a:gd name="connsiteX3" fmla="*/ 7938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7467" y="4763"/>
                    <a:pt x="58103" y="4763"/>
                    <a:pt x="59372" y="4763"/>
                  </a:cubicBezTo>
                  <a:lnTo>
                    <a:pt x="7938" y="34608"/>
                  </a:lnTo>
                  <a:cubicBezTo>
                    <a:pt x="6667" y="34608"/>
                    <a:pt x="5397" y="34608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3" name="任意多边形: 形状 10082"/>
            <p:cNvSpPr/>
            <p:nvPr/>
          </p:nvSpPr>
          <p:spPr>
            <a:xfrm>
              <a:off x="11059478" y="2245042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2" y="5398"/>
                    <a:pt x="58103" y="5398"/>
                    <a:pt x="58738" y="4763"/>
                  </a:cubicBezTo>
                  <a:lnTo>
                    <a:pt x="7303" y="34608"/>
                  </a:lnTo>
                  <a:cubicBezTo>
                    <a:pt x="6032" y="34608"/>
                    <a:pt x="5397" y="34608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4" name="任意多边形: 形状 10083"/>
            <p:cNvSpPr/>
            <p:nvPr/>
          </p:nvSpPr>
          <p:spPr>
            <a:xfrm>
              <a:off x="11062018" y="22450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4763"/>
                  </a:cubicBezTo>
                  <a:lnTo>
                    <a:pt x="6667" y="34608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5" name="任意多边形: 形状 10084"/>
            <p:cNvSpPr/>
            <p:nvPr/>
          </p:nvSpPr>
          <p:spPr>
            <a:xfrm>
              <a:off x="11063922" y="22450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6" name="任意多边形: 形状 10085"/>
            <p:cNvSpPr/>
            <p:nvPr/>
          </p:nvSpPr>
          <p:spPr>
            <a:xfrm>
              <a:off x="11065828" y="22450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3" y="4763"/>
                  </a:cubicBezTo>
                  <a:lnTo>
                    <a:pt x="6667" y="34608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7" name="任意多边形: 形状 10086"/>
            <p:cNvSpPr/>
            <p:nvPr/>
          </p:nvSpPr>
          <p:spPr>
            <a:xfrm>
              <a:off x="11067732" y="22450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5243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8" name="任意多边形: 形状 10087"/>
            <p:cNvSpPr/>
            <p:nvPr/>
          </p:nvSpPr>
          <p:spPr>
            <a:xfrm>
              <a:off x="11069638" y="22456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8" y="4763"/>
                    <a:pt x="58103" y="5398"/>
                  </a:cubicBezTo>
                  <a:lnTo>
                    <a:pt x="6668" y="35243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9" name="任意多边形: 形状 10088"/>
            <p:cNvSpPr/>
            <p:nvPr/>
          </p:nvSpPr>
          <p:spPr>
            <a:xfrm>
              <a:off x="11071543" y="224631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5398 h 38100"/>
                <a:gd name="connsiteX3" fmla="*/ 6667 w 57150"/>
                <a:gd name="connsiteY3" fmla="*/ 35242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2" y="5398"/>
                  </a:cubicBezTo>
                  <a:lnTo>
                    <a:pt x="6667" y="35242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0" name="任意多边形: 形状 10089"/>
            <p:cNvSpPr/>
            <p:nvPr/>
          </p:nvSpPr>
          <p:spPr>
            <a:xfrm>
              <a:off x="11073447" y="224631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2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4763"/>
                    <a:pt x="57468" y="5398"/>
                    <a:pt x="58103" y="5398"/>
                  </a:cubicBezTo>
                  <a:lnTo>
                    <a:pt x="6668" y="35242"/>
                  </a:lnTo>
                  <a:cubicBezTo>
                    <a:pt x="6033" y="35242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1" name="任意多边形: 形状 10090"/>
            <p:cNvSpPr/>
            <p:nvPr/>
          </p:nvSpPr>
          <p:spPr>
            <a:xfrm>
              <a:off x="11075353" y="22469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7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3" y="5398"/>
                  </a:cubicBezTo>
                  <a:lnTo>
                    <a:pt x="6667" y="35242"/>
                  </a:lnTo>
                  <a:cubicBezTo>
                    <a:pt x="6032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2" name="任意多边形: 形状 10091"/>
            <p:cNvSpPr/>
            <p:nvPr/>
          </p:nvSpPr>
          <p:spPr>
            <a:xfrm>
              <a:off x="11077257" y="22475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7468" y="5397"/>
                    <a:pt x="58103" y="5397"/>
                  </a:cubicBezTo>
                  <a:lnTo>
                    <a:pt x="6668" y="35242"/>
                  </a:lnTo>
                  <a:cubicBezTo>
                    <a:pt x="6033" y="35242"/>
                    <a:pt x="5398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3" name="任意多边形: 形状 10092"/>
            <p:cNvSpPr/>
            <p:nvPr/>
          </p:nvSpPr>
          <p:spPr>
            <a:xfrm>
              <a:off x="11079163" y="224821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8" y="5398"/>
                    <a:pt x="58103" y="5398"/>
                  </a:cubicBezTo>
                  <a:lnTo>
                    <a:pt x="6668" y="35243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4" name="任意多边形: 形状 10093"/>
            <p:cNvSpPr/>
            <p:nvPr/>
          </p:nvSpPr>
          <p:spPr>
            <a:xfrm>
              <a:off x="11080432" y="22494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2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5398"/>
                    <a:pt x="58103" y="5398"/>
                  </a:cubicBezTo>
                  <a:lnTo>
                    <a:pt x="6668" y="35242"/>
                  </a:lnTo>
                  <a:cubicBezTo>
                    <a:pt x="6033" y="35242"/>
                    <a:pt x="5398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5" name="任意多边形: 形状 10094"/>
            <p:cNvSpPr/>
            <p:nvPr/>
          </p:nvSpPr>
          <p:spPr>
            <a:xfrm>
              <a:off x="11082338" y="22501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5398 h 38100"/>
                <a:gd name="connsiteX3" fmla="*/ 58103 w 57150"/>
                <a:gd name="connsiteY3" fmla="*/ 5398 h 38100"/>
                <a:gd name="connsiteX4" fmla="*/ 6668 w 57150"/>
                <a:gd name="connsiteY4" fmla="*/ 35242 h 38100"/>
                <a:gd name="connsiteX5" fmla="*/ 6032 w 57150"/>
                <a:gd name="connsiteY5" fmla="*/ 35242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6832" y="5398"/>
                    <a:pt x="57468" y="5398"/>
                  </a:cubicBezTo>
                  <a:cubicBezTo>
                    <a:pt x="57468" y="5398"/>
                    <a:pt x="57468" y="5398"/>
                    <a:pt x="58103" y="5398"/>
                  </a:cubicBezTo>
                  <a:lnTo>
                    <a:pt x="6668" y="35242"/>
                  </a:lnTo>
                  <a:cubicBezTo>
                    <a:pt x="6668" y="35242"/>
                    <a:pt x="6668" y="35242"/>
                    <a:pt x="6032" y="35242"/>
                  </a:cubicBezTo>
                  <a:cubicBezTo>
                    <a:pt x="6032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6" name="任意多边形: 形状 10095"/>
            <p:cNvSpPr/>
            <p:nvPr/>
          </p:nvSpPr>
          <p:spPr>
            <a:xfrm>
              <a:off x="11084243" y="225139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6033 h 38100"/>
                <a:gd name="connsiteX3" fmla="*/ 6667 w 57150"/>
                <a:gd name="connsiteY3" fmla="*/ 3587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5398"/>
                    <a:pt x="58102" y="6033"/>
                  </a:cubicBezTo>
                  <a:lnTo>
                    <a:pt x="6667" y="35878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7" name="任意多边形: 形状 10096"/>
            <p:cNvSpPr/>
            <p:nvPr/>
          </p:nvSpPr>
          <p:spPr>
            <a:xfrm>
              <a:off x="11086147" y="225266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033 h 38100"/>
                <a:gd name="connsiteX3" fmla="*/ 6668 w 57150"/>
                <a:gd name="connsiteY3" fmla="*/ 35877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5398"/>
                    <a:pt x="57468" y="5398"/>
                    <a:pt x="58103" y="6033"/>
                  </a:cubicBezTo>
                  <a:lnTo>
                    <a:pt x="6668" y="35877"/>
                  </a:lnTo>
                  <a:cubicBezTo>
                    <a:pt x="6033" y="35242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8" name="任意多边形: 形状 10097"/>
            <p:cNvSpPr/>
            <p:nvPr/>
          </p:nvSpPr>
          <p:spPr>
            <a:xfrm>
              <a:off x="11088053" y="225393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032 h 38100"/>
                <a:gd name="connsiteX3" fmla="*/ 6667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7" y="5397"/>
                    <a:pt x="58103" y="6032"/>
                  </a:cubicBezTo>
                  <a:lnTo>
                    <a:pt x="6667" y="35877"/>
                  </a:lnTo>
                  <a:cubicBezTo>
                    <a:pt x="6032" y="35242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9" name="任意多边形: 形状 10098"/>
            <p:cNvSpPr/>
            <p:nvPr/>
          </p:nvSpPr>
          <p:spPr>
            <a:xfrm>
              <a:off x="11089957" y="225520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6033 h 38100"/>
                <a:gd name="connsiteX3" fmla="*/ 6668 w 57150"/>
                <a:gd name="connsiteY3" fmla="*/ 35877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5398"/>
                    <a:pt x="57468" y="6033"/>
                    <a:pt x="58103" y="6033"/>
                  </a:cubicBezTo>
                  <a:lnTo>
                    <a:pt x="6668" y="35877"/>
                  </a:lnTo>
                  <a:cubicBezTo>
                    <a:pt x="6033" y="35243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0" name="任意多边形: 形状 10099"/>
            <p:cNvSpPr/>
            <p:nvPr/>
          </p:nvSpPr>
          <p:spPr>
            <a:xfrm>
              <a:off x="11091863" y="22564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032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1" name="任意多边形: 形状 10100"/>
            <p:cNvSpPr/>
            <p:nvPr/>
          </p:nvSpPr>
          <p:spPr>
            <a:xfrm>
              <a:off x="11093768" y="22583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6668 h 38100"/>
                <a:gd name="connsiteX3" fmla="*/ 6667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2" y="6668"/>
                  </a:cubicBezTo>
                  <a:lnTo>
                    <a:pt x="6667" y="36513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2" name="任意多边形: 形状 10101"/>
            <p:cNvSpPr/>
            <p:nvPr/>
          </p:nvSpPr>
          <p:spPr>
            <a:xfrm>
              <a:off x="11095672" y="22596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8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668" y="35877"/>
                    <a:pt x="603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3" name="任意多边形: 形状 10102"/>
            <p:cNvSpPr/>
            <p:nvPr/>
          </p:nvSpPr>
          <p:spPr>
            <a:xfrm>
              <a:off x="11098213" y="22615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668 h 38100"/>
                <a:gd name="connsiteX3" fmla="*/ 6668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8" y="6033"/>
                    <a:pt x="58103" y="6668"/>
                  </a:cubicBezTo>
                  <a:lnTo>
                    <a:pt x="6668" y="36513"/>
                  </a:lnTo>
                  <a:cubicBezTo>
                    <a:pt x="6032" y="35877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4" name="任意多边形: 形状 10103"/>
            <p:cNvSpPr/>
            <p:nvPr/>
          </p:nvSpPr>
          <p:spPr>
            <a:xfrm>
              <a:off x="11100118" y="22634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6667 h 38100"/>
                <a:gd name="connsiteX3" fmla="*/ 6667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7" y="6032"/>
                    <a:pt x="58102" y="6667"/>
                  </a:cubicBezTo>
                  <a:lnTo>
                    <a:pt x="6667" y="36513"/>
                  </a:lnTo>
                  <a:cubicBezTo>
                    <a:pt x="6032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5" name="任意多边形: 形状 10104"/>
            <p:cNvSpPr/>
            <p:nvPr/>
          </p:nvSpPr>
          <p:spPr>
            <a:xfrm>
              <a:off x="11102022" y="226536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833 w 57150"/>
                <a:gd name="connsiteY2" fmla="*/ 5398 h 38100"/>
                <a:gd name="connsiteX3" fmla="*/ 4763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4763"/>
                    <a:pt x="56197" y="4763"/>
                    <a:pt x="56833" y="5398"/>
                  </a:cubicBezTo>
                  <a:lnTo>
                    <a:pt x="4763" y="34608"/>
                  </a:lnTo>
                  <a:cubicBezTo>
                    <a:pt x="4763" y="35242"/>
                    <a:pt x="4763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6" name="任意多边形: 形状 10105"/>
            <p:cNvSpPr/>
            <p:nvPr/>
          </p:nvSpPr>
          <p:spPr>
            <a:xfrm>
              <a:off x="11131232" y="2198052"/>
              <a:ext cx="63500" cy="38100"/>
            </a:xfrm>
            <a:custGeom>
              <a:avLst/>
              <a:gdLst>
                <a:gd name="connsiteX0" fmla="*/ 4763 w 63500"/>
                <a:gd name="connsiteY0" fmla="*/ 38418 h 38100"/>
                <a:gd name="connsiteX1" fmla="*/ 56198 w 63500"/>
                <a:gd name="connsiteY1" fmla="*/ 8573 h 38100"/>
                <a:gd name="connsiteX2" fmla="*/ 64453 w 63500"/>
                <a:gd name="connsiteY2" fmla="*/ 4763 h 38100"/>
                <a:gd name="connsiteX3" fmla="*/ 13018 w 63500"/>
                <a:gd name="connsiteY3" fmla="*/ 34608 h 38100"/>
                <a:gd name="connsiteX4" fmla="*/ 4763 w 63500"/>
                <a:gd name="connsiteY4" fmla="*/ 3841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8418"/>
                  </a:moveTo>
                  <a:lnTo>
                    <a:pt x="56198" y="8573"/>
                  </a:lnTo>
                  <a:cubicBezTo>
                    <a:pt x="58738" y="7302"/>
                    <a:pt x="61913" y="6033"/>
                    <a:pt x="64453" y="4763"/>
                  </a:cubicBezTo>
                  <a:lnTo>
                    <a:pt x="13018" y="34608"/>
                  </a:lnTo>
                  <a:cubicBezTo>
                    <a:pt x="9843" y="35877"/>
                    <a:pt x="7303" y="37148"/>
                    <a:pt x="4763" y="3841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7" name="任意多边形: 形状 10106"/>
            <p:cNvSpPr/>
            <p:nvPr/>
          </p:nvSpPr>
          <p:spPr>
            <a:xfrm>
              <a:off x="11139488" y="2196148"/>
              <a:ext cx="63500" cy="38100"/>
            </a:xfrm>
            <a:custGeom>
              <a:avLst/>
              <a:gdLst>
                <a:gd name="connsiteX0" fmla="*/ 4763 w 63500"/>
                <a:gd name="connsiteY0" fmla="*/ 36513 h 38100"/>
                <a:gd name="connsiteX1" fmla="*/ 56197 w 63500"/>
                <a:gd name="connsiteY1" fmla="*/ 6667 h 38100"/>
                <a:gd name="connsiteX2" fmla="*/ 63182 w 63500"/>
                <a:gd name="connsiteY2" fmla="*/ 4763 h 38100"/>
                <a:gd name="connsiteX3" fmla="*/ 11747 w 63500"/>
                <a:gd name="connsiteY3" fmla="*/ 34607 h 38100"/>
                <a:gd name="connsiteX4" fmla="*/ 4763 w 63500"/>
                <a:gd name="connsiteY4" fmla="*/ 3651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6513"/>
                  </a:moveTo>
                  <a:lnTo>
                    <a:pt x="56197" y="6667"/>
                  </a:lnTo>
                  <a:cubicBezTo>
                    <a:pt x="58738" y="6032"/>
                    <a:pt x="60643" y="5398"/>
                    <a:pt x="63182" y="4763"/>
                  </a:cubicBezTo>
                  <a:lnTo>
                    <a:pt x="11747" y="34607"/>
                  </a:lnTo>
                  <a:cubicBezTo>
                    <a:pt x="9207" y="35242"/>
                    <a:pt x="7303" y="35877"/>
                    <a:pt x="4763" y="3651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8" name="任意多边形: 形状 10107"/>
            <p:cNvSpPr/>
            <p:nvPr/>
          </p:nvSpPr>
          <p:spPr>
            <a:xfrm>
              <a:off x="11146472" y="2195513"/>
              <a:ext cx="63500" cy="38100"/>
            </a:xfrm>
            <a:custGeom>
              <a:avLst/>
              <a:gdLst>
                <a:gd name="connsiteX0" fmla="*/ 4763 w 63500"/>
                <a:gd name="connsiteY0" fmla="*/ 35242 h 38100"/>
                <a:gd name="connsiteX1" fmla="*/ 56197 w 63500"/>
                <a:gd name="connsiteY1" fmla="*/ 5398 h 38100"/>
                <a:gd name="connsiteX2" fmla="*/ 61913 w 63500"/>
                <a:gd name="connsiteY2" fmla="*/ 4763 h 38100"/>
                <a:gd name="connsiteX3" fmla="*/ 10478 w 63500"/>
                <a:gd name="connsiteY3" fmla="*/ 34608 h 38100"/>
                <a:gd name="connsiteX4" fmla="*/ 4763 w 63500"/>
                <a:gd name="connsiteY4" fmla="*/ 3524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2"/>
                  </a:moveTo>
                  <a:lnTo>
                    <a:pt x="56197" y="5398"/>
                  </a:lnTo>
                  <a:cubicBezTo>
                    <a:pt x="58103" y="4763"/>
                    <a:pt x="60008" y="4763"/>
                    <a:pt x="61913" y="4763"/>
                  </a:cubicBezTo>
                  <a:lnTo>
                    <a:pt x="10478" y="34608"/>
                  </a:lnTo>
                  <a:cubicBezTo>
                    <a:pt x="8572" y="34608"/>
                    <a:pt x="6668" y="34608"/>
                    <a:pt x="4763" y="3524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9" name="任意多边形: 形状 10108"/>
            <p:cNvSpPr/>
            <p:nvPr/>
          </p:nvSpPr>
          <p:spPr>
            <a:xfrm>
              <a:off x="11152822" y="219551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1278 w 63500"/>
                <a:gd name="connsiteY2" fmla="*/ 4763 h 38100"/>
                <a:gd name="connsiteX3" fmla="*/ 9843 w 63500"/>
                <a:gd name="connsiteY3" fmla="*/ 3460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8103" y="4763"/>
                    <a:pt x="60008" y="4763"/>
                    <a:pt x="61278" y="4763"/>
                  </a:cubicBezTo>
                  <a:lnTo>
                    <a:pt x="9843" y="34608"/>
                  </a:lnTo>
                  <a:cubicBezTo>
                    <a:pt x="7938" y="33973"/>
                    <a:pt x="6033" y="3397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0" name="任意多边形: 形状 10109"/>
            <p:cNvSpPr/>
            <p:nvPr/>
          </p:nvSpPr>
          <p:spPr>
            <a:xfrm>
              <a:off x="11157903" y="21948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1278 w 63500"/>
                <a:gd name="connsiteY2" fmla="*/ 4763 h 38100"/>
                <a:gd name="connsiteX3" fmla="*/ 9842 w 63500"/>
                <a:gd name="connsiteY3" fmla="*/ 3460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8103" y="4763"/>
                    <a:pt x="59372" y="4763"/>
                    <a:pt x="61278" y="4763"/>
                  </a:cubicBezTo>
                  <a:lnTo>
                    <a:pt x="9842" y="34608"/>
                  </a:lnTo>
                  <a:cubicBezTo>
                    <a:pt x="7938" y="34608"/>
                    <a:pt x="666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1" name="任意多边形: 形状 10110"/>
            <p:cNvSpPr/>
            <p:nvPr/>
          </p:nvSpPr>
          <p:spPr>
            <a:xfrm>
              <a:off x="11162982" y="219551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60643 w 63500"/>
                <a:gd name="connsiteY2" fmla="*/ 5398 h 38100"/>
                <a:gd name="connsiteX3" fmla="*/ 9208 w 63500"/>
                <a:gd name="connsiteY3" fmla="*/ 35242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7468" y="4763"/>
                    <a:pt x="59373" y="4763"/>
                    <a:pt x="60643" y="5398"/>
                  </a:cubicBezTo>
                  <a:lnTo>
                    <a:pt x="9208" y="35242"/>
                  </a:lnTo>
                  <a:cubicBezTo>
                    <a:pt x="7938" y="34608"/>
                    <a:pt x="603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2" name="任意多边形: 形状 10111"/>
            <p:cNvSpPr/>
            <p:nvPr/>
          </p:nvSpPr>
          <p:spPr>
            <a:xfrm>
              <a:off x="11167428" y="219551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5398 h 38100"/>
                <a:gd name="connsiteX3" fmla="*/ 9207 w 63500"/>
                <a:gd name="connsiteY3" fmla="*/ 35242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4763"/>
                    <a:pt x="59372" y="5398"/>
                    <a:pt x="60642" y="5398"/>
                  </a:cubicBezTo>
                  <a:lnTo>
                    <a:pt x="9207" y="35242"/>
                  </a:lnTo>
                  <a:cubicBezTo>
                    <a:pt x="7938" y="35242"/>
                    <a:pt x="666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3" name="任意多边形: 形状 10112"/>
            <p:cNvSpPr/>
            <p:nvPr/>
          </p:nvSpPr>
          <p:spPr>
            <a:xfrm>
              <a:off x="11171872" y="219678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6032 h 38100"/>
                <a:gd name="connsiteX3" fmla="*/ 9208 w 63500"/>
                <a:gd name="connsiteY3" fmla="*/ 3587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4763"/>
                    <a:pt x="59372" y="5397"/>
                    <a:pt x="60643" y="6032"/>
                  </a:cubicBezTo>
                  <a:lnTo>
                    <a:pt x="9208" y="35877"/>
                  </a:lnTo>
                  <a:cubicBezTo>
                    <a:pt x="7938" y="34607"/>
                    <a:pt x="666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4" name="任意多边形: 形状 10113"/>
            <p:cNvSpPr/>
            <p:nvPr/>
          </p:nvSpPr>
          <p:spPr>
            <a:xfrm>
              <a:off x="11176318" y="21974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6033 h 38100"/>
                <a:gd name="connsiteX3" fmla="*/ 9207 w 63500"/>
                <a:gd name="connsiteY3" fmla="*/ 3587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5398"/>
                    <a:pt x="59372" y="5398"/>
                    <a:pt x="60642" y="6033"/>
                  </a:cubicBezTo>
                  <a:lnTo>
                    <a:pt x="9207" y="35878"/>
                  </a:lnTo>
                  <a:cubicBezTo>
                    <a:pt x="7938" y="35243"/>
                    <a:pt x="666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5" name="任意多边形: 形状 10114"/>
            <p:cNvSpPr/>
            <p:nvPr/>
          </p:nvSpPr>
          <p:spPr>
            <a:xfrm>
              <a:off x="11180763" y="2198688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3 w 63500"/>
                <a:gd name="connsiteY2" fmla="*/ 6033 h 38100"/>
                <a:gd name="connsiteX3" fmla="*/ 9207 w 63500"/>
                <a:gd name="connsiteY3" fmla="*/ 35877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5398"/>
                    <a:pt x="58738" y="5398"/>
                    <a:pt x="60643" y="6033"/>
                  </a:cubicBezTo>
                  <a:lnTo>
                    <a:pt x="9207" y="35877"/>
                  </a:lnTo>
                  <a:cubicBezTo>
                    <a:pt x="7938" y="35242"/>
                    <a:pt x="6032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6" name="任意多边形: 形状 10115"/>
            <p:cNvSpPr/>
            <p:nvPr/>
          </p:nvSpPr>
          <p:spPr>
            <a:xfrm>
              <a:off x="11185207" y="219995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643 w 63500"/>
                <a:gd name="connsiteY2" fmla="*/ 6667 h 38100"/>
                <a:gd name="connsiteX3" fmla="*/ 9208 w 63500"/>
                <a:gd name="connsiteY3" fmla="*/ 3651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5397"/>
                    <a:pt x="58738" y="6032"/>
                    <a:pt x="60643" y="6667"/>
                  </a:cubicBezTo>
                  <a:lnTo>
                    <a:pt x="9208" y="36513"/>
                  </a:lnTo>
                  <a:cubicBezTo>
                    <a:pt x="7303" y="35877"/>
                    <a:pt x="603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7" name="任意多边形: 形状 10116"/>
            <p:cNvSpPr/>
            <p:nvPr/>
          </p:nvSpPr>
          <p:spPr>
            <a:xfrm>
              <a:off x="11189653" y="220186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6667 h 38100"/>
                <a:gd name="connsiteX3" fmla="*/ 9207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5398"/>
                    <a:pt x="58738" y="6033"/>
                    <a:pt x="60642" y="6667"/>
                  </a:cubicBezTo>
                  <a:lnTo>
                    <a:pt x="9207" y="36513"/>
                  </a:lnTo>
                  <a:cubicBezTo>
                    <a:pt x="7303" y="35877"/>
                    <a:pt x="6032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8" name="任意多边形: 形状 10117"/>
            <p:cNvSpPr/>
            <p:nvPr/>
          </p:nvSpPr>
          <p:spPr>
            <a:xfrm>
              <a:off x="11193463" y="220376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3 w 63500"/>
                <a:gd name="connsiteY2" fmla="*/ 6668 h 38100"/>
                <a:gd name="connsiteX3" fmla="*/ 9207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5398"/>
                    <a:pt x="59372" y="6033"/>
                    <a:pt x="60643" y="6668"/>
                  </a:cubicBezTo>
                  <a:lnTo>
                    <a:pt x="9207" y="36513"/>
                  </a:lnTo>
                  <a:cubicBezTo>
                    <a:pt x="7938" y="35878"/>
                    <a:pt x="666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9" name="任意多边形: 形状 10118"/>
            <p:cNvSpPr/>
            <p:nvPr/>
          </p:nvSpPr>
          <p:spPr>
            <a:xfrm>
              <a:off x="11197907" y="220567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643 w 63500"/>
                <a:gd name="connsiteY2" fmla="*/ 7302 h 38100"/>
                <a:gd name="connsiteX3" fmla="*/ 9208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5398"/>
                    <a:pt x="59373" y="6032"/>
                    <a:pt x="60643" y="7302"/>
                  </a:cubicBezTo>
                  <a:lnTo>
                    <a:pt x="9208" y="37148"/>
                  </a:lnTo>
                  <a:cubicBezTo>
                    <a:pt x="7938" y="35877"/>
                    <a:pt x="6668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0" name="任意多边形: 形状 10119"/>
            <p:cNvSpPr/>
            <p:nvPr/>
          </p:nvSpPr>
          <p:spPr>
            <a:xfrm>
              <a:off x="11202353" y="22075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9372 w 63500"/>
                <a:gd name="connsiteY2" fmla="*/ 6668 h 38100"/>
                <a:gd name="connsiteX3" fmla="*/ 7938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5398"/>
                    <a:pt x="58738" y="6033"/>
                    <a:pt x="59372" y="6668"/>
                  </a:cubicBezTo>
                  <a:lnTo>
                    <a:pt x="7938" y="36513"/>
                  </a:lnTo>
                  <a:cubicBezTo>
                    <a:pt x="7303" y="35877"/>
                    <a:pt x="6032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1" name="任意多边形: 形状 10120"/>
            <p:cNvSpPr/>
            <p:nvPr/>
          </p:nvSpPr>
          <p:spPr>
            <a:xfrm>
              <a:off x="11205528" y="22094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5397 h 38100"/>
                <a:gd name="connsiteX3" fmla="*/ 6032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6832" y="5397"/>
                    <a:pt x="57467" y="5397"/>
                  </a:cubicBezTo>
                  <a:lnTo>
                    <a:pt x="6032" y="35242"/>
                  </a:lnTo>
                  <a:cubicBezTo>
                    <a:pt x="6032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2" name="任意多边形: 形状 10121"/>
            <p:cNvSpPr/>
            <p:nvPr/>
          </p:nvSpPr>
          <p:spPr>
            <a:xfrm>
              <a:off x="11206797" y="22101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3 w 63500"/>
                <a:gd name="connsiteY2" fmla="*/ 7303 h 38100"/>
                <a:gd name="connsiteX3" fmla="*/ 9208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5398"/>
                    <a:pt x="59372" y="6668"/>
                    <a:pt x="60643" y="7303"/>
                  </a:cubicBezTo>
                  <a:lnTo>
                    <a:pt x="9208" y="37148"/>
                  </a:lnTo>
                  <a:cubicBezTo>
                    <a:pt x="7938" y="36513"/>
                    <a:pt x="6668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3" name="任意多边形: 形状 10122"/>
            <p:cNvSpPr/>
            <p:nvPr/>
          </p:nvSpPr>
          <p:spPr>
            <a:xfrm>
              <a:off x="11211243" y="221329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7938 h 38100"/>
                <a:gd name="connsiteX3" fmla="*/ 9207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033"/>
                    <a:pt x="59372" y="6668"/>
                    <a:pt x="60642" y="7938"/>
                  </a:cubicBezTo>
                  <a:lnTo>
                    <a:pt x="9207" y="37783"/>
                  </a:lnTo>
                  <a:cubicBezTo>
                    <a:pt x="7938" y="36513"/>
                    <a:pt x="666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4" name="任意多边形: 形状 10123"/>
            <p:cNvSpPr/>
            <p:nvPr/>
          </p:nvSpPr>
          <p:spPr>
            <a:xfrm>
              <a:off x="11215688" y="221583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7938 h 38100"/>
                <a:gd name="connsiteX3" fmla="*/ 9207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9372" y="6667"/>
                    <a:pt x="60643" y="7938"/>
                  </a:cubicBezTo>
                  <a:lnTo>
                    <a:pt x="9207" y="37782"/>
                  </a:lnTo>
                  <a:cubicBezTo>
                    <a:pt x="7938" y="37147"/>
                    <a:pt x="6668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5" name="任意多边形: 形状 10124"/>
            <p:cNvSpPr/>
            <p:nvPr/>
          </p:nvSpPr>
          <p:spPr>
            <a:xfrm>
              <a:off x="11220768" y="221964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8573 h 38100"/>
                <a:gd name="connsiteX3" fmla="*/ 9207 w 63500"/>
                <a:gd name="connsiteY3" fmla="*/ 3841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033"/>
                    <a:pt x="59372" y="7303"/>
                    <a:pt x="60642" y="8573"/>
                  </a:cubicBezTo>
                  <a:lnTo>
                    <a:pt x="9207" y="38418"/>
                  </a:lnTo>
                  <a:cubicBezTo>
                    <a:pt x="7938" y="36513"/>
                    <a:pt x="6032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6" name="任意多边形: 形状 10125"/>
            <p:cNvSpPr/>
            <p:nvPr/>
          </p:nvSpPr>
          <p:spPr>
            <a:xfrm>
              <a:off x="11225213" y="22228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3 w 63500"/>
                <a:gd name="connsiteY2" fmla="*/ 8573 h 38100"/>
                <a:gd name="connsiteX3" fmla="*/ 9207 w 63500"/>
                <a:gd name="connsiteY3" fmla="*/ 3841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8103" y="6033"/>
                    <a:pt x="59372" y="7303"/>
                    <a:pt x="60643" y="8573"/>
                  </a:cubicBezTo>
                  <a:lnTo>
                    <a:pt x="9207" y="38418"/>
                  </a:lnTo>
                  <a:cubicBezTo>
                    <a:pt x="7938" y="37148"/>
                    <a:pt x="6668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7" name="任意多边形: 形状 10126"/>
            <p:cNvSpPr/>
            <p:nvPr/>
          </p:nvSpPr>
          <p:spPr>
            <a:xfrm>
              <a:off x="11230293" y="22266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8573 h 38100"/>
                <a:gd name="connsiteX3" fmla="*/ 9207 w 63500"/>
                <a:gd name="connsiteY3" fmla="*/ 3841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8102" y="6033"/>
                    <a:pt x="59372" y="7302"/>
                    <a:pt x="60642" y="8573"/>
                  </a:cubicBezTo>
                  <a:lnTo>
                    <a:pt x="9207" y="38418"/>
                  </a:lnTo>
                  <a:cubicBezTo>
                    <a:pt x="7938" y="37783"/>
                    <a:pt x="6032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8" name="任意多边形: 形状 10127"/>
            <p:cNvSpPr/>
            <p:nvPr/>
          </p:nvSpPr>
          <p:spPr>
            <a:xfrm>
              <a:off x="11234738" y="223107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9207 h 38100"/>
                <a:gd name="connsiteX3" fmla="*/ 9207 w 63500"/>
                <a:gd name="connsiteY3" fmla="*/ 3905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9372" y="7938"/>
                    <a:pt x="60643" y="9207"/>
                  </a:cubicBezTo>
                  <a:lnTo>
                    <a:pt x="9207" y="39052"/>
                  </a:lnTo>
                  <a:cubicBezTo>
                    <a:pt x="7938" y="37148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9" name="任意多边形: 形状 10128"/>
            <p:cNvSpPr/>
            <p:nvPr/>
          </p:nvSpPr>
          <p:spPr>
            <a:xfrm>
              <a:off x="11239182" y="22355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60643 w 63500"/>
                <a:gd name="connsiteY2" fmla="*/ 9208 h 38100"/>
                <a:gd name="connsiteX3" fmla="*/ 9208 w 63500"/>
                <a:gd name="connsiteY3" fmla="*/ 3905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7468" y="6033"/>
                    <a:pt x="59373" y="7938"/>
                    <a:pt x="60643" y="9208"/>
                  </a:cubicBezTo>
                  <a:lnTo>
                    <a:pt x="9208" y="39053"/>
                  </a:lnTo>
                  <a:cubicBezTo>
                    <a:pt x="7938" y="37148"/>
                    <a:pt x="6668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0" name="任意多边形: 形状 10129"/>
            <p:cNvSpPr/>
            <p:nvPr/>
          </p:nvSpPr>
          <p:spPr>
            <a:xfrm>
              <a:off x="11243628" y="223996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9208 h 38100"/>
                <a:gd name="connsiteX3" fmla="*/ 9207 w 63500"/>
                <a:gd name="connsiteY3" fmla="*/ 39052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033"/>
                    <a:pt x="59372" y="7938"/>
                    <a:pt x="60642" y="9208"/>
                  </a:cubicBezTo>
                  <a:lnTo>
                    <a:pt x="9207" y="39052"/>
                  </a:lnTo>
                  <a:cubicBezTo>
                    <a:pt x="7938" y="37148"/>
                    <a:pt x="6667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1" name="任意多边形: 形状 10130"/>
            <p:cNvSpPr/>
            <p:nvPr/>
          </p:nvSpPr>
          <p:spPr>
            <a:xfrm>
              <a:off x="11248072" y="224440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008 w 63500"/>
                <a:gd name="connsiteY2" fmla="*/ 9207 h 38100"/>
                <a:gd name="connsiteX3" fmla="*/ 8572 w 63500"/>
                <a:gd name="connsiteY3" fmla="*/ 3905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8738" y="7938"/>
                    <a:pt x="60008" y="9207"/>
                  </a:cubicBezTo>
                  <a:lnTo>
                    <a:pt x="8572" y="39052"/>
                  </a:lnTo>
                  <a:cubicBezTo>
                    <a:pt x="7303" y="37147"/>
                    <a:pt x="603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2" name="任意多边形: 形状 10131"/>
            <p:cNvSpPr/>
            <p:nvPr/>
          </p:nvSpPr>
          <p:spPr>
            <a:xfrm>
              <a:off x="11252518" y="224885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007 w 63500"/>
                <a:gd name="connsiteY2" fmla="*/ 9208 h 38100"/>
                <a:gd name="connsiteX3" fmla="*/ 8572 w 63500"/>
                <a:gd name="connsiteY3" fmla="*/ 39052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033"/>
                    <a:pt x="58738" y="7938"/>
                    <a:pt x="60007" y="9208"/>
                  </a:cubicBezTo>
                  <a:lnTo>
                    <a:pt x="8572" y="39052"/>
                  </a:lnTo>
                  <a:cubicBezTo>
                    <a:pt x="7302" y="37783"/>
                    <a:pt x="6032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3" name="任意多边形: 形状 10132"/>
            <p:cNvSpPr/>
            <p:nvPr/>
          </p:nvSpPr>
          <p:spPr>
            <a:xfrm>
              <a:off x="11256328" y="225329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0007 w 63500"/>
                <a:gd name="connsiteY2" fmla="*/ 9842 h 44450"/>
                <a:gd name="connsiteX3" fmla="*/ 8572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7"/>
                    <a:pt x="58738" y="7938"/>
                    <a:pt x="60007" y="9842"/>
                  </a:cubicBezTo>
                  <a:lnTo>
                    <a:pt x="8572" y="39688"/>
                  </a:lnTo>
                  <a:cubicBezTo>
                    <a:pt x="7303" y="37782"/>
                    <a:pt x="6032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4" name="任意多边形: 形状 10133"/>
            <p:cNvSpPr/>
            <p:nvPr/>
          </p:nvSpPr>
          <p:spPr>
            <a:xfrm>
              <a:off x="11260138" y="2258377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60643 w 63500"/>
                <a:gd name="connsiteY2" fmla="*/ 10477 h 44450"/>
                <a:gd name="connsiteX3" fmla="*/ 9207 w 63500"/>
                <a:gd name="connsiteY3" fmla="*/ 40323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6668"/>
                    <a:pt x="59372" y="8573"/>
                    <a:pt x="60643" y="10477"/>
                  </a:cubicBezTo>
                  <a:lnTo>
                    <a:pt x="9207" y="40323"/>
                  </a:lnTo>
                  <a:cubicBezTo>
                    <a:pt x="7938" y="38418"/>
                    <a:pt x="6668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5" name="任意多边形: 形状 10134"/>
            <p:cNvSpPr/>
            <p:nvPr/>
          </p:nvSpPr>
          <p:spPr>
            <a:xfrm>
              <a:off x="11264582" y="2264092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8 w 63500"/>
                <a:gd name="connsiteY1" fmla="*/ 4763 h 44450"/>
                <a:gd name="connsiteX2" fmla="*/ 62548 w 63500"/>
                <a:gd name="connsiteY2" fmla="*/ 13653 h 44450"/>
                <a:gd name="connsiteX3" fmla="*/ 11113 w 63500"/>
                <a:gd name="connsiteY3" fmla="*/ 43498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8" y="4763"/>
                  </a:lnTo>
                  <a:cubicBezTo>
                    <a:pt x="58103" y="7938"/>
                    <a:pt x="60643" y="10478"/>
                    <a:pt x="62548" y="13653"/>
                  </a:cubicBezTo>
                  <a:lnTo>
                    <a:pt x="11113" y="43498"/>
                  </a:lnTo>
                  <a:cubicBezTo>
                    <a:pt x="9208" y="40958"/>
                    <a:pt x="7303" y="3778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6" name="任意多边形: 形状 10135"/>
            <p:cNvSpPr/>
            <p:nvPr/>
          </p:nvSpPr>
          <p:spPr>
            <a:xfrm>
              <a:off x="11270932" y="2272983"/>
              <a:ext cx="63500" cy="50800"/>
            </a:xfrm>
            <a:custGeom>
              <a:avLst/>
              <a:gdLst>
                <a:gd name="connsiteX0" fmla="*/ 4763 w 63500"/>
                <a:gd name="connsiteY0" fmla="*/ 34607 h 50800"/>
                <a:gd name="connsiteX1" fmla="*/ 56198 w 63500"/>
                <a:gd name="connsiteY1" fmla="*/ 4763 h 50800"/>
                <a:gd name="connsiteX2" fmla="*/ 64453 w 63500"/>
                <a:gd name="connsiteY2" fmla="*/ 18097 h 50800"/>
                <a:gd name="connsiteX3" fmla="*/ 13018 w 63500"/>
                <a:gd name="connsiteY3" fmla="*/ 47942 h 50800"/>
                <a:gd name="connsiteX4" fmla="*/ 4763 w 63500"/>
                <a:gd name="connsiteY4" fmla="*/ 34607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50800">
                  <a:moveTo>
                    <a:pt x="4763" y="34607"/>
                  </a:moveTo>
                  <a:lnTo>
                    <a:pt x="56198" y="4763"/>
                  </a:lnTo>
                  <a:cubicBezTo>
                    <a:pt x="59373" y="9207"/>
                    <a:pt x="61913" y="13652"/>
                    <a:pt x="64453" y="18097"/>
                  </a:cubicBezTo>
                  <a:lnTo>
                    <a:pt x="13018" y="47942"/>
                  </a:lnTo>
                  <a:cubicBezTo>
                    <a:pt x="10478" y="43497"/>
                    <a:pt x="7938" y="3905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7" name="任意多边形: 形状 10136"/>
            <p:cNvSpPr/>
            <p:nvPr/>
          </p:nvSpPr>
          <p:spPr>
            <a:xfrm>
              <a:off x="11279188" y="2286317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61278 w 63500"/>
                <a:gd name="connsiteY2" fmla="*/ 13653 h 44450"/>
                <a:gd name="connsiteX3" fmla="*/ 9843 w 63500"/>
                <a:gd name="connsiteY3" fmla="*/ 43498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8103" y="7938"/>
                    <a:pt x="59372" y="10478"/>
                    <a:pt x="61278" y="13653"/>
                  </a:cubicBezTo>
                  <a:lnTo>
                    <a:pt x="9843" y="43498"/>
                  </a:lnTo>
                  <a:cubicBezTo>
                    <a:pt x="7938" y="40323"/>
                    <a:pt x="6668" y="3714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8" name="任意多边形: 形状 10137"/>
            <p:cNvSpPr/>
            <p:nvPr/>
          </p:nvSpPr>
          <p:spPr>
            <a:xfrm>
              <a:off x="11284268" y="229520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59372 w 63500"/>
                <a:gd name="connsiteY2" fmla="*/ 11113 h 44450"/>
                <a:gd name="connsiteX3" fmla="*/ 7938 w 63500"/>
                <a:gd name="connsiteY3" fmla="*/ 4095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7"/>
                    <a:pt x="58102" y="8572"/>
                    <a:pt x="59372" y="11113"/>
                  </a:cubicBezTo>
                  <a:lnTo>
                    <a:pt x="7938" y="40957"/>
                  </a:lnTo>
                  <a:cubicBezTo>
                    <a:pt x="6667" y="38417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9" name="任意多边形: 形状 10138"/>
            <p:cNvSpPr/>
            <p:nvPr/>
          </p:nvSpPr>
          <p:spPr>
            <a:xfrm>
              <a:off x="11287443" y="230092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58738 w 63500"/>
                <a:gd name="connsiteY2" fmla="*/ 9842 h 44450"/>
                <a:gd name="connsiteX3" fmla="*/ 7302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667"/>
                    <a:pt x="58102" y="7938"/>
                    <a:pt x="58738" y="9842"/>
                  </a:cubicBezTo>
                  <a:lnTo>
                    <a:pt x="7302" y="39688"/>
                  </a:lnTo>
                  <a:cubicBezTo>
                    <a:pt x="6032" y="38417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0" name="任意多边形: 形状 10139"/>
            <p:cNvSpPr/>
            <p:nvPr/>
          </p:nvSpPr>
          <p:spPr>
            <a:xfrm>
              <a:off x="11289982" y="2306002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8 w 63500"/>
                <a:gd name="connsiteY1" fmla="*/ 4763 h 44450"/>
                <a:gd name="connsiteX2" fmla="*/ 58738 w 63500"/>
                <a:gd name="connsiteY2" fmla="*/ 9843 h 44450"/>
                <a:gd name="connsiteX3" fmla="*/ 7303 w 63500"/>
                <a:gd name="connsiteY3" fmla="*/ 39688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668"/>
                    <a:pt x="57468" y="7938"/>
                    <a:pt x="58738" y="9843"/>
                  </a:cubicBezTo>
                  <a:lnTo>
                    <a:pt x="7303" y="39688"/>
                  </a:lnTo>
                  <a:cubicBezTo>
                    <a:pt x="6033" y="37783"/>
                    <a:pt x="5398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1" name="任意多边形: 形状 10140"/>
            <p:cNvSpPr/>
            <p:nvPr/>
          </p:nvSpPr>
          <p:spPr>
            <a:xfrm>
              <a:off x="11291888" y="23110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9207 h 38100"/>
                <a:gd name="connsiteX3" fmla="*/ 6668 w 57150"/>
                <a:gd name="connsiteY3" fmla="*/ 3905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8" y="7938"/>
                    <a:pt x="58103" y="9207"/>
                  </a:cubicBezTo>
                  <a:lnTo>
                    <a:pt x="6668" y="39052"/>
                  </a:lnTo>
                  <a:cubicBezTo>
                    <a:pt x="6032" y="37782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2" name="任意多边形: 形状 10141"/>
            <p:cNvSpPr/>
            <p:nvPr/>
          </p:nvSpPr>
          <p:spPr>
            <a:xfrm>
              <a:off x="11293793" y="2315527"/>
              <a:ext cx="57150" cy="44450"/>
            </a:xfrm>
            <a:custGeom>
              <a:avLst/>
              <a:gdLst>
                <a:gd name="connsiteX0" fmla="*/ 4763 w 57150"/>
                <a:gd name="connsiteY0" fmla="*/ 34608 h 44450"/>
                <a:gd name="connsiteX1" fmla="*/ 56197 w 57150"/>
                <a:gd name="connsiteY1" fmla="*/ 4763 h 44450"/>
                <a:gd name="connsiteX2" fmla="*/ 58102 w 57150"/>
                <a:gd name="connsiteY2" fmla="*/ 9843 h 44450"/>
                <a:gd name="connsiteX3" fmla="*/ 6667 w 57150"/>
                <a:gd name="connsiteY3" fmla="*/ 39688 h 44450"/>
                <a:gd name="connsiteX4" fmla="*/ 4763 w 5715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668"/>
                    <a:pt x="57467" y="7938"/>
                    <a:pt x="58102" y="9843"/>
                  </a:cubicBezTo>
                  <a:lnTo>
                    <a:pt x="6667" y="39688"/>
                  </a:lnTo>
                  <a:cubicBezTo>
                    <a:pt x="6032" y="37783"/>
                    <a:pt x="5397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3" name="任意多边形: 形状 10142"/>
            <p:cNvSpPr/>
            <p:nvPr/>
          </p:nvSpPr>
          <p:spPr>
            <a:xfrm>
              <a:off x="11295697" y="2320608"/>
              <a:ext cx="57150" cy="44450"/>
            </a:xfrm>
            <a:custGeom>
              <a:avLst/>
              <a:gdLst>
                <a:gd name="connsiteX0" fmla="*/ 4763 w 57150"/>
                <a:gd name="connsiteY0" fmla="*/ 34607 h 44450"/>
                <a:gd name="connsiteX1" fmla="*/ 56197 w 57150"/>
                <a:gd name="connsiteY1" fmla="*/ 4763 h 44450"/>
                <a:gd name="connsiteX2" fmla="*/ 58103 w 57150"/>
                <a:gd name="connsiteY2" fmla="*/ 9842 h 44450"/>
                <a:gd name="connsiteX3" fmla="*/ 6668 w 57150"/>
                <a:gd name="connsiteY3" fmla="*/ 39688 h 44450"/>
                <a:gd name="connsiteX4" fmla="*/ 4763 w 5715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667"/>
                    <a:pt x="57468" y="7938"/>
                    <a:pt x="58103" y="9842"/>
                  </a:cubicBezTo>
                  <a:lnTo>
                    <a:pt x="6668" y="39688"/>
                  </a:lnTo>
                  <a:cubicBezTo>
                    <a:pt x="6033" y="37782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4" name="任意多边形: 形状 10143"/>
            <p:cNvSpPr/>
            <p:nvPr/>
          </p:nvSpPr>
          <p:spPr>
            <a:xfrm>
              <a:off x="11297603" y="2325688"/>
              <a:ext cx="57150" cy="44450"/>
            </a:xfrm>
            <a:custGeom>
              <a:avLst/>
              <a:gdLst>
                <a:gd name="connsiteX0" fmla="*/ 4763 w 57150"/>
                <a:gd name="connsiteY0" fmla="*/ 34608 h 44450"/>
                <a:gd name="connsiteX1" fmla="*/ 56197 w 57150"/>
                <a:gd name="connsiteY1" fmla="*/ 4763 h 44450"/>
                <a:gd name="connsiteX2" fmla="*/ 58103 w 57150"/>
                <a:gd name="connsiteY2" fmla="*/ 9842 h 44450"/>
                <a:gd name="connsiteX3" fmla="*/ 6667 w 57150"/>
                <a:gd name="connsiteY3" fmla="*/ 39688 h 44450"/>
                <a:gd name="connsiteX4" fmla="*/ 4763 w 5715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667"/>
                    <a:pt x="57467" y="7938"/>
                    <a:pt x="58103" y="9842"/>
                  </a:cubicBezTo>
                  <a:lnTo>
                    <a:pt x="6667" y="39688"/>
                  </a:lnTo>
                  <a:cubicBezTo>
                    <a:pt x="6032" y="37783"/>
                    <a:pt x="5397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5" name="任意多边形: 形状 10144"/>
            <p:cNvSpPr/>
            <p:nvPr/>
          </p:nvSpPr>
          <p:spPr>
            <a:xfrm>
              <a:off x="11299507" y="2330767"/>
              <a:ext cx="57150" cy="44450"/>
            </a:xfrm>
            <a:custGeom>
              <a:avLst/>
              <a:gdLst>
                <a:gd name="connsiteX0" fmla="*/ 4763 w 57150"/>
                <a:gd name="connsiteY0" fmla="*/ 34608 h 44450"/>
                <a:gd name="connsiteX1" fmla="*/ 56198 w 57150"/>
                <a:gd name="connsiteY1" fmla="*/ 4763 h 44450"/>
                <a:gd name="connsiteX2" fmla="*/ 58103 w 57150"/>
                <a:gd name="connsiteY2" fmla="*/ 9843 h 44450"/>
                <a:gd name="connsiteX3" fmla="*/ 6668 w 57150"/>
                <a:gd name="connsiteY3" fmla="*/ 39688 h 44450"/>
                <a:gd name="connsiteX4" fmla="*/ 4763 w 5715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668"/>
                    <a:pt x="57468" y="7938"/>
                    <a:pt x="58103" y="9843"/>
                  </a:cubicBezTo>
                  <a:lnTo>
                    <a:pt x="6668" y="39688"/>
                  </a:lnTo>
                  <a:cubicBezTo>
                    <a:pt x="6033" y="37783"/>
                    <a:pt x="5398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6" name="任意多边形: 形状 10145"/>
            <p:cNvSpPr/>
            <p:nvPr/>
          </p:nvSpPr>
          <p:spPr>
            <a:xfrm>
              <a:off x="11301413" y="2335848"/>
              <a:ext cx="57150" cy="44450"/>
            </a:xfrm>
            <a:custGeom>
              <a:avLst/>
              <a:gdLst>
                <a:gd name="connsiteX0" fmla="*/ 4763 w 57150"/>
                <a:gd name="connsiteY0" fmla="*/ 34607 h 44450"/>
                <a:gd name="connsiteX1" fmla="*/ 56197 w 57150"/>
                <a:gd name="connsiteY1" fmla="*/ 4763 h 44450"/>
                <a:gd name="connsiteX2" fmla="*/ 57468 w 57150"/>
                <a:gd name="connsiteY2" fmla="*/ 9842 h 44450"/>
                <a:gd name="connsiteX3" fmla="*/ 6032 w 57150"/>
                <a:gd name="connsiteY3" fmla="*/ 39688 h 44450"/>
                <a:gd name="connsiteX4" fmla="*/ 4763 w 5715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667"/>
                    <a:pt x="57468" y="7938"/>
                    <a:pt x="57468" y="9842"/>
                  </a:cubicBezTo>
                  <a:lnTo>
                    <a:pt x="6032" y="39688"/>
                  </a:lnTo>
                  <a:cubicBezTo>
                    <a:pt x="5397" y="37782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7" name="任意多边形: 形状 10146"/>
            <p:cNvSpPr/>
            <p:nvPr/>
          </p:nvSpPr>
          <p:spPr>
            <a:xfrm>
              <a:off x="11302682" y="2340927"/>
              <a:ext cx="57150" cy="44450"/>
            </a:xfrm>
            <a:custGeom>
              <a:avLst/>
              <a:gdLst>
                <a:gd name="connsiteX0" fmla="*/ 4763 w 57150"/>
                <a:gd name="connsiteY0" fmla="*/ 34608 h 44450"/>
                <a:gd name="connsiteX1" fmla="*/ 56198 w 57150"/>
                <a:gd name="connsiteY1" fmla="*/ 4763 h 44450"/>
                <a:gd name="connsiteX2" fmla="*/ 57468 w 57150"/>
                <a:gd name="connsiteY2" fmla="*/ 9843 h 44450"/>
                <a:gd name="connsiteX3" fmla="*/ 6033 w 57150"/>
                <a:gd name="connsiteY3" fmla="*/ 39688 h 44450"/>
                <a:gd name="connsiteX4" fmla="*/ 4763 w 5715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668"/>
                    <a:pt x="56833" y="7938"/>
                    <a:pt x="57468" y="9843"/>
                  </a:cubicBezTo>
                  <a:lnTo>
                    <a:pt x="6033" y="39688"/>
                  </a:lnTo>
                  <a:cubicBezTo>
                    <a:pt x="5398" y="37783"/>
                    <a:pt x="5398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8" name="任意多边形: 形状 10147"/>
            <p:cNvSpPr/>
            <p:nvPr/>
          </p:nvSpPr>
          <p:spPr>
            <a:xfrm>
              <a:off x="11303953" y="234600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8572 h 38100"/>
                <a:gd name="connsiteX3" fmla="*/ 5397 w 57150"/>
                <a:gd name="connsiteY3" fmla="*/ 3841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7302"/>
                    <a:pt x="56832" y="8572"/>
                  </a:cubicBezTo>
                  <a:lnTo>
                    <a:pt x="5397" y="38417"/>
                  </a:lnTo>
                  <a:cubicBezTo>
                    <a:pt x="5397" y="37147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9" name="任意多边形: 形状 10148"/>
            <p:cNvSpPr/>
            <p:nvPr/>
          </p:nvSpPr>
          <p:spPr>
            <a:xfrm>
              <a:off x="11399203" y="246729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033 h 38100"/>
                <a:gd name="connsiteX3" fmla="*/ 6667 w 57150"/>
                <a:gd name="connsiteY3" fmla="*/ 3587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3" y="6033"/>
                  </a:cubicBezTo>
                  <a:lnTo>
                    <a:pt x="6667" y="35878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0" name="任意多边形: 形状 10149"/>
            <p:cNvSpPr/>
            <p:nvPr/>
          </p:nvSpPr>
          <p:spPr>
            <a:xfrm>
              <a:off x="11401107" y="246856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59373 w 63500"/>
                <a:gd name="connsiteY2" fmla="*/ 7302 h 38100"/>
                <a:gd name="connsiteX3" fmla="*/ 7938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7468" y="5398"/>
                    <a:pt x="58103" y="6667"/>
                    <a:pt x="59373" y="7302"/>
                  </a:cubicBezTo>
                  <a:lnTo>
                    <a:pt x="7938" y="37148"/>
                  </a:lnTo>
                  <a:cubicBezTo>
                    <a:pt x="7303" y="36513"/>
                    <a:pt x="6033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1" name="任意多边形: 形状 10150"/>
            <p:cNvSpPr/>
            <p:nvPr/>
          </p:nvSpPr>
          <p:spPr>
            <a:xfrm>
              <a:off x="11404282" y="247110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59373 w 63500"/>
                <a:gd name="connsiteY2" fmla="*/ 7938 h 38100"/>
                <a:gd name="connsiteX3" fmla="*/ 7938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7468" y="5398"/>
                    <a:pt x="58103" y="6668"/>
                    <a:pt x="59373" y="7938"/>
                  </a:cubicBezTo>
                  <a:lnTo>
                    <a:pt x="7938" y="37783"/>
                  </a:lnTo>
                  <a:cubicBezTo>
                    <a:pt x="7303" y="36513"/>
                    <a:pt x="603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2" name="任意多边形: 形状 10151"/>
            <p:cNvSpPr/>
            <p:nvPr/>
          </p:nvSpPr>
          <p:spPr>
            <a:xfrm>
              <a:off x="11407457" y="24742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59373 w 63500"/>
                <a:gd name="connsiteY2" fmla="*/ 7938 h 38100"/>
                <a:gd name="connsiteX3" fmla="*/ 7938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7468" y="6033"/>
                    <a:pt x="58103" y="6668"/>
                    <a:pt x="59373" y="7938"/>
                  </a:cubicBezTo>
                  <a:lnTo>
                    <a:pt x="7938" y="37783"/>
                  </a:lnTo>
                  <a:cubicBezTo>
                    <a:pt x="6668" y="36513"/>
                    <a:pt x="603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3" name="任意多边形: 形状 10152"/>
            <p:cNvSpPr/>
            <p:nvPr/>
          </p:nvSpPr>
          <p:spPr>
            <a:xfrm>
              <a:off x="11410632" y="247745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59373 w 63500"/>
                <a:gd name="connsiteY2" fmla="*/ 7938 h 38100"/>
                <a:gd name="connsiteX3" fmla="*/ 7938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7468" y="6033"/>
                    <a:pt x="58103" y="6668"/>
                    <a:pt x="59373" y="7938"/>
                  </a:cubicBezTo>
                  <a:lnTo>
                    <a:pt x="7938" y="37783"/>
                  </a:lnTo>
                  <a:cubicBezTo>
                    <a:pt x="6668" y="36513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4" name="任意多边形: 形状 10153"/>
            <p:cNvSpPr/>
            <p:nvPr/>
          </p:nvSpPr>
          <p:spPr>
            <a:xfrm>
              <a:off x="11413172" y="247999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6033"/>
                    <a:pt x="58103" y="6668"/>
                    <a:pt x="58738" y="7938"/>
                  </a:cubicBezTo>
                  <a:lnTo>
                    <a:pt x="7303" y="37783"/>
                  </a:lnTo>
                  <a:cubicBezTo>
                    <a:pt x="6668" y="37148"/>
                    <a:pt x="603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5" name="任意多边形: 形状 10154"/>
            <p:cNvSpPr/>
            <p:nvPr/>
          </p:nvSpPr>
          <p:spPr>
            <a:xfrm>
              <a:off x="11416347" y="248316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6033"/>
                    <a:pt x="58103" y="6668"/>
                    <a:pt x="58738" y="7938"/>
                  </a:cubicBezTo>
                  <a:lnTo>
                    <a:pt x="7303" y="37783"/>
                  </a:lnTo>
                  <a:cubicBezTo>
                    <a:pt x="6668" y="37148"/>
                    <a:pt x="5397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6" name="任意多边形: 形状 10155"/>
            <p:cNvSpPr/>
            <p:nvPr/>
          </p:nvSpPr>
          <p:spPr>
            <a:xfrm>
              <a:off x="11418888" y="248634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8103" y="6668"/>
                    <a:pt x="58738" y="7938"/>
                  </a:cubicBezTo>
                  <a:lnTo>
                    <a:pt x="7303" y="37783"/>
                  </a:lnTo>
                  <a:cubicBezTo>
                    <a:pt x="6668" y="37148"/>
                    <a:pt x="5397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7" name="任意多边形: 形状 10156"/>
            <p:cNvSpPr/>
            <p:nvPr/>
          </p:nvSpPr>
          <p:spPr>
            <a:xfrm>
              <a:off x="11421428" y="24895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9372 w 63500"/>
                <a:gd name="connsiteY2" fmla="*/ 8573 h 38100"/>
                <a:gd name="connsiteX3" fmla="*/ 7938 w 63500"/>
                <a:gd name="connsiteY3" fmla="*/ 3841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033"/>
                    <a:pt x="58103" y="7303"/>
                    <a:pt x="59372" y="8573"/>
                  </a:cubicBezTo>
                  <a:lnTo>
                    <a:pt x="7938" y="38418"/>
                  </a:lnTo>
                  <a:cubicBezTo>
                    <a:pt x="6667" y="37783"/>
                    <a:pt x="6032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8" name="任意多边形: 形状 10157"/>
            <p:cNvSpPr/>
            <p:nvPr/>
          </p:nvSpPr>
          <p:spPr>
            <a:xfrm>
              <a:off x="11424603" y="2493963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60007 w 63500"/>
                <a:gd name="connsiteY2" fmla="*/ 10477 h 44450"/>
                <a:gd name="connsiteX3" fmla="*/ 8572 w 63500"/>
                <a:gd name="connsiteY3" fmla="*/ 40323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667"/>
                    <a:pt x="58738" y="8573"/>
                    <a:pt x="60007" y="10477"/>
                  </a:cubicBezTo>
                  <a:lnTo>
                    <a:pt x="8572" y="40323"/>
                  </a:lnTo>
                  <a:cubicBezTo>
                    <a:pt x="7303" y="37783"/>
                    <a:pt x="6032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9" name="任意多边形: 形状 10158"/>
            <p:cNvSpPr/>
            <p:nvPr/>
          </p:nvSpPr>
          <p:spPr>
            <a:xfrm>
              <a:off x="11428413" y="2499042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61913 w 63500"/>
                <a:gd name="connsiteY2" fmla="*/ 13653 h 44450"/>
                <a:gd name="connsiteX3" fmla="*/ 10478 w 63500"/>
                <a:gd name="connsiteY3" fmla="*/ 43498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8103" y="7938"/>
                    <a:pt x="60007" y="10478"/>
                    <a:pt x="61913" y="13653"/>
                  </a:cubicBezTo>
                  <a:lnTo>
                    <a:pt x="10478" y="43498"/>
                  </a:lnTo>
                  <a:cubicBezTo>
                    <a:pt x="8572" y="40958"/>
                    <a:pt x="6668" y="3778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0" name="任意多边形: 形状 10159"/>
            <p:cNvSpPr/>
            <p:nvPr/>
          </p:nvSpPr>
          <p:spPr>
            <a:xfrm>
              <a:off x="11434128" y="250793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59372 w 63500"/>
                <a:gd name="connsiteY2" fmla="*/ 11113 h 44450"/>
                <a:gd name="connsiteX3" fmla="*/ 7938 w 63500"/>
                <a:gd name="connsiteY3" fmla="*/ 4095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7"/>
                    <a:pt x="58738" y="8572"/>
                    <a:pt x="59372" y="11113"/>
                  </a:cubicBezTo>
                  <a:lnTo>
                    <a:pt x="7938" y="40957"/>
                  </a:lnTo>
                  <a:cubicBezTo>
                    <a:pt x="7303" y="39052"/>
                    <a:pt x="6032" y="3714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1" name="任意多边形: 形状 10160"/>
            <p:cNvSpPr/>
            <p:nvPr/>
          </p:nvSpPr>
          <p:spPr>
            <a:xfrm>
              <a:off x="11437303" y="25142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8572 h 38100"/>
                <a:gd name="connsiteX3" fmla="*/ 6667 w 57150"/>
                <a:gd name="connsiteY3" fmla="*/ 3841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7" y="7302"/>
                    <a:pt x="58103" y="8572"/>
                  </a:cubicBezTo>
                  <a:lnTo>
                    <a:pt x="6667" y="38417"/>
                  </a:lnTo>
                  <a:cubicBezTo>
                    <a:pt x="6667" y="37147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2" name="任意多边形: 形状 10161"/>
            <p:cNvSpPr/>
            <p:nvPr/>
          </p:nvSpPr>
          <p:spPr>
            <a:xfrm>
              <a:off x="11439843" y="251809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8573 h 38100"/>
                <a:gd name="connsiteX3" fmla="*/ 6667 w 57150"/>
                <a:gd name="connsiteY3" fmla="*/ 3841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7467" y="7303"/>
                    <a:pt x="58102" y="8573"/>
                  </a:cubicBezTo>
                  <a:lnTo>
                    <a:pt x="6667" y="38418"/>
                  </a:lnTo>
                  <a:cubicBezTo>
                    <a:pt x="6032" y="37148"/>
                    <a:pt x="5397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3" name="任意多边形: 形状 10162"/>
            <p:cNvSpPr/>
            <p:nvPr/>
          </p:nvSpPr>
          <p:spPr>
            <a:xfrm>
              <a:off x="11441113" y="252190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7468" y="6668"/>
                    <a:pt x="57468" y="7938"/>
                  </a:cubicBezTo>
                  <a:lnTo>
                    <a:pt x="6032" y="37783"/>
                  </a:lnTo>
                  <a:cubicBezTo>
                    <a:pt x="6032" y="36513"/>
                    <a:pt x="5397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4" name="任意多边形: 形状 10163"/>
            <p:cNvSpPr/>
            <p:nvPr/>
          </p:nvSpPr>
          <p:spPr>
            <a:xfrm>
              <a:off x="11443018" y="25250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7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6668"/>
                    <a:pt x="57467" y="7938"/>
                  </a:cubicBezTo>
                  <a:lnTo>
                    <a:pt x="6032" y="37783"/>
                  </a:lnTo>
                  <a:cubicBezTo>
                    <a:pt x="5397" y="36513"/>
                    <a:pt x="476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5" name="任意多边形: 形状 10164"/>
            <p:cNvSpPr/>
            <p:nvPr/>
          </p:nvSpPr>
          <p:spPr>
            <a:xfrm>
              <a:off x="11444288" y="25282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6668"/>
                    <a:pt x="57468" y="7938"/>
                  </a:cubicBezTo>
                  <a:lnTo>
                    <a:pt x="6032" y="37783"/>
                  </a:lnTo>
                  <a:cubicBezTo>
                    <a:pt x="5397" y="36513"/>
                    <a:pt x="5397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6" name="任意多边形: 形状 10165"/>
            <p:cNvSpPr/>
            <p:nvPr/>
          </p:nvSpPr>
          <p:spPr>
            <a:xfrm>
              <a:off x="11445557" y="253142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033"/>
                    <a:pt x="56833" y="6668"/>
                    <a:pt x="57468" y="7938"/>
                  </a:cubicBezTo>
                  <a:lnTo>
                    <a:pt x="6033" y="37783"/>
                  </a:lnTo>
                  <a:cubicBezTo>
                    <a:pt x="5398" y="37148"/>
                    <a:pt x="5398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7" name="任意多边形: 形状 10166"/>
            <p:cNvSpPr/>
            <p:nvPr/>
          </p:nvSpPr>
          <p:spPr>
            <a:xfrm>
              <a:off x="11446828" y="253460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7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7302"/>
                    <a:pt x="57467" y="7938"/>
                  </a:cubicBezTo>
                  <a:lnTo>
                    <a:pt x="6032" y="37783"/>
                  </a:lnTo>
                  <a:cubicBezTo>
                    <a:pt x="5397" y="37148"/>
                    <a:pt x="476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8" name="任意多边形: 形状 10167"/>
            <p:cNvSpPr/>
            <p:nvPr/>
          </p:nvSpPr>
          <p:spPr>
            <a:xfrm>
              <a:off x="11448097" y="253841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6033"/>
                    <a:pt x="56833" y="7302"/>
                    <a:pt x="57468" y="7938"/>
                  </a:cubicBezTo>
                  <a:lnTo>
                    <a:pt x="6033" y="37783"/>
                  </a:lnTo>
                  <a:cubicBezTo>
                    <a:pt x="5397" y="36513"/>
                    <a:pt x="4763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9" name="任意多边形: 形状 10168"/>
            <p:cNvSpPr/>
            <p:nvPr/>
          </p:nvSpPr>
          <p:spPr>
            <a:xfrm>
              <a:off x="11448732" y="25415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033"/>
                    <a:pt x="56833" y="7302"/>
                    <a:pt x="57468" y="7938"/>
                  </a:cubicBezTo>
                  <a:lnTo>
                    <a:pt x="6033" y="37783"/>
                  </a:lnTo>
                  <a:cubicBezTo>
                    <a:pt x="5398" y="37148"/>
                    <a:pt x="5398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0" name="任意多边形: 形状 10169"/>
            <p:cNvSpPr/>
            <p:nvPr/>
          </p:nvSpPr>
          <p:spPr>
            <a:xfrm>
              <a:off x="11450003" y="254476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7302"/>
                    <a:pt x="56832" y="7938"/>
                  </a:cubicBezTo>
                  <a:lnTo>
                    <a:pt x="5397" y="37783"/>
                  </a:lnTo>
                  <a:cubicBezTo>
                    <a:pt x="5397" y="37148"/>
                    <a:pt x="476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1" name="任意多边形: 形状 10170"/>
            <p:cNvSpPr/>
            <p:nvPr/>
          </p:nvSpPr>
          <p:spPr>
            <a:xfrm>
              <a:off x="11450638" y="25485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7302"/>
                    <a:pt x="56832" y="7938"/>
                  </a:cubicBezTo>
                  <a:lnTo>
                    <a:pt x="5397" y="37782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2" name="任意多边形: 形状 10171"/>
            <p:cNvSpPr/>
            <p:nvPr/>
          </p:nvSpPr>
          <p:spPr>
            <a:xfrm>
              <a:off x="11451907" y="25517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6833 w 57150"/>
                <a:gd name="connsiteY2" fmla="*/ 7938 h 38100"/>
                <a:gd name="connsiteX3" fmla="*/ 5398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198" y="6032"/>
                    <a:pt x="56833" y="7302"/>
                    <a:pt x="56833" y="7938"/>
                  </a:cubicBezTo>
                  <a:lnTo>
                    <a:pt x="5398" y="37782"/>
                  </a:lnTo>
                  <a:cubicBezTo>
                    <a:pt x="4763" y="37148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3" name="任意多边形: 形状 10172"/>
            <p:cNvSpPr/>
            <p:nvPr/>
          </p:nvSpPr>
          <p:spPr>
            <a:xfrm>
              <a:off x="11452543" y="25555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6667"/>
                    <a:pt x="56832" y="7938"/>
                  </a:cubicBezTo>
                  <a:lnTo>
                    <a:pt x="5397" y="37782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4" name="任意多边形: 形状 10173"/>
            <p:cNvSpPr/>
            <p:nvPr/>
          </p:nvSpPr>
          <p:spPr>
            <a:xfrm>
              <a:off x="11453178" y="255873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6667"/>
                    <a:pt x="56832" y="7938"/>
                  </a:cubicBezTo>
                  <a:lnTo>
                    <a:pt x="5397" y="37782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5" name="任意多边形: 形状 10174"/>
            <p:cNvSpPr/>
            <p:nvPr/>
          </p:nvSpPr>
          <p:spPr>
            <a:xfrm>
              <a:off x="11453178" y="256190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832" y="7938"/>
                  </a:cubicBezTo>
                  <a:lnTo>
                    <a:pt x="5397" y="37782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6" name="任意多边形: 形状 10175"/>
            <p:cNvSpPr/>
            <p:nvPr/>
          </p:nvSpPr>
          <p:spPr>
            <a:xfrm>
              <a:off x="11453813" y="25650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7" name="任意多边形: 形状 10176"/>
            <p:cNvSpPr/>
            <p:nvPr/>
          </p:nvSpPr>
          <p:spPr>
            <a:xfrm>
              <a:off x="11453813" y="25682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8" name="任意多边形: 形状 10177"/>
            <p:cNvSpPr/>
            <p:nvPr/>
          </p:nvSpPr>
          <p:spPr>
            <a:xfrm>
              <a:off x="11454447" y="257143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56197 w 57150"/>
                <a:gd name="connsiteY3" fmla="*/ 7938 h 38100"/>
                <a:gd name="connsiteX4" fmla="*/ 4763 w 57150"/>
                <a:gd name="connsiteY4" fmla="*/ 37782 h 38100"/>
                <a:gd name="connsiteX5" fmla="*/ 4763 w 57150"/>
                <a:gd name="connsiteY5" fmla="*/ 37782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cubicBezTo>
                    <a:pt x="56197" y="7938"/>
                    <a:pt x="56197" y="7938"/>
                    <a:pt x="56197" y="7938"/>
                  </a:cubicBezTo>
                  <a:lnTo>
                    <a:pt x="4763" y="37782"/>
                  </a:lnTo>
                  <a:cubicBezTo>
                    <a:pt x="4763" y="37782"/>
                    <a:pt x="4763" y="37782"/>
                    <a:pt x="4763" y="37782"/>
                  </a:cubicBez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9" name="任意多边形: 形状 10178"/>
            <p:cNvSpPr/>
            <p:nvPr/>
          </p:nvSpPr>
          <p:spPr>
            <a:xfrm>
              <a:off x="11454447" y="257460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0" name="任意多边形: 形状 10179"/>
            <p:cNvSpPr/>
            <p:nvPr/>
          </p:nvSpPr>
          <p:spPr>
            <a:xfrm>
              <a:off x="11453813" y="25777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1" name="任意多边形: 形状 10180"/>
            <p:cNvSpPr/>
            <p:nvPr/>
          </p:nvSpPr>
          <p:spPr>
            <a:xfrm>
              <a:off x="11453178" y="2580323"/>
              <a:ext cx="57150" cy="38100"/>
            </a:xfrm>
            <a:custGeom>
              <a:avLst/>
              <a:gdLst>
                <a:gd name="connsiteX0" fmla="*/ 5397 w 57150"/>
                <a:gd name="connsiteY0" fmla="*/ 34607 h 38100"/>
                <a:gd name="connsiteX1" fmla="*/ 56832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5397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7" y="34607"/>
                  </a:moveTo>
                  <a:lnTo>
                    <a:pt x="56832" y="4763"/>
                  </a:lnTo>
                  <a:cubicBezTo>
                    <a:pt x="56832" y="6032"/>
                    <a:pt x="56832" y="6667"/>
                    <a:pt x="56197" y="7938"/>
                  </a:cubicBezTo>
                  <a:lnTo>
                    <a:pt x="4763" y="37782"/>
                  </a:lnTo>
                  <a:cubicBezTo>
                    <a:pt x="5397" y="37148"/>
                    <a:pt x="5397" y="35877"/>
                    <a:pt x="5397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2" name="任意多边形: 形状 10181"/>
            <p:cNvSpPr/>
            <p:nvPr/>
          </p:nvSpPr>
          <p:spPr>
            <a:xfrm>
              <a:off x="11453178" y="2583498"/>
              <a:ext cx="57150" cy="38100"/>
            </a:xfrm>
            <a:custGeom>
              <a:avLst/>
              <a:gdLst>
                <a:gd name="connsiteX0" fmla="*/ 5397 w 57150"/>
                <a:gd name="connsiteY0" fmla="*/ 34607 h 38100"/>
                <a:gd name="connsiteX1" fmla="*/ 56832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5397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7" y="34607"/>
                  </a:moveTo>
                  <a:lnTo>
                    <a:pt x="56832" y="4763"/>
                  </a:lnTo>
                  <a:cubicBezTo>
                    <a:pt x="56832" y="6032"/>
                    <a:pt x="56832" y="6667"/>
                    <a:pt x="56197" y="7938"/>
                  </a:cubicBezTo>
                  <a:lnTo>
                    <a:pt x="4763" y="37782"/>
                  </a:lnTo>
                  <a:cubicBezTo>
                    <a:pt x="4763" y="37148"/>
                    <a:pt x="4763" y="35877"/>
                    <a:pt x="5397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3" name="任意多边形: 形状 10182"/>
            <p:cNvSpPr/>
            <p:nvPr/>
          </p:nvSpPr>
          <p:spPr>
            <a:xfrm>
              <a:off x="11452543" y="2586673"/>
              <a:ext cx="57150" cy="38100"/>
            </a:xfrm>
            <a:custGeom>
              <a:avLst/>
              <a:gdLst>
                <a:gd name="connsiteX0" fmla="*/ 5397 w 57150"/>
                <a:gd name="connsiteY0" fmla="*/ 34607 h 38100"/>
                <a:gd name="connsiteX1" fmla="*/ 56832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5397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7" y="34607"/>
                  </a:moveTo>
                  <a:lnTo>
                    <a:pt x="56832" y="4763"/>
                  </a:lnTo>
                  <a:cubicBezTo>
                    <a:pt x="56832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7148"/>
                    <a:pt x="5397" y="35877"/>
                    <a:pt x="5397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4" name="任意多边形: 形状 10183"/>
            <p:cNvSpPr/>
            <p:nvPr/>
          </p:nvSpPr>
          <p:spPr>
            <a:xfrm>
              <a:off x="11451907" y="2589848"/>
              <a:ext cx="57150" cy="38100"/>
            </a:xfrm>
            <a:custGeom>
              <a:avLst/>
              <a:gdLst>
                <a:gd name="connsiteX0" fmla="*/ 5398 w 57150"/>
                <a:gd name="connsiteY0" fmla="*/ 34607 h 38100"/>
                <a:gd name="connsiteX1" fmla="*/ 56833 w 57150"/>
                <a:gd name="connsiteY1" fmla="*/ 4763 h 38100"/>
                <a:gd name="connsiteX2" fmla="*/ 56198 w 57150"/>
                <a:gd name="connsiteY2" fmla="*/ 7938 h 38100"/>
                <a:gd name="connsiteX3" fmla="*/ 4763 w 57150"/>
                <a:gd name="connsiteY3" fmla="*/ 37782 h 38100"/>
                <a:gd name="connsiteX4" fmla="*/ 5398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8" y="34607"/>
                  </a:moveTo>
                  <a:lnTo>
                    <a:pt x="56833" y="4763"/>
                  </a:lnTo>
                  <a:cubicBezTo>
                    <a:pt x="56833" y="6032"/>
                    <a:pt x="56198" y="7302"/>
                    <a:pt x="56198" y="7938"/>
                  </a:cubicBezTo>
                  <a:lnTo>
                    <a:pt x="4763" y="37782"/>
                  </a:lnTo>
                  <a:cubicBezTo>
                    <a:pt x="4763" y="37148"/>
                    <a:pt x="5398" y="35877"/>
                    <a:pt x="5398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5" name="任意多边形: 形状 10184"/>
            <p:cNvSpPr/>
            <p:nvPr/>
          </p:nvSpPr>
          <p:spPr>
            <a:xfrm>
              <a:off x="11450638" y="2593023"/>
              <a:ext cx="57150" cy="38100"/>
            </a:xfrm>
            <a:custGeom>
              <a:avLst/>
              <a:gdLst>
                <a:gd name="connsiteX0" fmla="*/ 6032 w 57150"/>
                <a:gd name="connsiteY0" fmla="*/ 34607 h 38100"/>
                <a:gd name="connsiteX1" fmla="*/ 57468 w 57150"/>
                <a:gd name="connsiteY1" fmla="*/ 4763 h 38100"/>
                <a:gd name="connsiteX2" fmla="*/ 56197 w 57150"/>
                <a:gd name="connsiteY2" fmla="*/ 8573 h 38100"/>
                <a:gd name="connsiteX3" fmla="*/ 4763 w 57150"/>
                <a:gd name="connsiteY3" fmla="*/ 38417 h 38100"/>
                <a:gd name="connsiteX4" fmla="*/ 6032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6032" y="34607"/>
                  </a:moveTo>
                  <a:lnTo>
                    <a:pt x="57468" y="4763"/>
                  </a:lnTo>
                  <a:cubicBezTo>
                    <a:pt x="56832" y="6032"/>
                    <a:pt x="56832" y="7302"/>
                    <a:pt x="56197" y="8573"/>
                  </a:cubicBezTo>
                  <a:lnTo>
                    <a:pt x="4763" y="38417"/>
                  </a:lnTo>
                  <a:cubicBezTo>
                    <a:pt x="4763" y="37148"/>
                    <a:pt x="5397" y="35877"/>
                    <a:pt x="6032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6" name="任意多边形: 形状 10185"/>
            <p:cNvSpPr/>
            <p:nvPr/>
          </p:nvSpPr>
          <p:spPr>
            <a:xfrm>
              <a:off x="11448732" y="2596833"/>
              <a:ext cx="57150" cy="38100"/>
            </a:xfrm>
            <a:custGeom>
              <a:avLst/>
              <a:gdLst>
                <a:gd name="connsiteX0" fmla="*/ 6668 w 57150"/>
                <a:gd name="connsiteY0" fmla="*/ 34607 h 38100"/>
                <a:gd name="connsiteX1" fmla="*/ 58103 w 57150"/>
                <a:gd name="connsiteY1" fmla="*/ 4763 h 38100"/>
                <a:gd name="connsiteX2" fmla="*/ 56198 w 57150"/>
                <a:gd name="connsiteY2" fmla="*/ 8572 h 38100"/>
                <a:gd name="connsiteX3" fmla="*/ 4763 w 57150"/>
                <a:gd name="connsiteY3" fmla="*/ 38417 h 38100"/>
                <a:gd name="connsiteX4" fmla="*/ 6668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6668" y="34607"/>
                  </a:moveTo>
                  <a:lnTo>
                    <a:pt x="58103" y="4763"/>
                  </a:lnTo>
                  <a:cubicBezTo>
                    <a:pt x="57468" y="6032"/>
                    <a:pt x="56833" y="7302"/>
                    <a:pt x="56198" y="8572"/>
                  </a:cubicBezTo>
                  <a:lnTo>
                    <a:pt x="4763" y="38417"/>
                  </a:lnTo>
                  <a:cubicBezTo>
                    <a:pt x="5398" y="37147"/>
                    <a:pt x="6033" y="35877"/>
                    <a:pt x="6668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7" name="任意多边形: 形状 10186"/>
            <p:cNvSpPr/>
            <p:nvPr/>
          </p:nvSpPr>
          <p:spPr>
            <a:xfrm>
              <a:off x="11446193" y="2600642"/>
              <a:ext cx="63500" cy="38100"/>
            </a:xfrm>
            <a:custGeom>
              <a:avLst/>
              <a:gdLst>
                <a:gd name="connsiteX0" fmla="*/ 7302 w 63500"/>
                <a:gd name="connsiteY0" fmla="*/ 34608 h 38100"/>
                <a:gd name="connsiteX1" fmla="*/ 58738 w 63500"/>
                <a:gd name="connsiteY1" fmla="*/ 4763 h 38100"/>
                <a:gd name="connsiteX2" fmla="*/ 56197 w 63500"/>
                <a:gd name="connsiteY2" fmla="*/ 9208 h 38100"/>
                <a:gd name="connsiteX3" fmla="*/ 4763 w 63500"/>
                <a:gd name="connsiteY3" fmla="*/ 39053 h 38100"/>
                <a:gd name="connsiteX4" fmla="*/ 7302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7302" y="34608"/>
                  </a:moveTo>
                  <a:lnTo>
                    <a:pt x="58738" y="4763"/>
                  </a:lnTo>
                  <a:cubicBezTo>
                    <a:pt x="58102" y="6033"/>
                    <a:pt x="57467" y="7938"/>
                    <a:pt x="56197" y="9208"/>
                  </a:cubicBezTo>
                  <a:lnTo>
                    <a:pt x="4763" y="39053"/>
                  </a:lnTo>
                  <a:cubicBezTo>
                    <a:pt x="6032" y="37783"/>
                    <a:pt x="6667" y="35878"/>
                    <a:pt x="7302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8" name="任意多边形: 形状 10187"/>
            <p:cNvSpPr/>
            <p:nvPr/>
          </p:nvSpPr>
          <p:spPr>
            <a:xfrm>
              <a:off x="11434763" y="2605088"/>
              <a:ext cx="69850" cy="50800"/>
            </a:xfrm>
            <a:custGeom>
              <a:avLst/>
              <a:gdLst>
                <a:gd name="connsiteX0" fmla="*/ 16193 w 69850"/>
                <a:gd name="connsiteY0" fmla="*/ 34608 h 50800"/>
                <a:gd name="connsiteX1" fmla="*/ 67628 w 69850"/>
                <a:gd name="connsiteY1" fmla="*/ 4763 h 50800"/>
                <a:gd name="connsiteX2" fmla="*/ 56197 w 69850"/>
                <a:gd name="connsiteY2" fmla="*/ 16192 h 50800"/>
                <a:gd name="connsiteX3" fmla="*/ 4763 w 69850"/>
                <a:gd name="connsiteY3" fmla="*/ 46038 h 50800"/>
                <a:gd name="connsiteX4" fmla="*/ 16193 w 69850"/>
                <a:gd name="connsiteY4" fmla="*/ 34608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850" h="50800">
                  <a:moveTo>
                    <a:pt x="16193" y="34608"/>
                  </a:moveTo>
                  <a:lnTo>
                    <a:pt x="67628" y="4763"/>
                  </a:lnTo>
                  <a:cubicBezTo>
                    <a:pt x="64453" y="9842"/>
                    <a:pt x="60643" y="13652"/>
                    <a:pt x="56197" y="16192"/>
                  </a:cubicBezTo>
                  <a:lnTo>
                    <a:pt x="4763" y="46038"/>
                  </a:lnTo>
                  <a:cubicBezTo>
                    <a:pt x="9207" y="43498"/>
                    <a:pt x="13018" y="39688"/>
                    <a:pt x="1619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9" name="任意多边形: 形状 10188"/>
            <p:cNvSpPr/>
            <p:nvPr/>
          </p:nvSpPr>
          <p:spPr>
            <a:xfrm>
              <a:off x="11304588" y="2348548"/>
              <a:ext cx="57150" cy="38100"/>
            </a:xfrm>
            <a:custGeom>
              <a:avLst/>
              <a:gdLst>
                <a:gd name="connsiteX0" fmla="*/ 4763 w 57150"/>
                <a:gd name="connsiteY0" fmla="*/ 35242 h 38100"/>
                <a:gd name="connsiteX1" fmla="*/ 56197 w 57150"/>
                <a:gd name="connsiteY1" fmla="*/ 5398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524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5242"/>
                  </a:moveTo>
                  <a:lnTo>
                    <a:pt x="56197" y="5398"/>
                  </a:lnTo>
                  <a:cubicBezTo>
                    <a:pt x="56832" y="5398"/>
                    <a:pt x="57468" y="5398"/>
                    <a:pt x="58103" y="4763"/>
                  </a:cubicBezTo>
                  <a:lnTo>
                    <a:pt x="6668" y="34607"/>
                  </a:lnTo>
                  <a:cubicBezTo>
                    <a:pt x="6032" y="35242"/>
                    <a:pt x="5397" y="35242"/>
                    <a:pt x="4763" y="3524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0" name="任意多边形: 形状 10189"/>
            <p:cNvSpPr/>
            <p:nvPr/>
          </p:nvSpPr>
          <p:spPr>
            <a:xfrm>
              <a:off x="11306493" y="2348548"/>
              <a:ext cx="63500" cy="38100"/>
            </a:xfrm>
            <a:custGeom>
              <a:avLst/>
              <a:gdLst>
                <a:gd name="connsiteX0" fmla="*/ 4763 w 63500"/>
                <a:gd name="connsiteY0" fmla="*/ 35242 h 38100"/>
                <a:gd name="connsiteX1" fmla="*/ 56197 w 63500"/>
                <a:gd name="connsiteY1" fmla="*/ 5398 h 38100"/>
                <a:gd name="connsiteX2" fmla="*/ 59372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524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2"/>
                  </a:moveTo>
                  <a:lnTo>
                    <a:pt x="56197" y="5398"/>
                  </a:lnTo>
                  <a:cubicBezTo>
                    <a:pt x="57467" y="5398"/>
                    <a:pt x="58738" y="4763"/>
                    <a:pt x="59372" y="4763"/>
                  </a:cubicBezTo>
                  <a:lnTo>
                    <a:pt x="7938" y="34607"/>
                  </a:lnTo>
                  <a:cubicBezTo>
                    <a:pt x="7302" y="34607"/>
                    <a:pt x="6032" y="35242"/>
                    <a:pt x="4763" y="3524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1" name="任意多边形: 形状 10190"/>
            <p:cNvSpPr/>
            <p:nvPr/>
          </p:nvSpPr>
          <p:spPr>
            <a:xfrm>
              <a:off x="11309668" y="23485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9372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4763"/>
                    <a:pt x="58102" y="4763"/>
                    <a:pt x="59372" y="4763"/>
                  </a:cubicBezTo>
                  <a:lnTo>
                    <a:pt x="7938" y="34607"/>
                  </a:lnTo>
                  <a:cubicBezTo>
                    <a:pt x="7302" y="34607"/>
                    <a:pt x="6032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2" name="任意多边形: 形状 10191"/>
            <p:cNvSpPr/>
            <p:nvPr/>
          </p:nvSpPr>
          <p:spPr>
            <a:xfrm>
              <a:off x="11312843" y="23485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9372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8102" y="4763"/>
                    <a:pt x="59372" y="4763"/>
                  </a:cubicBezTo>
                  <a:lnTo>
                    <a:pt x="7938" y="34607"/>
                  </a:lnTo>
                  <a:cubicBezTo>
                    <a:pt x="6667" y="34607"/>
                    <a:pt x="6032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3" name="任意多边形: 形状 10192"/>
            <p:cNvSpPr/>
            <p:nvPr/>
          </p:nvSpPr>
          <p:spPr>
            <a:xfrm>
              <a:off x="11316018" y="23485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4763 h 38100"/>
                <a:gd name="connsiteX3" fmla="*/ 7302 w 63500"/>
                <a:gd name="connsiteY3" fmla="*/ 3460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8102" y="4763"/>
                    <a:pt x="58738" y="4763"/>
                  </a:cubicBezTo>
                  <a:lnTo>
                    <a:pt x="7302" y="34607"/>
                  </a:lnTo>
                  <a:cubicBezTo>
                    <a:pt x="6667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4" name="任意多边形: 形状 10193"/>
            <p:cNvSpPr/>
            <p:nvPr/>
          </p:nvSpPr>
          <p:spPr>
            <a:xfrm>
              <a:off x="11318557" y="234918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5397 h 38100"/>
                <a:gd name="connsiteX3" fmla="*/ 7303 w 63500"/>
                <a:gd name="connsiteY3" fmla="*/ 3524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8103" y="4763"/>
                    <a:pt x="58738" y="5397"/>
                  </a:cubicBezTo>
                  <a:lnTo>
                    <a:pt x="7303" y="35242"/>
                  </a:lnTo>
                  <a:cubicBezTo>
                    <a:pt x="6668" y="34607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5" name="任意多边形: 形状 10194"/>
            <p:cNvSpPr/>
            <p:nvPr/>
          </p:nvSpPr>
          <p:spPr>
            <a:xfrm>
              <a:off x="11321097" y="234918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5397 h 38100"/>
                <a:gd name="connsiteX3" fmla="*/ 7303 w 63500"/>
                <a:gd name="connsiteY3" fmla="*/ 3524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8103" y="5397"/>
                    <a:pt x="58738" y="5397"/>
                  </a:cubicBezTo>
                  <a:lnTo>
                    <a:pt x="7303" y="35242"/>
                  </a:lnTo>
                  <a:cubicBezTo>
                    <a:pt x="6668" y="35242"/>
                    <a:pt x="6033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6" name="任意多边形: 形状 10195"/>
            <p:cNvSpPr/>
            <p:nvPr/>
          </p:nvSpPr>
          <p:spPr>
            <a:xfrm>
              <a:off x="11323638" y="23498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5398 h 38100"/>
                <a:gd name="connsiteX3" fmla="*/ 7303 w 63500"/>
                <a:gd name="connsiteY3" fmla="*/ 3524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8103" y="5398"/>
                    <a:pt x="58738" y="5398"/>
                  </a:cubicBezTo>
                  <a:lnTo>
                    <a:pt x="7303" y="35243"/>
                  </a:lnTo>
                  <a:cubicBezTo>
                    <a:pt x="6668" y="35243"/>
                    <a:pt x="6032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7" name="任意多边形: 形状 10196"/>
            <p:cNvSpPr/>
            <p:nvPr/>
          </p:nvSpPr>
          <p:spPr>
            <a:xfrm>
              <a:off x="11326178" y="235045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5398 h 38100"/>
                <a:gd name="connsiteX3" fmla="*/ 7303 w 63500"/>
                <a:gd name="connsiteY3" fmla="*/ 3524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8103" y="5398"/>
                    <a:pt x="58738" y="5398"/>
                  </a:cubicBezTo>
                  <a:lnTo>
                    <a:pt x="7303" y="35243"/>
                  </a:lnTo>
                  <a:cubicBezTo>
                    <a:pt x="6667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8" name="任意多边形: 形状 10197"/>
            <p:cNvSpPr/>
            <p:nvPr/>
          </p:nvSpPr>
          <p:spPr>
            <a:xfrm>
              <a:off x="11328718" y="2351088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5398 h 38100"/>
                <a:gd name="connsiteX3" fmla="*/ 7302 w 63500"/>
                <a:gd name="connsiteY3" fmla="*/ 35242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8102" y="5398"/>
                    <a:pt x="58738" y="5398"/>
                  </a:cubicBezTo>
                  <a:lnTo>
                    <a:pt x="7302" y="35242"/>
                  </a:lnTo>
                  <a:cubicBezTo>
                    <a:pt x="6667" y="35242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9" name="任意多边形: 形状 10198"/>
            <p:cNvSpPr/>
            <p:nvPr/>
          </p:nvSpPr>
          <p:spPr>
            <a:xfrm>
              <a:off x="11331257" y="235235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6032 h 38100"/>
                <a:gd name="connsiteX3" fmla="*/ 7303 w 63500"/>
                <a:gd name="connsiteY3" fmla="*/ 3587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8103" y="5397"/>
                    <a:pt x="58738" y="6032"/>
                  </a:cubicBezTo>
                  <a:lnTo>
                    <a:pt x="7303" y="35877"/>
                  </a:lnTo>
                  <a:cubicBezTo>
                    <a:pt x="6033" y="35242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0" name="任意多边形: 形状 10199"/>
            <p:cNvSpPr/>
            <p:nvPr/>
          </p:nvSpPr>
          <p:spPr>
            <a:xfrm>
              <a:off x="11333797" y="23536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6033 h 38100"/>
                <a:gd name="connsiteX3" fmla="*/ 7303 w 63500"/>
                <a:gd name="connsiteY3" fmla="*/ 35877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5398"/>
                    <a:pt x="58103" y="5398"/>
                    <a:pt x="58738" y="6033"/>
                  </a:cubicBezTo>
                  <a:lnTo>
                    <a:pt x="7303" y="35877"/>
                  </a:lnTo>
                  <a:cubicBezTo>
                    <a:pt x="6033" y="35243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1" name="任意多边形: 形状 10200"/>
            <p:cNvSpPr/>
            <p:nvPr/>
          </p:nvSpPr>
          <p:spPr>
            <a:xfrm>
              <a:off x="11336338" y="235426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6033 h 38100"/>
                <a:gd name="connsiteX3" fmla="*/ 7303 w 63500"/>
                <a:gd name="connsiteY3" fmla="*/ 35877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3" y="5398"/>
                    <a:pt x="58738" y="6033"/>
                  </a:cubicBezTo>
                  <a:lnTo>
                    <a:pt x="7303" y="35877"/>
                  </a:lnTo>
                  <a:cubicBezTo>
                    <a:pt x="6032" y="35877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2" name="任意多边形: 形状 10201"/>
            <p:cNvSpPr/>
            <p:nvPr/>
          </p:nvSpPr>
          <p:spPr>
            <a:xfrm>
              <a:off x="11338878" y="235553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103 w 63500"/>
                <a:gd name="connsiteY2" fmla="*/ 6032 h 38100"/>
                <a:gd name="connsiteX3" fmla="*/ 58738 w 63500"/>
                <a:gd name="connsiteY3" fmla="*/ 6667 h 38100"/>
                <a:gd name="connsiteX4" fmla="*/ 7303 w 63500"/>
                <a:gd name="connsiteY4" fmla="*/ 36513 h 38100"/>
                <a:gd name="connsiteX5" fmla="*/ 6667 w 63500"/>
                <a:gd name="connsiteY5" fmla="*/ 35877 h 38100"/>
                <a:gd name="connsiteX6" fmla="*/ 4763 w 6350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7" y="5397"/>
                    <a:pt x="58103" y="6032"/>
                  </a:cubicBezTo>
                  <a:cubicBezTo>
                    <a:pt x="58103" y="6032"/>
                    <a:pt x="58738" y="6032"/>
                    <a:pt x="58738" y="6667"/>
                  </a:cubicBezTo>
                  <a:lnTo>
                    <a:pt x="7303" y="36513"/>
                  </a:lnTo>
                  <a:cubicBezTo>
                    <a:pt x="7303" y="36513"/>
                    <a:pt x="6667" y="36513"/>
                    <a:pt x="6667" y="35877"/>
                  </a:cubicBezTo>
                  <a:cubicBezTo>
                    <a:pt x="6032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3" name="任意多边形: 形状 10202"/>
            <p:cNvSpPr/>
            <p:nvPr/>
          </p:nvSpPr>
          <p:spPr>
            <a:xfrm>
              <a:off x="11341418" y="2357438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6667 h 38100"/>
                <a:gd name="connsiteX3" fmla="*/ 7302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2" y="6033"/>
                    <a:pt x="58738" y="6667"/>
                  </a:cubicBezTo>
                  <a:lnTo>
                    <a:pt x="7302" y="36513"/>
                  </a:lnTo>
                  <a:cubicBezTo>
                    <a:pt x="6032" y="35242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4" name="任意多边形: 形状 10203"/>
            <p:cNvSpPr/>
            <p:nvPr/>
          </p:nvSpPr>
          <p:spPr>
            <a:xfrm>
              <a:off x="11343957" y="235870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6667 h 38100"/>
                <a:gd name="connsiteX3" fmla="*/ 7303 w 63500"/>
                <a:gd name="connsiteY3" fmla="*/ 3651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8103" y="6032"/>
                    <a:pt x="58738" y="6667"/>
                  </a:cubicBezTo>
                  <a:lnTo>
                    <a:pt x="7303" y="36513"/>
                  </a:lnTo>
                  <a:cubicBezTo>
                    <a:pt x="6668" y="35877"/>
                    <a:pt x="5398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5" name="任意多边形: 形状 10204"/>
            <p:cNvSpPr/>
            <p:nvPr/>
          </p:nvSpPr>
          <p:spPr>
            <a:xfrm>
              <a:off x="11346497" y="236061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6667 h 38100"/>
                <a:gd name="connsiteX3" fmla="*/ 7303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5398"/>
                    <a:pt x="58103" y="6033"/>
                    <a:pt x="58738" y="6667"/>
                  </a:cubicBezTo>
                  <a:lnTo>
                    <a:pt x="7303" y="36513"/>
                  </a:lnTo>
                  <a:cubicBezTo>
                    <a:pt x="6668" y="35877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6" name="任意多边形: 形状 10205"/>
            <p:cNvSpPr/>
            <p:nvPr/>
          </p:nvSpPr>
          <p:spPr>
            <a:xfrm>
              <a:off x="11349038" y="23625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6668 h 38100"/>
                <a:gd name="connsiteX3" fmla="*/ 7303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3" y="6033"/>
                    <a:pt x="58738" y="6668"/>
                  </a:cubicBezTo>
                  <a:lnTo>
                    <a:pt x="7303" y="36513"/>
                  </a:lnTo>
                  <a:cubicBezTo>
                    <a:pt x="6668" y="35878"/>
                    <a:pt x="6032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7" name="任意多边形: 形状 10206"/>
            <p:cNvSpPr/>
            <p:nvPr/>
          </p:nvSpPr>
          <p:spPr>
            <a:xfrm>
              <a:off x="11351578" y="236442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8103" y="6032"/>
                    <a:pt x="58738" y="7302"/>
                  </a:cubicBezTo>
                  <a:lnTo>
                    <a:pt x="7303" y="37148"/>
                  </a:lnTo>
                  <a:cubicBezTo>
                    <a:pt x="6667" y="36513"/>
                    <a:pt x="6032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8" name="任意多边形: 形状 10207"/>
            <p:cNvSpPr/>
            <p:nvPr/>
          </p:nvSpPr>
          <p:spPr>
            <a:xfrm>
              <a:off x="11354753" y="236696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3" y="6033"/>
                    <a:pt x="58738" y="7302"/>
                  </a:cubicBezTo>
                  <a:lnTo>
                    <a:pt x="7303" y="37148"/>
                  </a:lnTo>
                  <a:cubicBezTo>
                    <a:pt x="6667" y="35877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9" name="任意多边形: 形状 10208"/>
            <p:cNvSpPr/>
            <p:nvPr/>
          </p:nvSpPr>
          <p:spPr>
            <a:xfrm>
              <a:off x="11357293" y="236950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2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2" y="6668"/>
                    <a:pt x="58738" y="7302"/>
                  </a:cubicBezTo>
                  <a:lnTo>
                    <a:pt x="7302" y="37148"/>
                  </a:lnTo>
                  <a:cubicBezTo>
                    <a:pt x="6667" y="35877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0" name="任意多边形: 形状 10209"/>
            <p:cNvSpPr/>
            <p:nvPr/>
          </p:nvSpPr>
          <p:spPr>
            <a:xfrm>
              <a:off x="11359832" y="237140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8103" y="6667"/>
                    <a:pt x="58738" y="7302"/>
                  </a:cubicBezTo>
                  <a:lnTo>
                    <a:pt x="7303" y="37147"/>
                  </a:lnTo>
                  <a:cubicBezTo>
                    <a:pt x="6668" y="36513"/>
                    <a:pt x="603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1" name="任意多边形: 形状 10210"/>
            <p:cNvSpPr/>
            <p:nvPr/>
          </p:nvSpPr>
          <p:spPr>
            <a:xfrm>
              <a:off x="11362372" y="23739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8"/>
                    <a:pt x="58103" y="6667"/>
                    <a:pt x="58738" y="7302"/>
                  </a:cubicBezTo>
                  <a:lnTo>
                    <a:pt x="7303" y="37148"/>
                  </a:lnTo>
                  <a:cubicBezTo>
                    <a:pt x="6668" y="36513"/>
                    <a:pt x="603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2" name="任意多边形: 形状 10211"/>
            <p:cNvSpPr/>
            <p:nvPr/>
          </p:nvSpPr>
          <p:spPr>
            <a:xfrm>
              <a:off x="11364913" y="237712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8103" y="6667"/>
                    <a:pt x="58738" y="7302"/>
                  </a:cubicBezTo>
                  <a:lnTo>
                    <a:pt x="7303" y="37148"/>
                  </a:lnTo>
                  <a:cubicBezTo>
                    <a:pt x="6668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3" name="任意多边形: 形状 10212"/>
            <p:cNvSpPr/>
            <p:nvPr/>
          </p:nvSpPr>
          <p:spPr>
            <a:xfrm>
              <a:off x="11367453" y="237966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667"/>
                    <a:pt x="58738" y="7302"/>
                  </a:cubicBezTo>
                  <a:lnTo>
                    <a:pt x="7303" y="37148"/>
                  </a:lnTo>
                  <a:cubicBezTo>
                    <a:pt x="6032" y="36513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4" name="任意多边形: 形状 10213"/>
            <p:cNvSpPr/>
            <p:nvPr/>
          </p:nvSpPr>
          <p:spPr>
            <a:xfrm>
              <a:off x="11369993" y="238220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2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668"/>
                    <a:pt x="58738" y="7302"/>
                  </a:cubicBezTo>
                  <a:lnTo>
                    <a:pt x="7302" y="37148"/>
                  </a:lnTo>
                  <a:cubicBezTo>
                    <a:pt x="6032" y="3651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5" name="任意多边形: 形状 10214"/>
            <p:cNvSpPr/>
            <p:nvPr/>
          </p:nvSpPr>
          <p:spPr>
            <a:xfrm>
              <a:off x="11371897" y="238474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6033"/>
                    <a:pt x="58103" y="7303"/>
                    <a:pt x="58738" y="7938"/>
                  </a:cubicBezTo>
                  <a:lnTo>
                    <a:pt x="7303" y="37783"/>
                  </a:lnTo>
                  <a:cubicBezTo>
                    <a:pt x="6668" y="37148"/>
                    <a:pt x="603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6" name="任意多边形: 形状 10215"/>
            <p:cNvSpPr/>
            <p:nvPr/>
          </p:nvSpPr>
          <p:spPr>
            <a:xfrm>
              <a:off x="11374438" y="2388552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60007 w 63500"/>
                <a:gd name="connsiteY2" fmla="*/ 9843 h 44450"/>
                <a:gd name="connsiteX3" fmla="*/ 8572 w 63500"/>
                <a:gd name="connsiteY3" fmla="*/ 39688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6668"/>
                    <a:pt x="58738" y="7938"/>
                    <a:pt x="60007" y="9843"/>
                  </a:cubicBezTo>
                  <a:lnTo>
                    <a:pt x="8572" y="39688"/>
                  </a:lnTo>
                  <a:cubicBezTo>
                    <a:pt x="7303" y="37783"/>
                    <a:pt x="6032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7" name="任意多边形: 形状 10216"/>
            <p:cNvSpPr/>
            <p:nvPr/>
          </p:nvSpPr>
          <p:spPr>
            <a:xfrm>
              <a:off x="11378247" y="239363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0643 w 63500"/>
                <a:gd name="connsiteY2" fmla="*/ 12382 h 44450"/>
                <a:gd name="connsiteX3" fmla="*/ 9208 w 63500"/>
                <a:gd name="connsiteY3" fmla="*/ 4222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8103" y="7302"/>
                    <a:pt x="59372" y="9842"/>
                    <a:pt x="60643" y="12382"/>
                  </a:cubicBezTo>
                  <a:lnTo>
                    <a:pt x="9208" y="42227"/>
                  </a:lnTo>
                  <a:cubicBezTo>
                    <a:pt x="7938" y="39688"/>
                    <a:pt x="6668" y="3714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8" name="任意多边形: 形状 10217"/>
            <p:cNvSpPr/>
            <p:nvPr/>
          </p:nvSpPr>
          <p:spPr>
            <a:xfrm>
              <a:off x="11383328" y="2401252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58738 w 63500"/>
                <a:gd name="connsiteY2" fmla="*/ 9843 h 44450"/>
                <a:gd name="connsiteX3" fmla="*/ 7303 w 63500"/>
                <a:gd name="connsiteY3" fmla="*/ 39688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668"/>
                    <a:pt x="58103" y="7938"/>
                    <a:pt x="58738" y="9843"/>
                  </a:cubicBezTo>
                  <a:lnTo>
                    <a:pt x="7303" y="39688"/>
                  </a:lnTo>
                  <a:cubicBezTo>
                    <a:pt x="6667" y="37783"/>
                    <a:pt x="5397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9" name="任意多边形: 形状 10218"/>
            <p:cNvSpPr/>
            <p:nvPr/>
          </p:nvSpPr>
          <p:spPr>
            <a:xfrm>
              <a:off x="11385868" y="240633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7938 h 38100"/>
                <a:gd name="connsiteX3" fmla="*/ 666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7" y="6667"/>
                    <a:pt x="58102" y="7938"/>
                  </a:cubicBezTo>
                  <a:lnTo>
                    <a:pt x="6667" y="37782"/>
                  </a:lnTo>
                  <a:cubicBezTo>
                    <a:pt x="6032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0" name="任意多边形: 形状 10219"/>
            <p:cNvSpPr/>
            <p:nvPr/>
          </p:nvSpPr>
          <p:spPr>
            <a:xfrm>
              <a:off x="11387772" y="240950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032"/>
                    <a:pt x="57468" y="6667"/>
                    <a:pt x="57468" y="7938"/>
                  </a:cubicBezTo>
                  <a:lnTo>
                    <a:pt x="6033" y="37782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1" name="任意多边形: 形状 10220"/>
            <p:cNvSpPr/>
            <p:nvPr/>
          </p:nvSpPr>
          <p:spPr>
            <a:xfrm>
              <a:off x="11389043" y="24126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7302 h 38100"/>
                <a:gd name="connsiteX3" fmla="*/ 6032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6832" y="6667"/>
                    <a:pt x="57467" y="7302"/>
                  </a:cubicBezTo>
                  <a:lnTo>
                    <a:pt x="6032" y="37147"/>
                  </a:lnTo>
                  <a:cubicBezTo>
                    <a:pt x="5397" y="36513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2" name="任意多边形: 形状 10221"/>
            <p:cNvSpPr/>
            <p:nvPr/>
          </p:nvSpPr>
          <p:spPr>
            <a:xfrm>
              <a:off x="11390313" y="24152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7302 h 38100"/>
                <a:gd name="connsiteX3" fmla="*/ 6032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6832" y="6667"/>
                    <a:pt x="57468" y="7302"/>
                  </a:cubicBezTo>
                  <a:lnTo>
                    <a:pt x="6032" y="37148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3" name="任意多边形: 形状 10222"/>
            <p:cNvSpPr/>
            <p:nvPr/>
          </p:nvSpPr>
          <p:spPr>
            <a:xfrm>
              <a:off x="11391582" y="24183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7468 w 57150"/>
                <a:gd name="connsiteY2" fmla="*/ 7302 h 38100"/>
                <a:gd name="connsiteX3" fmla="*/ 6033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8"/>
                    <a:pt x="56833" y="6667"/>
                    <a:pt x="57468" y="7302"/>
                  </a:cubicBezTo>
                  <a:lnTo>
                    <a:pt x="6033" y="37148"/>
                  </a:lnTo>
                  <a:cubicBezTo>
                    <a:pt x="5398" y="36513"/>
                    <a:pt x="5398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4" name="任意多边形: 形状 10223"/>
            <p:cNvSpPr/>
            <p:nvPr/>
          </p:nvSpPr>
          <p:spPr>
            <a:xfrm>
              <a:off x="11392853" y="242093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7 w 57150"/>
                <a:gd name="connsiteY2" fmla="*/ 7302 h 38100"/>
                <a:gd name="connsiteX3" fmla="*/ 6032 w 57150"/>
                <a:gd name="connsiteY3" fmla="*/ 3714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6832" y="6667"/>
                    <a:pt x="57467" y="7302"/>
                  </a:cubicBezTo>
                  <a:lnTo>
                    <a:pt x="6032" y="37148"/>
                  </a:lnTo>
                  <a:cubicBezTo>
                    <a:pt x="5397" y="36513"/>
                    <a:pt x="476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5" name="任意多边形: 形状 10224"/>
            <p:cNvSpPr/>
            <p:nvPr/>
          </p:nvSpPr>
          <p:spPr>
            <a:xfrm>
              <a:off x="11393488" y="24234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6668"/>
                    <a:pt x="57468" y="7938"/>
                  </a:cubicBezTo>
                  <a:lnTo>
                    <a:pt x="6032" y="37783"/>
                  </a:lnTo>
                  <a:cubicBezTo>
                    <a:pt x="5397" y="37148"/>
                    <a:pt x="5397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6" name="任意多边形: 形状 10225"/>
            <p:cNvSpPr/>
            <p:nvPr/>
          </p:nvSpPr>
          <p:spPr>
            <a:xfrm>
              <a:off x="11394757" y="24266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6833 w 57150"/>
                <a:gd name="connsiteY2" fmla="*/ 7938 h 38100"/>
                <a:gd name="connsiteX3" fmla="*/ 5398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033"/>
                    <a:pt x="56833" y="6668"/>
                    <a:pt x="56833" y="7938"/>
                  </a:cubicBezTo>
                  <a:lnTo>
                    <a:pt x="5398" y="37783"/>
                  </a:lnTo>
                  <a:cubicBezTo>
                    <a:pt x="5398" y="36513"/>
                    <a:pt x="476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7" name="任意多边形: 形状 10226"/>
            <p:cNvSpPr/>
            <p:nvPr/>
          </p:nvSpPr>
          <p:spPr>
            <a:xfrm>
              <a:off x="11395393" y="242982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6033"/>
                    <a:pt x="56832" y="6668"/>
                    <a:pt x="56832" y="7938"/>
                  </a:cubicBezTo>
                  <a:lnTo>
                    <a:pt x="5397" y="37783"/>
                  </a:lnTo>
                  <a:cubicBezTo>
                    <a:pt x="5397" y="3651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8" name="任意多边形: 形状 10227"/>
            <p:cNvSpPr/>
            <p:nvPr/>
          </p:nvSpPr>
          <p:spPr>
            <a:xfrm>
              <a:off x="11396663" y="243236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6033"/>
                    <a:pt x="56832" y="6668"/>
                    <a:pt x="56832" y="7938"/>
                  </a:cubicBezTo>
                  <a:lnTo>
                    <a:pt x="5397" y="37783"/>
                  </a:lnTo>
                  <a:cubicBezTo>
                    <a:pt x="5397" y="37148"/>
                    <a:pt x="476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9" name="任意多边形: 形状 10228"/>
            <p:cNvSpPr/>
            <p:nvPr/>
          </p:nvSpPr>
          <p:spPr>
            <a:xfrm>
              <a:off x="11397297" y="24355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833 w 57150"/>
                <a:gd name="connsiteY2" fmla="*/ 7938 h 38100"/>
                <a:gd name="connsiteX3" fmla="*/ 5397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6033"/>
                    <a:pt x="56833" y="6668"/>
                    <a:pt x="56833" y="7938"/>
                  </a:cubicBezTo>
                  <a:lnTo>
                    <a:pt x="5397" y="37783"/>
                  </a:lnTo>
                  <a:cubicBezTo>
                    <a:pt x="5397" y="36513"/>
                    <a:pt x="476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0" name="任意多边形: 形状 10229"/>
            <p:cNvSpPr/>
            <p:nvPr/>
          </p:nvSpPr>
          <p:spPr>
            <a:xfrm>
              <a:off x="11397932" y="243871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6833 w 57150"/>
                <a:gd name="connsiteY2" fmla="*/ 7938 h 38100"/>
                <a:gd name="connsiteX3" fmla="*/ 5398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198" y="6033"/>
                    <a:pt x="56833" y="6668"/>
                    <a:pt x="56833" y="7938"/>
                  </a:cubicBezTo>
                  <a:lnTo>
                    <a:pt x="5398" y="37783"/>
                  </a:lnTo>
                  <a:cubicBezTo>
                    <a:pt x="5398" y="36513"/>
                    <a:pt x="476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1" name="任意多边形: 形状 10230"/>
            <p:cNvSpPr/>
            <p:nvPr/>
          </p:nvSpPr>
          <p:spPr>
            <a:xfrm>
              <a:off x="11398568" y="24412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302 h 38100"/>
                <a:gd name="connsiteX3" fmla="*/ 5397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7"/>
                    <a:pt x="56832" y="6667"/>
                    <a:pt x="56832" y="7302"/>
                  </a:cubicBezTo>
                  <a:lnTo>
                    <a:pt x="5397" y="37147"/>
                  </a:lnTo>
                  <a:cubicBezTo>
                    <a:pt x="5397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2" name="任意多边形: 形状 10231"/>
            <p:cNvSpPr/>
            <p:nvPr/>
          </p:nvSpPr>
          <p:spPr>
            <a:xfrm>
              <a:off x="11399203" y="244443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302 h 38100"/>
                <a:gd name="connsiteX3" fmla="*/ 5397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7"/>
                    <a:pt x="56197" y="6667"/>
                    <a:pt x="56832" y="7302"/>
                  </a:cubicBezTo>
                  <a:lnTo>
                    <a:pt x="5397" y="37147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3" name="任意多边形: 形状 10232"/>
            <p:cNvSpPr/>
            <p:nvPr/>
          </p:nvSpPr>
          <p:spPr>
            <a:xfrm>
              <a:off x="11399203" y="24469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4763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8"/>
                    <a:pt x="56197" y="6667"/>
                    <a:pt x="56197" y="7302"/>
                  </a:cubicBezTo>
                  <a:lnTo>
                    <a:pt x="4763" y="37148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4" name="任意多边形: 形状 10233"/>
            <p:cNvSpPr/>
            <p:nvPr/>
          </p:nvSpPr>
          <p:spPr>
            <a:xfrm>
              <a:off x="11399838" y="24501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4763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8"/>
                    <a:pt x="56197" y="6667"/>
                    <a:pt x="56197" y="7302"/>
                  </a:cubicBezTo>
                  <a:lnTo>
                    <a:pt x="4763" y="37148"/>
                  </a:lnTo>
                  <a:cubicBezTo>
                    <a:pt x="4763" y="35877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5" name="任意多边形: 形状 10234"/>
            <p:cNvSpPr/>
            <p:nvPr/>
          </p:nvSpPr>
          <p:spPr>
            <a:xfrm>
              <a:off x="11399838" y="24526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4763 w 57150"/>
                <a:gd name="connsiteY3" fmla="*/ 3714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5398"/>
                    <a:pt x="56197" y="6667"/>
                    <a:pt x="56197" y="7302"/>
                  </a:cubicBezTo>
                  <a:lnTo>
                    <a:pt x="4763" y="37148"/>
                  </a:lnTo>
                  <a:cubicBezTo>
                    <a:pt x="4763" y="36513"/>
                    <a:pt x="4763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6" name="任意多边形: 形状 10235"/>
            <p:cNvSpPr/>
            <p:nvPr/>
          </p:nvSpPr>
          <p:spPr>
            <a:xfrm>
              <a:off x="11400472" y="245522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56197 w 57150"/>
                <a:gd name="connsiteY3" fmla="*/ 7302 h 38100"/>
                <a:gd name="connsiteX4" fmla="*/ 4763 w 57150"/>
                <a:gd name="connsiteY4" fmla="*/ 37148 h 38100"/>
                <a:gd name="connsiteX5" fmla="*/ 4763 w 57150"/>
                <a:gd name="connsiteY5" fmla="*/ 37148 h 38100"/>
                <a:gd name="connsiteX6" fmla="*/ 4763 w 57150"/>
                <a:gd name="connsiteY6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5398"/>
                    <a:pt x="56197" y="6668"/>
                    <a:pt x="56197" y="7302"/>
                  </a:cubicBezTo>
                  <a:cubicBezTo>
                    <a:pt x="56197" y="7302"/>
                    <a:pt x="56197" y="7302"/>
                    <a:pt x="56197" y="7302"/>
                  </a:cubicBezTo>
                  <a:lnTo>
                    <a:pt x="4763" y="37148"/>
                  </a:lnTo>
                  <a:cubicBezTo>
                    <a:pt x="4763" y="37148"/>
                    <a:pt x="4763" y="37148"/>
                    <a:pt x="4763" y="37148"/>
                  </a:cubicBezTo>
                  <a:cubicBezTo>
                    <a:pt x="4763" y="36513"/>
                    <a:pt x="476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7" name="任意多边形: 形状 10236"/>
            <p:cNvSpPr/>
            <p:nvPr/>
          </p:nvSpPr>
          <p:spPr>
            <a:xfrm>
              <a:off x="11400472" y="245776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197 w 57150"/>
                <a:gd name="connsiteY2" fmla="*/ 6668 h 38100"/>
                <a:gd name="connsiteX3" fmla="*/ 4763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5398"/>
                    <a:pt x="56197" y="6033"/>
                    <a:pt x="56197" y="6668"/>
                  </a:cubicBezTo>
                  <a:lnTo>
                    <a:pt x="4763" y="36513"/>
                  </a:lnTo>
                  <a:cubicBezTo>
                    <a:pt x="4763" y="36513"/>
                    <a:pt x="476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8" name="任意多边形: 形状 10237"/>
            <p:cNvSpPr/>
            <p:nvPr/>
          </p:nvSpPr>
          <p:spPr>
            <a:xfrm>
              <a:off x="11399838" y="246030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4763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7"/>
                    <a:pt x="56197" y="6667"/>
                    <a:pt x="56197" y="7302"/>
                  </a:cubicBezTo>
                  <a:lnTo>
                    <a:pt x="4763" y="37147"/>
                  </a:lnTo>
                  <a:cubicBezTo>
                    <a:pt x="4763" y="35877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9" name="任意多边形: 形状 10238"/>
            <p:cNvSpPr/>
            <p:nvPr/>
          </p:nvSpPr>
          <p:spPr>
            <a:xfrm>
              <a:off x="11399838" y="24628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0" name="任意多边形: 形状 10239"/>
            <p:cNvSpPr/>
            <p:nvPr/>
          </p:nvSpPr>
          <p:spPr>
            <a:xfrm>
              <a:off x="11399838" y="24653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197 w 57150"/>
                <a:gd name="connsiteY2" fmla="*/ 6667 h 38100"/>
                <a:gd name="connsiteX3" fmla="*/ 4763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5398"/>
                    <a:pt x="56197" y="6033"/>
                    <a:pt x="56197" y="6667"/>
                  </a:cubicBezTo>
                  <a:lnTo>
                    <a:pt x="4763" y="36513"/>
                  </a:lnTo>
                  <a:cubicBezTo>
                    <a:pt x="4763" y="35877"/>
                    <a:pt x="4763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1" name="任意多边形: 形状 10240"/>
            <p:cNvSpPr/>
            <p:nvPr/>
          </p:nvSpPr>
          <p:spPr>
            <a:xfrm>
              <a:off x="10946447" y="2224748"/>
              <a:ext cx="514350" cy="431800"/>
            </a:xfrm>
            <a:custGeom>
              <a:avLst/>
              <a:gdLst>
                <a:gd name="connsiteX0" fmla="*/ 263843 w 514350"/>
                <a:gd name="connsiteY0" fmla="*/ 19342 h 431800"/>
                <a:gd name="connsiteX1" fmla="*/ 362903 w 514350"/>
                <a:gd name="connsiteY1" fmla="*/ 159042 h 431800"/>
                <a:gd name="connsiteX2" fmla="*/ 398463 w 514350"/>
                <a:gd name="connsiteY2" fmla="*/ 166662 h 431800"/>
                <a:gd name="connsiteX3" fmla="*/ 458153 w 514350"/>
                <a:gd name="connsiteY3" fmla="*/ 267627 h 431800"/>
                <a:gd name="connsiteX4" fmla="*/ 457518 w 514350"/>
                <a:gd name="connsiteY4" fmla="*/ 277152 h 431800"/>
                <a:gd name="connsiteX5" fmla="*/ 512128 w 514350"/>
                <a:gd name="connsiteY5" fmla="*/ 384467 h 431800"/>
                <a:gd name="connsiteX6" fmla="*/ 454343 w 514350"/>
                <a:gd name="connsiteY6" fmla="*/ 427012 h 431800"/>
                <a:gd name="connsiteX7" fmla="*/ 53022 w 514350"/>
                <a:gd name="connsiteY7" fmla="*/ 196507 h 431800"/>
                <a:gd name="connsiteX8" fmla="*/ 44768 w 514350"/>
                <a:gd name="connsiteY8" fmla="*/ 192062 h 431800"/>
                <a:gd name="connsiteX9" fmla="*/ 4763 w 514350"/>
                <a:gd name="connsiteY9" fmla="*/ 124752 h 431800"/>
                <a:gd name="connsiteX10" fmla="*/ 39053 w 514350"/>
                <a:gd name="connsiteY10" fmla="*/ 100622 h 431800"/>
                <a:gd name="connsiteX11" fmla="*/ 37147 w 514350"/>
                <a:gd name="connsiteY11" fmla="*/ 86017 h 431800"/>
                <a:gd name="connsiteX12" fmla="*/ 77153 w 514350"/>
                <a:gd name="connsiteY12" fmla="*/ 64427 h 431800"/>
                <a:gd name="connsiteX13" fmla="*/ 98108 w 514350"/>
                <a:gd name="connsiteY13" fmla="*/ 83477 h 431800"/>
                <a:gd name="connsiteX14" fmla="*/ 141288 w 514350"/>
                <a:gd name="connsiteY14" fmla="*/ 61887 h 431800"/>
                <a:gd name="connsiteX15" fmla="*/ 159068 w 514350"/>
                <a:gd name="connsiteY15" fmla="*/ 76492 h 431800"/>
                <a:gd name="connsiteX16" fmla="*/ 263843 w 514350"/>
                <a:gd name="connsiteY16" fmla="*/ 19342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4350" h="431800">
                  <a:moveTo>
                    <a:pt x="263843" y="19342"/>
                  </a:moveTo>
                  <a:cubicBezTo>
                    <a:pt x="310833" y="46647"/>
                    <a:pt x="350203" y="104432"/>
                    <a:pt x="362903" y="159042"/>
                  </a:cubicBezTo>
                  <a:cubicBezTo>
                    <a:pt x="373063" y="156502"/>
                    <a:pt x="385128" y="158407"/>
                    <a:pt x="398463" y="166662"/>
                  </a:cubicBezTo>
                  <a:cubicBezTo>
                    <a:pt x="431483" y="185712"/>
                    <a:pt x="458153" y="230797"/>
                    <a:pt x="458153" y="267627"/>
                  </a:cubicBezTo>
                  <a:cubicBezTo>
                    <a:pt x="458153" y="270802"/>
                    <a:pt x="458153" y="273977"/>
                    <a:pt x="457518" y="277152"/>
                  </a:cubicBezTo>
                  <a:cubicBezTo>
                    <a:pt x="488633" y="302552"/>
                    <a:pt x="512128" y="347002"/>
                    <a:pt x="512128" y="384467"/>
                  </a:cubicBezTo>
                  <a:cubicBezTo>
                    <a:pt x="512128" y="422567"/>
                    <a:pt x="486728" y="439712"/>
                    <a:pt x="454343" y="427012"/>
                  </a:cubicBezTo>
                  <a:lnTo>
                    <a:pt x="53022" y="196507"/>
                  </a:lnTo>
                  <a:cubicBezTo>
                    <a:pt x="50483" y="194602"/>
                    <a:pt x="47943" y="193332"/>
                    <a:pt x="44768" y="192062"/>
                  </a:cubicBezTo>
                  <a:cubicBezTo>
                    <a:pt x="22543" y="179362"/>
                    <a:pt x="4763" y="148882"/>
                    <a:pt x="4763" y="124752"/>
                  </a:cubicBezTo>
                  <a:cubicBezTo>
                    <a:pt x="4763" y="102527"/>
                    <a:pt x="20003" y="92367"/>
                    <a:pt x="39053" y="100622"/>
                  </a:cubicBezTo>
                  <a:cubicBezTo>
                    <a:pt x="37783" y="95542"/>
                    <a:pt x="37147" y="90462"/>
                    <a:pt x="37147" y="86017"/>
                  </a:cubicBezTo>
                  <a:cubicBezTo>
                    <a:pt x="37147" y="61252"/>
                    <a:pt x="54928" y="51727"/>
                    <a:pt x="77153" y="64427"/>
                  </a:cubicBezTo>
                  <a:cubicBezTo>
                    <a:pt x="84772" y="68872"/>
                    <a:pt x="91758" y="75222"/>
                    <a:pt x="98108" y="83477"/>
                  </a:cubicBezTo>
                  <a:cubicBezTo>
                    <a:pt x="98743" y="58077"/>
                    <a:pt x="117793" y="48552"/>
                    <a:pt x="141288" y="61887"/>
                  </a:cubicBezTo>
                  <a:cubicBezTo>
                    <a:pt x="147638" y="65697"/>
                    <a:pt x="153988" y="70777"/>
                    <a:pt x="159068" y="76492"/>
                  </a:cubicBezTo>
                  <a:cubicBezTo>
                    <a:pt x="160338" y="11087"/>
                    <a:pt x="206693" y="-13678"/>
                    <a:pt x="263843" y="19342"/>
                  </a:cubicBezTo>
                  <a:close/>
                </a:path>
              </a:pathLst>
            </a:custGeom>
            <a:solidFill>
              <a:srgbClr val="D9E1F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2" name="任意多边形: 形状 10241"/>
            <p:cNvSpPr/>
            <p:nvPr/>
          </p:nvSpPr>
          <p:spPr>
            <a:xfrm>
              <a:off x="8414703" y="1170623"/>
              <a:ext cx="63500" cy="38100"/>
            </a:xfrm>
            <a:custGeom>
              <a:avLst/>
              <a:gdLst>
                <a:gd name="connsiteX0" fmla="*/ 4763 w 63500"/>
                <a:gd name="connsiteY0" fmla="*/ 35877 h 38100"/>
                <a:gd name="connsiteX1" fmla="*/ 56197 w 63500"/>
                <a:gd name="connsiteY1" fmla="*/ 6032 h 38100"/>
                <a:gd name="connsiteX2" fmla="*/ 59372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587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877"/>
                  </a:moveTo>
                  <a:lnTo>
                    <a:pt x="56197" y="6032"/>
                  </a:lnTo>
                  <a:cubicBezTo>
                    <a:pt x="57467" y="5397"/>
                    <a:pt x="58103" y="4763"/>
                    <a:pt x="59372" y="4763"/>
                  </a:cubicBezTo>
                  <a:lnTo>
                    <a:pt x="7938" y="34607"/>
                  </a:lnTo>
                  <a:cubicBezTo>
                    <a:pt x="6667" y="34607"/>
                    <a:pt x="5397" y="35242"/>
                    <a:pt x="4763" y="3587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3" name="任意多边形: 形状 10242"/>
            <p:cNvSpPr/>
            <p:nvPr/>
          </p:nvSpPr>
          <p:spPr>
            <a:xfrm>
              <a:off x="8417878" y="1169352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2" y="5398"/>
                    <a:pt x="58103" y="4763"/>
                    <a:pt x="58738" y="4763"/>
                  </a:cubicBezTo>
                  <a:lnTo>
                    <a:pt x="7303" y="34608"/>
                  </a:lnTo>
                  <a:cubicBezTo>
                    <a:pt x="6032" y="34608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4" name="任意多边形: 形状 10243"/>
            <p:cNvSpPr/>
            <p:nvPr/>
          </p:nvSpPr>
          <p:spPr>
            <a:xfrm>
              <a:off x="8420418" y="1168718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7 h 38100"/>
                <a:gd name="connsiteX2" fmla="*/ 58738 w 63500"/>
                <a:gd name="connsiteY2" fmla="*/ 4763 h 38100"/>
                <a:gd name="connsiteX3" fmla="*/ 7302 w 63500"/>
                <a:gd name="connsiteY3" fmla="*/ 34607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7"/>
                  </a:lnTo>
                  <a:cubicBezTo>
                    <a:pt x="56832" y="5397"/>
                    <a:pt x="57467" y="5397"/>
                    <a:pt x="58738" y="4763"/>
                  </a:cubicBezTo>
                  <a:lnTo>
                    <a:pt x="7302" y="34607"/>
                  </a:lnTo>
                  <a:cubicBezTo>
                    <a:pt x="6032" y="35243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5" name="任意多边形: 形状 10244"/>
            <p:cNvSpPr/>
            <p:nvPr/>
          </p:nvSpPr>
          <p:spPr>
            <a:xfrm>
              <a:off x="8422957" y="11693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3973"/>
                    <a:pt x="5398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6" name="任意多边形: 形状 10245"/>
            <p:cNvSpPr/>
            <p:nvPr/>
          </p:nvSpPr>
          <p:spPr>
            <a:xfrm>
              <a:off x="8424863" y="116871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8" y="4763"/>
                    <a:pt x="58103" y="4763"/>
                  </a:cubicBezTo>
                  <a:lnTo>
                    <a:pt x="6668" y="34607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7" name="任意多边形: 形状 10246"/>
            <p:cNvSpPr/>
            <p:nvPr/>
          </p:nvSpPr>
          <p:spPr>
            <a:xfrm>
              <a:off x="8426768" y="11693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4763"/>
                  </a:cubicBezTo>
                  <a:lnTo>
                    <a:pt x="6667" y="34608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8" name="任意多边形: 形状 10247"/>
            <p:cNvSpPr/>
            <p:nvPr/>
          </p:nvSpPr>
          <p:spPr>
            <a:xfrm>
              <a:off x="8428672" y="11693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9" name="任意多边形: 形状 10248"/>
            <p:cNvSpPr/>
            <p:nvPr/>
          </p:nvSpPr>
          <p:spPr>
            <a:xfrm>
              <a:off x="8430578" y="11693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7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3" y="5398"/>
                  </a:cubicBezTo>
                  <a:lnTo>
                    <a:pt x="6667" y="35243"/>
                  </a:lnTo>
                  <a:cubicBezTo>
                    <a:pt x="5397" y="35243"/>
                    <a:pt x="476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0" name="任意多边形: 形状 10249"/>
            <p:cNvSpPr/>
            <p:nvPr/>
          </p:nvSpPr>
          <p:spPr>
            <a:xfrm>
              <a:off x="8431847" y="116998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5398"/>
                  </a:cubicBezTo>
                  <a:lnTo>
                    <a:pt x="6668" y="35243"/>
                  </a:lnTo>
                  <a:cubicBezTo>
                    <a:pt x="6033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1" name="任意多边形: 形状 10250"/>
            <p:cNvSpPr/>
            <p:nvPr/>
          </p:nvSpPr>
          <p:spPr>
            <a:xfrm>
              <a:off x="8433753" y="11706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7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7"/>
                    <a:pt x="58103" y="5397"/>
                  </a:cubicBezTo>
                  <a:lnTo>
                    <a:pt x="6667" y="35242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2" name="任意多边形: 形状 10251"/>
            <p:cNvSpPr/>
            <p:nvPr/>
          </p:nvSpPr>
          <p:spPr>
            <a:xfrm>
              <a:off x="8435657" y="11706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7468" y="5397"/>
                    <a:pt x="58103" y="5397"/>
                  </a:cubicBezTo>
                  <a:lnTo>
                    <a:pt x="6668" y="35242"/>
                  </a:lnTo>
                  <a:cubicBezTo>
                    <a:pt x="5398" y="35242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3" name="任意多边形: 形状 10252"/>
            <p:cNvSpPr/>
            <p:nvPr/>
          </p:nvSpPr>
          <p:spPr>
            <a:xfrm>
              <a:off x="8436928" y="117125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4763 h 38100"/>
                <a:gd name="connsiteX3" fmla="*/ 4763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4763"/>
                    <a:pt x="56832" y="4763"/>
                    <a:pt x="56832" y="4763"/>
                  </a:cubicBezTo>
                  <a:lnTo>
                    <a:pt x="4763" y="34607"/>
                  </a:lnTo>
                  <a:cubicBezTo>
                    <a:pt x="5397" y="3524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4" name="任意多边形: 形状 10253"/>
            <p:cNvSpPr/>
            <p:nvPr/>
          </p:nvSpPr>
          <p:spPr>
            <a:xfrm>
              <a:off x="8447088" y="1131252"/>
              <a:ext cx="63500" cy="38100"/>
            </a:xfrm>
            <a:custGeom>
              <a:avLst/>
              <a:gdLst>
                <a:gd name="connsiteX0" fmla="*/ 4763 w 63500"/>
                <a:gd name="connsiteY0" fmla="*/ 35878 h 38100"/>
                <a:gd name="connsiteX1" fmla="*/ 56197 w 63500"/>
                <a:gd name="connsiteY1" fmla="*/ 6033 h 38100"/>
                <a:gd name="connsiteX2" fmla="*/ 59372 w 63500"/>
                <a:gd name="connsiteY2" fmla="*/ 4763 h 38100"/>
                <a:gd name="connsiteX3" fmla="*/ 7938 w 63500"/>
                <a:gd name="connsiteY3" fmla="*/ 34608 h 38100"/>
                <a:gd name="connsiteX4" fmla="*/ 4763 w 63500"/>
                <a:gd name="connsiteY4" fmla="*/ 3587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878"/>
                  </a:moveTo>
                  <a:lnTo>
                    <a:pt x="56197" y="6033"/>
                  </a:lnTo>
                  <a:cubicBezTo>
                    <a:pt x="57468" y="5398"/>
                    <a:pt x="58103" y="4763"/>
                    <a:pt x="59372" y="4763"/>
                  </a:cubicBezTo>
                  <a:lnTo>
                    <a:pt x="7938" y="34608"/>
                  </a:lnTo>
                  <a:cubicBezTo>
                    <a:pt x="6668" y="35243"/>
                    <a:pt x="5397" y="35243"/>
                    <a:pt x="4763" y="3587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5" name="任意多边形: 形状 10254"/>
            <p:cNvSpPr/>
            <p:nvPr/>
          </p:nvSpPr>
          <p:spPr>
            <a:xfrm>
              <a:off x="8450263" y="1130618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7 h 38100"/>
                <a:gd name="connsiteX2" fmla="*/ 58738 w 63500"/>
                <a:gd name="connsiteY2" fmla="*/ 4763 h 38100"/>
                <a:gd name="connsiteX3" fmla="*/ 7303 w 63500"/>
                <a:gd name="connsiteY3" fmla="*/ 34607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7"/>
                  </a:lnTo>
                  <a:cubicBezTo>
                    <a:pt x="56832" y="5397"/>
                    <a:pt x="58103" y="4763"/>
                    <a:pt x="58738" y="4763"/>
                  </a:cubicBezTo>
                  <a:lnTo>
                    <a:pt x="7303" y="34607"/>
                  </a:lnTo>
                  <a:cubicBezTo>
                    <a:pt x="6668" y="34607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6" name="任意多边形: 形状 10255"/>
            <p:cNvSpPr/>
            <p:nvPr/>
          </p:nvSpPr>
          <p:spPr>
            <a:xfrm>
              <a:off x="8452803" y="1129982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7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2" y="5398"/>
                    <a:pt x="57467" y="5398"/>
                    <a:pt x="58738" y="4763"/>
                  </a:cubicBezTo>
                  <a:lnTo>
                    <a:pt x="7303" y="34607"/>
                  </a:lnTo>
                  <a:cubicBezTo>
                    <a:pt x="6667" y="34607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7" name="任意多边形: 形状 10256"/>
            <p:cNvSpPr/>
            <p:nvPr/>
          </p:nvSpPr>
          <p:spPr>
            <a:xfrm>
              <a:off x="8455343" y="1129982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4763 h 38100"/>
                <a:gd name="connsiteX3" fmla="*/ 6667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4763"/>
                  </a:cubicBezTo>
                  <a:lnTo>
                    <a:pt x="6667" y="34607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8" name="任意多边形: 形状 10257"/>
            <p:cNvSpPr/>
            <p:nvPr/>
          </p:nvSpPr>
          <p:spPr>
            <a:xfrm>
              <a:off x="8457247" y="1129982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7"/>
                  </a:lnTo>
                  <a:cubicBezTo>
                    <a:pt x="6033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9" name="任意多边形: 形状 10258"/>
            <p:cNvSpPr/>
            <p:nvPr/>
          </p:nvSpPr>
          <p:spPr>
            <a:xfrm>
              <a:off x="8459153" y="1129982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7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3" y="4763"/>
                  </a:cubicBezTo>
                  <a:lnTo>
                    <a:pt x="6667" y="34607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0" name="任意多边形: 形状 10259"/>
            <p:cNvSpPr/>
            <p:nvPr/>
          </p:nvSpPr>
          <p:spPr>
            <a:xfrm>
              <a:off x="8461057" y="113061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7"/>
                  </a:lnTo>
                  <a:cubicBezTo>
                    <a:pt x="6033" y="34607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1" name="任意多边形: 形状 10260"/>
            <p:cNvSpPr/>
            <p:nvPr/>
          </p:nvSpPr>
          <p:spPr>
            <a:xfrm>
              <a:off x="8462963" y="113061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8" y="4763"/>
                    <a:pt x="58103" y="5397"/>
                  </a:cubicBezTo>
                  <a:lnTo>
                    <a:pt x="6668" y="35243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2" name="任意多边形: 形状 10261"/>
            <p:cNvSpPr/>
            <p:nvPr/>
          </p:nvSpPr>
          <p:spPr>
            <a:xfrm>
              <a:off x="8464232" y="11312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5398"/>
                  </a:cubicBezTo>
                  <a:lnTo>
                    <a:pt x="6668" y="35243"/>
                  </a:lnTo>
                  <a:cubicBezTo>
                    <a:pt x="6033" y="34608"/>
                    <a:pt x="5398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3" name="任意多边形: 形状 10262"/>
            <p:cNvSpPr/>
            <p:nvPr/>
          </p:nvSpPr>
          <p:spPr>
            <a:xfrm>
              <a:off x="8466138" y="11312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8" y="5398"/>
                    <a:pt x="58103" y="5398"/>
                  </a:cubicBezTo>
                  <a:lnTo>
                    <a:pt x="6668" y="35243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4" name="任意多边形: 形状 10263"/>
            <p:cNvSpPr/>
            <p:nvPr/>
          </p:nvSpPr>
          <p:spPr>
            <a:xfrm>
              <a:off x="8468043" y="113188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5398 h 38100"/>
                <a:gd name="connsiteX3" fmla="*/ 6667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2" y="5398"/>
                  </a:cubicBezTo>
                  <a:lnTo>
                    <a:pt x="6667" y="35243"/>
                  </a:lnTo>
                  <a:cubicBezTo>
                    <a:pt x="5397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5" name="任意多边形: 形状 10264"/>
            <p:cNvSpPr/>
            <p:nvPr/>
          </p:nvSpPr>
          <p:spPr>
            <a:xfrm>
              <a:off x="8469313" y="11325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8" y="5397"/>
                    <a:pt x="58103" y="5397"/>
                  </a:cubicBezTo>
                  <a:lnTo>
                    <a:pt x="6668" y="35242"/>
                  </a:lnTo>
                  <a:cubicBezTo>
                    <a:pt x="6032" y="35242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6" name="任意多边形: 形状 10265"/>
            <p:cNvSpPr/>
            <p:nvPr/>
          </p:nvSpPr>
          <p:spPr>
            <a:xfrm>
              <a:off x="8471218" y="113315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5398 h 38100"/>
                <a:gd name="connsiteX3" fmla="*/ 6667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2" y="5398"/>
                  </a:cubicBezTo>
                  <a:lnTo>
                    <a:pt x="6667" y="35243"/>
                  </a:lnTo>
                  <a:cubicBezTo>
                    <a:pt x="6032" y="3524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7" name="任意多边形: 形状 10266"/>
            <p:cNvSpPr/>
            <p:nvPr/>
          </p:nvSpPr>
          <p:spPr>
            <a:xfrm>
              <a:off x="8473122" y="113379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7468" y="5397"/>
                    <a:pt x="58103" y="5397"/>
                  </a:cubicBezTo>
                  <a:lnTo>
                    <a:pt x="6668" y="35243"/>
                  </a:lnTo>
                  <a:cubicBezTo>
                    <a:pt x="5397" y="3524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8" name="任意多边形: 形状 10267"/>
            <p:cNvSpPr/>
            <p:nvPr/>
          </p:nvSpPr>
          <p:spPr>
            <a:xfrm>
              <a:off x="8474393" y="113506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5398 h 38100"/>
                <a:gd name="connsiteX3" fmla="*/ 58102 w 57150"/>
                <a:gd name="connsiteY3" fmla="*/ 5398 h 38100"/>
                <a:gd name="connsiteX4" fmla="*/ 6667 w 57150"/>
                <a:gd name="connsiteY4" fmla="*/ 35243 h 38100"/>
                <a:gd name="connsiteX5" fmla="*/ 6032 w 57150"/>
                <a:gd name="connsiteY5" fmla="*/ 35243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6832" y="5398"/>
                    <a:pt x="57467" y="5398"/>
                  </a:cubicBezTo>
                  <a:cubicBezTo>
                    <a:pt x="57467" y="5398"/>
                    <a:pt x="57467" y="5398"/>
                    <a:pt x="58102" y="5398"/>
                  </a:cubicBezTo>
                  <a:lnTo>
                    <a:pt x="6667" y="35243"/>
                  </a:lnTo>
                  <a:cubicBezTo>
                    <a:pt x="6667" y="35243"/>
                    <a:pt x="6667" y="35243"/>
                    <a:pt x="6032" y="35243"/>
                  </a:cubicBezTo>
                  <a:cubicBezTo>
                    <a:pt x="6032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9" name="任意多边形: 形状 10268"/>
            <p:cNvSpPr/>
            <p:nvPr/>
          </p:nvSpPr>
          <p:spPr>
            <a:xfrm>
              <a:off x="8476297" y="11356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032 h 38100"/>
                <a:gd name="connsiteX3" fmla="*/ 6668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7468" y="5397"/>
                    <a:pt x="58103" y="6032"/>
                  </a:cubicBezTo>
                  <a:lnTo>
                    <a:pt x="6668" y="35877"/>
                  </a:lnTo>
                  <a:cubicBezTo>
                    <a:pt x="6033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0" name="任意多边形: 形状 10269"/>
            <p:cNvSpPr/>
            <p:nvPr/>
          </p:nvSpPr>
          <p:spPr>
            <a:xfrm>
              <a:off x="8478203" y="113696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032 h 38100"/>
                <a:gd name="connsiteX3" fmla="*/ 6667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7" y="5397"/>
                    <a:pt x="58103" y="6032"/>
                  </a:cubicBezTo>
                  <a:lnTo>
                    <a:pt x="6667" y="35877"/>
                  </a:lnTo>
                  <a:cubicBezTo>
                    <a:pt x="5397" y="3524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1" name="任意多边形: 形状 10270"/>
            <p:cNvSpPr/>
            <p:nvPr/>
          </p:nvSpPr>
          <p:spPr>
            <a:xfrm>
              <a:off x="8479472" y="113823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032 h 38100"/>
                <a:gd name="connsiteX3" fmla="*/ 6668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8"/>
                    <a:pt x="57468" y="5398"/>
                    <a:pt x="58103" y="6032"/>
                  </a:cubicBezTo>
                  <a:lnTo>
                    <a:pt x="6668" y="35877"/>
                  </a:lnTo>
                  <a:cubicBezTo>
                    <a:pt x="6033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2" name="任意多边形: 形状 10271"/>
            <p:cNvSpPr/>
            <p:nvPr/>
          </p:nvSpPr>
          <p:spPr>
            <a:xfrm>
              <a:off x="8481378" y="113950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032 h 38100"/>
                <a:gd name="connsiteX3" fmla="*/ 6667 w 57150"/>
                <a:gd name="connsiteY3" fmla="*/ 3587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7467" y="5398"/>
                    <a:pt x="58103" y="6032"/>
                  </a:cubicBezTo>
                  <a:lnTo>
                    <a:pt x="6667" y="35878"/>
                  </a:lnTo>
                  <a:cubicBezTo>
                    <a:pt x="6032" y="3524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3" name="任意多边形: 形状 10272"/>
            <p:cNvSpPr/>
            <p:nvPr/>
          </p:nvSpPr>
          <p:spPr>
            <a:xfrm>
              <a:off x="8483282" y="11407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6033 h 38100"/>
                <a:gd name="connsiteX3" fmla="*/ 6668 w 57150"/>
                <a:gd name="connsiteY3" fmla="*/ 3587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5398"/>
                    <a:pt x="57468" y="6033"/>
                    <a:pt x="58103" y="6033"/>
                  </a:cubicBezTo>
                  <a:lnTo>
                    <a:pt x="6668" y="35878"/>
                  </a:lnTo>
                  <a:cubicBezTo>
                    <a:pt x="6033" y="35243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4" name="任意多边形: 形状 10273"/>
            <p:cNvSpPr/>
            <p:nvPr/>
          </p:nvSpPr>
          <p:spPr>
            <a:xfrm>
              <a:off x="8485188" y="11420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032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5" name="任意多边形: 形状 10274"/>
            <p:cNvSpPr/>
            <p:nvPr/>
          </p:nvSpPr>
          <p:spPr>
            <a:xfrm>
              <a:off x="8487093" y="11439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6668 h 38100"/>
                <a:gd name="connsiteX3" fmla="*/ 6667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2" y="6668"/>
                  </a:cubicBezTo>
                  <a:lnTo>
                    <a:pt x="6667" y="36513"/>
                  </a:lnTo>
                  <a:cubicBezTo>
                    <a:pt x="6032" y="35878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6" name="任意多边形: 形状 10275"/>
            <p:cNvSpPr/>
            <p:nvPr/>
          </p:nvSpPr>
          <p:spPr>
            <a:xfrm>
              <a:off x="8488363" y="11452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032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7" name="任意多边形: 形状 10276"/>
            <p:cNvSpPr/>
            <p:nvPr/>
          </p:nvSpPr>
          <p:spPr>
            <a:xfrm>
              <a:off x="8490268" y="114712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6668 h 38100"/>
                <a:gd name="connsiteX3" fmla="*/ 6667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2" y="6668"/>
                  </a:cubicBezTo>
                  <a:lnTo>
                    <a:pt x="6667" y="36513"/>
                  </a:lnTo>
                  <a:cubicBezTo>
                    <a:pt x="6032" y="35878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8" name="任意多边形: 形状 10277"/>
            <p:cNvSpPr/>
            <p:nvPr/>
          </p:nvSpPr>
          <p:spPr>
            <a:xfrm>
              <a:off x="8492172" y="1149032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8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8"/>
                    <a:pt x="57468" y="6032"/>
                    <a:pt x="58103" y="6668"/>
                  </a:cubicBezTo>
                  <a:lnTo>
                    <a:pt x="6668" y="36513"/>
                  </a:lnTo>
                  <a:cubicBezTo>
                    <a:pt x="6033" y="35878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9" name="任意多边形: 形状 10278"/>
            <p:cNvSpPr/>
            <p:nvPr/>
          </p:nvSpPr>
          <p:spPr>
            <a:xfrm>
              <a:off x="8493443" y="115093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6668 h 38100"/>
                <a:gd name="connsiteX3" fmla="*/ 6032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7467" y="6032"/>
                    <a:pt x="57467" y="6668"/>
                  </a:cubicBezTo>
                  <a:lnTo>
                    <a:pt x="6032" y="36513"/>
                  </a:lnTo>
                  <a:cubicBezTo>
                    <a:pt x="6032" y="35877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0" name="任意多边形: 形状 10279"/>
            <p:cNvSpPr/>
            <p:nvPr/>
          </p:nvSpPr>
          <p:spPr>
            <a:xfrm>
              <a:off x="8495347" y="115284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6668 h 38100"/>
                <a:gd name="connsiteX3" fmla="*/ 6033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7468" y="6032"/>
                    <a:pt x="57468" y="6668"/>
                  </a:cubicBezTo>
                  <a:lnTo>
                    <a:pt x="6033" y="36513"/>
                  </a:lnTo>
                  <a:cubicBezTo>
                    <a:pt x="5397" y="35877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1" name="任意多边形: 形状 10280"/>
            <p:cNvSpPr/>
            <p:nvPr/>
          </p:nvSpPr>
          <p:spPr>
            <a:xfrm>
              <a:off x="8496618" y="1154113"/>
              <a:ext cx="57150" cy="38100"/>
            </a:xfrm>
            <a:custGeom>
              <a:avLst/>
              <a:gdLst>
                <a:gd name="connsiteX0" fmla="*/ 4763 w 57150"/>
                <a:gd name="connsiteY0" fmla="*/ 35243 h 38100"/>
                <a:gd name="connsiteX1" fmla="*/ 56832 w 57150"/>
                <a:gd name="connsiteY1" fmla="*/ 4763 h 38100"/>
                <a:gd name="connsiteX2" fmla="*/ 56832 w 57150"/>
                <a:gd name="connsiteY2" fmla="*/ 4763 h 38100"/>
                <a:gd name="connsiteX3" fmla="*/ 4763 w 57150"/>
                <a:gd name="connsiteY3" fmla="*/ 35243 h 38100"/>
                <a:gd name="connsiteX4" fmla="*/ 4763 w 5715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5243"/>
                  </a:moveTo>
                  <a:lnTo>
                    <a:pt x="56832" y="4763"/>
                  </a:lnTo>
                  <a:lnTo>
                    <a:pt x="56832" y="4763"/>
                  </a:lnTo>
                  <a:lnTo>
                    <a:pt x="4763" y="35243"/>
                  </a:lnTo>
                  <a:lnTo>
                    <a:pt x="4763" y="35243"/>
                  </a:ln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2" name="任意多边形: 形状 10281"/>
            <p:cNvSpPr/>
            <p:nvPr/>
          </p:nvSpPr>
          <p:spPr>
            <a:xfrm>
              <a:off x="8508682" y="1128077"/>
              <a:ext cx="63500" cy="38100"/>
            </a:xfrm>
            <a:custGeom>
              <a:avLst/>
              <a:gdLst>
                <a:gd name="connsiteX0" fmla="*/ 4763 w 63500"/>
                <a:gd name="connsiteY0" fmla="*/ 36513 h 38100"/>
                <a:gd name="connsiteX1" fmla="*/ 56198 w 63500"/>
                <a:gd name="connsiteY1" fmla="*/ 6668 h 38100"/>
                <a:gd name="connsiteX2" fmla="*/ 60008 w 63500"/>
                <a:gd name="connsiteY2" fmla="*/ 4763 h 38100"/>
                <a:gd name="connsiteX3" fmla="*/ 8573 w 63500"/>
                <a:gd name="connsiteY3" fmla="*/ 34608 h 38100"/>
                <a:gd name="connsiteX4" fmla="*/ 4763 w 63500"/>
                <a:gd name="connsiteY4" fmla="*/ 3651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6513"/>
                  </a:moveTo>
                  <a:lnTo>
                    <a:pt x="56198" y="6668"/>
                  </a:lnTo>
                  <a:cubicBezTo>
                    <a:pt x="57468" y="6033"/>
                    <a:pt x="58738" y="5398"/>
                    <a:pt x="60008" y="4763"/>
                  </a:cubicBezTo>
                  <a:lnTo>
                    <a:pt x="8573" y="34608"/>
                  </a:lnTo>
                  <a:cubicBezTo>
                    <a:pt x="7303" y="35243"/>
                    <a:pt x="6033" y="35878"/>
                    <a:pt x="4763" y="3651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3" name="任意多边形: 形状 10282"/>
            <p:cNvSpPr/>
            <p:nvPr/>
          </p:nvSpPr>
          <p:spPr>
            <a:xfrm>
              <a:off x="8512493" y="1127443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7 h 38100"/>
                <a:gd name="connsiteX2" fmla="*/ 59372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7"/>
                  </a:lnTo>
                  <a:cubicBezTo>
                    <a:pt x="57467" y="4763"/>
                    <a:pt x="58102" y="4763"/>
                    <a:pt x="59372" y="4763"/>
                  </a:cubicBezTo>
                  <a:lnTo>
                    <a:pt x="7938" y="34607"/>
                  </a:lnTo>
                  <a:cubicBezTo>
                    <a:pt x="6667" y="34607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4" name="任意多边形: 形状 10283"/>
            <p:cNvSpPr/>
            <p:nvPr/>
          </p:nvSpPr>
          <p:spPr>
            <a:xfrm>
              <a:off x="8515668" y="1126807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2 w 63500"/>
                <a:gd name="connsiteY3" fmla="*/ 34607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2" y="5398"/>
                    <a:pt x="58102" y="5398"/>
                    <a:pt x="58738" y="4763"/>
                  </a:cubicBezTo>
                  <a:lnTo>
                    <a:pt x="7302" y="34607"/>
                  </a:lnTo>
                  <a:cubicBezTo>
                    <a:pt x="6032" y="34607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5" name="任意多边形: 形状 10284"/>
            <p:cNvSpPr/>
            <p:nvPr/>
          </p:nvSpPr>
          <p:spPr>
            <a:xfrm>
              <a:off x="8518207" y="112680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7"/>
                  </a:lnTo>
                  <a:cubicBezTo>
                    <a:pt x="6033" y="34607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6" name="任意多边形: 形状 10285"/>
            <p:cNvSpPr/>
            <p:nvPr/>
          </p:nvSpPr>
          <p:spPr>
            <a:xfrm>
              <a:off x="8520113" y="112680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8" y="4763"/>
                    <a:pt x="58103" y="4763"/>
                  </a:cubicBezTo>
                  <a:lnTo>
                    <a:pt x="6668" y="34607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7" name="任意多边形: 形状 10286"/>
            <p:cNvSpPr/>
            <p:nvPr/>
          </p:nvSpPr>
          <p:spPr>
            <a:xfrm>
              <a:off x="8522018" y="112680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4763 h 38100"/>
                <a:gd name="connsiteX3" fmla="*/ 6667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4763"/>
                  </a:cubicBezTo>
                  <a:lnTo>
                    <a:pt x="6667" y="34607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8" name="任意多边形: 形状 10287"/>
            <p:cNvSpPr/>
            <p:nvPr/>
          </p:nvSpPr>
          <p:spPr>
            <a:xfrm>
              <a:off x="8523922" y="112744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7"/>
                  </a:lnTo>
                  <a:cubicBezTo>
                    <a:pt x="6033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9" name="任意多边形: 形状 10288"/>
            <p:cNvSpPr/>
            <p:nvPr/>
          </p:nvSpPr>
          <p:spPr>
            <a:xfrm>
              <a:off x="8525828" y="112744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7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3" y="5397"/>
                  </a:cubicBezTo>
                  <a:lnTo>
                    <a:pt x="6667" y="35243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0" name="任意多边形: 形状 10289"/>
            <p:cNvSpPr/>
            <p:nvPr/>
          </p:nvSpPr>
          <p:spPr>
            <a:xfrm>
              <a:off x="8527732" y="11280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5398"/>
                    <a:pt x="58103" y="5398"/>
                  </a:cubicBezTo>
                  <a:lnTo>
                    <a:pt x="6668" y="35243"/>
                  </a:lnTo>
                  <a:cubicBezTo>
                    <a:pt x="6033" y="34608"/>
                    <a:pt x="5398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1" name="任意多边形: 形状 10290"/>
            <p:cNvSpPr/>
            <p:nvPr/>
          </p:nvSpPr>
          <p:spPr>
            <a:xfrm>
              <a:off x="8529638" y="11280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8" y="5398"/>
                    <a:pt x="58103" y="5398"/>
                  </a:cubicBezTo>
                  <a:lnTo>
                    <a:pt x="6668" y="35243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2" name="任意多边形: 形状 10291"/>
            <p:cNvSpPr/>
            <p:nvPr/>
          </p:nvSpPr>
          <p:spPr>
            <a:xfrm>
              <a:off x="8531543" y="112871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5398 h 38100"/>
                <a:gd name="connsiteX3" fmla="*/ 6667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2" y="5398"/>
                  </a:cubicBezTo>
                  <a:lnTo>
                    <a:pt x="6667" y="35243"/>
                  </a:lnTo>
                  <a:cubicBezTo>
                    <a:pt x="6032" y="3524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3" name="任意多边形: 形状 10292"/>
            <p:cNvSpPr/>
            <p:nvPr/>
          </p:nvSpPr>
          <p:spPr>
            <a:xfrm>
              <a:off x="8533447" y="11293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7468" y="5397"/>
                    <a:pt x="58103" y="5397"/>
                  </a:cubicBezTo>
                  <a:lnTo>
                    <a:pt x="6668" y="35242"/>
                  </a:lnTo>
                  <a:cubicBezTo>
                    <a:pt x="6033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4" name="任意多边形: 形状 10293"/>
            <p:cNvSpPr/>
            <p:nvPr/>
          </p:nvSpPr>
          <p:spPr>
            <a:xfrm>
              <a:off x="8535353" y="113061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7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7"/>
                    <a:pt x="58103" y="5397"/>
                  </a:cubicBezTo>
                  <a:lnTo>
                    <a:pt x="6667" y="35243"/>
                  </a:lnTo>
                  <a:cubicBezTo>
                    <a:pt x="6032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5" name="任意多边形: 形状 10294"/>
            <p:cNvSpPr/>
            <p:nvPr/>
          </p:nvSpPr>
          <p:spPr>
            <a:xfrm>
              <a:off x="8537257" y="11312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5398"/>
                    <a:pt x="58103" y="5398"/>
                  </a:cubicBezTo>
                  <a:lnTo>
                    <a:pt x="6668" y="35243"/>
                  </a:lnTo>
                  <a:cubicBezTo>
                    <a:pt x="5398" y="35243"/>
                    <a:pt x="476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6" name="任意多边形: 形状 10295"/>
            <p:cNvSpPr/>
            <p:nvPr/>
          </p:nvSpPr>
          <p:spPr>
            <a:xfrm>
              <a:off x="8538528" y="11325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5397 h 38100"/>
                <a:gd name="connsiteX3" fmla="*/ 58103 w 57150"/>
                <a:gd name="connsiteY3" fmla="*/ 5397 h 38100"/>
                <a:gd name="connsiteX4" fmla="*/ 6667 w 57150"/>
                <a:gd name="connsiteY4" fmla="*/ 35242 h 38100"/>
                <a:gd name="connsiteX5" fmla="*/ 6032 w 57150"/>
                <a:gd name="connsiteY5" fmla="*/ 35242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6832" y="5397"/>
                    <a:pt x="57467" y="5397"/>
                  </a:cubicBezTo>
                  <a:cubicBezTo>
                    <a:pt x="57467" y="5397"/>
                    <a:pt x="57467" y="5397"/>
                    <a:pt x="58103" y="5397"/>
                  </a:cubicBezTo>
                  <a:lnTo>
                    <a:pt x="6667" y="35242"/>
                  </a:lnTo>
                  <a:cubicBezTo>
                    <a:pt x="6667" y="35242"/>
                    <a:pt x="6667" y="35242"/>
                    <a:pt x="6032" y="35242"/>
                  </a:cubicBez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7" name="任意多边形: 形状 10296"/>
            <p:cNvSpPr/>
            <p:nvPr/>
          </p:nvSpPr>
          <p:spPr>
            <a:xfrm>
              <a:off x="8540432" y="113315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6032 h 38100"/>
                <a:gd name="connsiteX3" fmla="*/ 6668 w 57150"/>
                <a:gd name="connsiteY3" fmla="*/ 3587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8"/>
                    <a:pt x="57468" y="5398"/>
                    <a:pt x="58103" y="6032"/>
                  </a:cubicBezTo>
                  <a:lnTo>
                    <a:pt x="6668" y="35878"/>
                  </a:lnTo>
                  <a:cubicBezTo>
                    <a:pt x="6033" y="35243"/>
                    <a:pt x="539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8" name="任意多边形: 形状 10297"/>
            <p:cNvSpPr/>
            <p:nvPr/>
          </p:nvSpPr>
          <p:spPr>
            <a:xfrm>
              <a:off x="8542338" y="113442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033 h 38100"/>
                <a:gd name="connsiteX3" fmla="*/ 6668 w 57150"/>
                <a:gd name="connsiteY3" fmla="*/ 3587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8" y="5398"/>
                    <a:pt x="58103" y="6033"/>
                  </a:cubicBezTo>
                  <a:lnTo>
                    <a:pt x="6668" y="35878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9" name="任意多边形: 形状 10298"/>
            <p:cNvSpPr/>
            <p:nvPr/>
          </p:nvSpPr>
          <p:spPr>
            <a:xfrm>
              <a:off x="8544243" y="11356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6032 h 38100"/>
                <a:gd name="connsiteX3" fmla="*/ 6667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7" y="5397"/>
                    <a:pt x="58102" y="6032"/>
                  </a:cubicBezTo>
                  <a:lnTo>
                    <a:pt x="6667" y="35877"/>
                  </a:lnTo>
                  <a:cubicBezTo>
                    <a:pt x="6032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0" name="任意多边形: 形状 10299"/>
            <p:cNvSpPr/>
            <p:nvPr/>
          </p:nvSpPr>
          <p:spPr>
            <a:xfrm>
              <a:off x="8546147" y="113696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032 h 38100"/>
                <a:gd name="connsiteX3" fmla="*/ 6668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7468" y="6032"/>
                    <a:pt x="58103" y="6032"/>
                  </a:cubicBezTo>
                  <a:lnTo>
                    <a:pt x="6668" y="35877"/>
                  </a:lnTo>
                  <a:cubicBezTo>
                    <a:pt x="6033" y="35877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1" name="任意多边形: 形状 10300"/>
            <p:cNvSpPr/>
            <p:nvPr/>
          </p:nvSpPr>
          <p:spPr>
            <a:xfrm>
              <a:off x="8548053" y="113823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8 h 38100"/>
                <a:gd name="connsiteX3" fmla="*/ 6667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7467" y="6032"/>
                    <a:pt x="58103" y="6668"/>
                  </a:cubicBezTo>
                  <a:lnTo>
                    <a:pt x="6667" y="36513"/>
                  </a:lnTo>
                  <a:cubicBezTo>
                    <a:pt x="6032" y="35877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2" name="任意多边形: 形状 10301"/>
            <p:cNvSpPr/>
            <p:nvPr/>
          </p:nvSpPr>
          <p:spPr>
            <a:xfrm>
              <a:off x="8549957" y="114014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6668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7468" y="6032"/>
                    <a:pt x="58103" y="6668"/>
                  </a:cubicBezTo>
                  <a:lnTo>
                    <a:pt x="6668" y="36513"/>
                  </a:lnTo>
                  <a:cubicBezTo>
                    <a:pt x="6033" y="35877"/>
                    <a:pt x="539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3" name="任意多边形: 形状 10302"/>
            <p:cNvSpPr/>
            <p:nvPr/>
          </p:nvSpPr>
          <p:spPr>
            <a:xfrm>
              <a:off x="8551863" y="11420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668" y="35877"/>
                    <a:pt x="6032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4" name="任意多边形: 形状 10303"/>
            <p:cNvSpPr/>
            <p:nvPr/>
          </p:nvSpPr>
          <p:spPr>
            <a:xfrm>
              <a:off x="8554403" y="11439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668 h 38100"/>
                <a:gd name="connsiteX3" fmla="*/ 6667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3" y="6668"/>
                  </a:cubicBezTo>
                  <a:lnTo>
                    <a:pt x="6667" y="36513"/>
                  </a:lnTo>
                  <a:cubicBezTo>
                    <a:pt x="6032" y="35243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5" name="任意多边形: 形状 10304"/>
            <p:cNvSpPr/>
            <p:nvPr/>
          </p:nvSpPr>
          <p:spPr>
            <a:xfrm>
              <a:off x="8556307" y="11452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033" y="36513"/>
                    <a:pt x="5398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6" name="任意多边形: 形状 10305"/>
            <p:cNvSpPr/>
            <p:nvPr/>
          </p:nvSpPr>
          <p:spPr>
            <a:xfrm>
              <a:off x="8558213" y="114776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5398 h 38100"/>
                <a:gd name="connsiteX3" fmla="*/ 4763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4763"/>
                    <a:pt x="56197" y="4763"/>
                    <a:pt x="56832" y="5398"/>
                  </a:cubicBezTo>
                  <a:lnTo>
                    <a:pt x="4763" y="34607"/>
                  </a:lnTo>
                  <a:cubicBezTo>
                    <a:pt x="4763" y="34607"/>
                    <a:pt x="4763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7" name="任意多边形: 形状 10306"/>
            <p:cNvSpPr/>
            <p:nvPr/>
          </p:nvSpPr>
          <p:spPr>
            <a:xfrm>
              <a:off x="8587422" y="1079818"/>
              <a:ext cx="63500" cy="38100"/>
            </a:xfrm>
            <a:custGeom>
              <a:avLst/>
              <a:gdLst>
                <a:gd name="connsiteX0" fmla="*/ 4763 w 63500"/>
                <a:gd name="connsiteY0" fmla="*/ 38418 h 38100"/>
                <a:gd name="connsiteX1" fmla="*/ 56197 w 63500"/>
                <a:gd name="connsiteY1" fmla="*/ 8572 h 38100"/>
                <a:gd name="connsiteX2" fmla="*/ 64453 w 63500"/>
                <a:gd name="connsiteY2" fmla="*/ 4763 h 38100"/>
                <a:gd name="connsiteX3" fmla="*/ 13018 w 63500"/>
                <a:gd name="connsiteY3" fmla="*/ 34607 h 38100"/>
                <a:gd name="connsiteX4" fmla="*/ 4763 w 63500"/>
                <a:gd name="connsiteY4" fmla="*/ 3841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8418"/>
                  </a:moveTo>
                  <a:lnTo>
                    <a:pt x="56197" y="8572"/>
                  </a:lnTo>
                  <a:cubicBezTo>
                    <a:pt x="58738" y="7302"/>
                    <a:pt x="61913" y="6032"/>
                    <a:pt x="64453" y="4763"/>
                  </a:cubicBezTo>
                  <a:lnTo>
                    <a:pt x="13018" y="34607"/>
                  </a:lnTo>
                  <a:cubicBezTo>
                    <a:pt x="9843" y="35877"/>
                    <a:pt x="7303" y="37147"/>
                    <a:pt x="4763" y="3841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8" name="任意多边形: 形状 10307"/>
            <p:cNvSpPr/>
            <p:nvPr/>
          </p:nvSpPr>
          <p:spPr>
            <a:xfrm>
              <a:off x="8595678" y="1077913"/>
              <a:ext cx="63500" cy="38100"/>
            </a:xfrm>
            <a:custGeom>
              <a:avLst/>
              <a:gdLst>
                <a:gd name="connsiteX0" fmla="*/ 4763 w 63500"/>
                <a:gd name="connsiteY0" fmla="*/ 36513 h 38100"/>
                <a:gd name="connsiteX1" fmla="*/ 56197 w 63500"/>
                <a:gd name="connsiteY1" fmla="*/ 6668 h 38100"/>
                <a:gd name="connsiteX2" fmla="*/ 63182 w 63500"/>
                <a:gd name="connsiteY2" fmla="*/ 4763 h 38100"/>
                <a:gd name="connsiteX3" fmla="*/ 11747 w 63500"/>
                <a:gd name="connsiteY3" fmla="*/ 34607 h 38100"/>
                <a:gd name="connsiteX4" fmla="*/ 4763 w 63500"/>
                <a:gd name="connsiteY4" fmla="*/ 3651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6513"/>
                  </a:moveTo>
                  <a:lnTo>
                    <a:pt x="56197" y="6668"/>
                  </a:lnTo>
                  <a:cubicBezTo>
                    <a:pt x="58738" y="6032"/>
                    <a:pt x="60642" y="5398"/>
                    <a:pt x="63182" y="4763"/>
                  </a:cubicBezTo>
                  <a:lnTo>
                    <a:pt x="11747" y="34607"/>
                  </a:lnTo>
                  <a:cubicBezTo>
                    <a:pt x="9207" y="35243"/>
                    <a:pt x="7303" y="35877"/>
                    <a:pt x="4763" y="3651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9" name="任意多边形: 形状 10308"/>
            <p:cNvSpPr/>
            <p:nvPr/>
          </p:nvSpPr>
          <p:spPr>
            <a:xfrm>
              <a:off x="8602663" y="1077277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61913 w 63500"/>
                <a:gd name="connsiteY2" fmla="*/ 4763 h 38100"/>
                <a:gd name="connsiteX3" fmla="*/ 10478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8103" y="4763"/>
                    <a:pt x="60007" y="4763"/>
                    <a:pt x="61913" y="4763"/>
                  </a:cubicBezTo>
                  <a:lnTo>
                    <a:pt x="10478" y="34608"/>
                  </a:lnTo>
                  <a:cubicBezTo>
                    <a:pt x="9207" y="34608"/>
                    <a:pt x="6668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0" name="任意多边形: 形状 10309"/>
            <p:cNvSpPr/>
            <p:nvPr/>
          </p:nvSpPr>
          <p:spPr>
            <a:xfrm>
              <a:off x="8609013" y="10772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1278 w 63500"/>
                <a:gd name="connsiteY2" fmla="*/ 4763 h 38100"/>
                <a:gd name="connsiteX3" fmla="*/ 9843 w 63500"/>
                <a:gd name="connsiteY3" fmla="*/ 3460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8103" y="4763"/>
                    <a:pt x="60007" y="4763"/>
                    <a:pt x="61278" y="4763"/>
                  </a:cubicBezTo>
                  <a:lnTo>
                    <a:pt x="9843" y="34608"/>
                  </a:lnTo>
                  <a:cubicBezTo>
                    <a:pt x="7938" y="34608"/>
                    <a:pt x="6032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1" name="任意多边形: 形状 10310"/>
            <p:cNvSpPr/>
            <p:nvPr/>
          </p:nvSpPr>
          <p:spPr>
            <a:xfrm>
              <a:off x="8614093" y="10772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1277 w 63500"/>
                <a:gd name="connsiteY2" fmla="*/ 4763 h 38100"/>
                <a:gd name="connsiteX3" fmla="*/ 9842 w 63500"/>
                <a:gd name="connsiteY3" fmla="*/ 3460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8102" y="4763"/>
                    <a:pt x="59372" y="4763"/>
                    <a:pt x="61277" y="4763"/>
                  </a:cubicBezTo>
                  <a:lnTo>
                    <a:pt x="9842" y="34608"/>
                  </a:lnTo>
                  <a:cubicBezTo>
                    <a:pt x="7938" y="34608"/>
                    <a:pt x="666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2" name="任意多边形: 形状 10311"/>
            <p:cNvSpPr/>
            <p:nvPr/>
          </p:nvSpPr>
          <p:spPr>
            <a:xfrm>
              <a:off x="8619172" y="10772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3 w 63500"/>
                <a:gd name="connsiteY2" fmla="*/ 5398 h 38100"/>
                <a:gd name="connsiteX3" fmla="*/ 9208 w 63500"/>
                <a:gd name="connsiteY3" fmla="*/ 3524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4763"/>
                    <a:pt x="59372" y="4763"/>
                    <a:pt x="60643" y="5398"/>
                  </a:cubicBezTo>
                  <a:lnTo>
                    <a:pt x="9208" y="35243"/>
                  </a:lnTo>
                  <a:cubicBezTo>
                    <a:pt x="7938" y="34608"/>
                    <a:pt x="603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3" name="任意多边形: 形状 10312"/>
            <p:cNvSpPr/>
            <p:nvPr/>
          </p:nvSpPr>
          <p:spPr>
            <a:xfrm>
              <a:off x="8623618" y="107791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2 w 63500"/>
                <a:gd name="connsiteY2" fmla="*/ 5398 h 38100"/>
                <a:gd name="connsiteX3" fmla="*/ 9207 w 63500"/>
                <a:gd name="connsiteY3" fmla="*/ 3524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4763"/>
                    <a:pt x="59372" y="5398"/>
                    <a:pt x="60642" y="5398"/>
                  </a:cubicBezTo>
                  <a:lnTo>
                    <a:pt x="9207" y="35243"/>
                  </a:lnTo>
                  <a:cubicBezTo>
                    <a:pt x="7938" y="34607"/>
                    <a:pt x="666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4" name="任意多边形: 形状 10313"/>
            <p:cNvSpPr/>
            <p:nvPr/>
          </p:nvSpPr>
          <p:spPr>
            <a:xfrm>
              <a:off x="8628063" y="10785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6032 h 38100"/>
                <a:gd name="connsiteX3" fmla="*/ 9207 w 63500"/>
                <a:gd name="connsiteY3" fmla="*/ 3587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4763"/>
                    <a:pt x="59372" y="5397"/>
                    <a:pt x="60643" y="6032"/>
                  </a:cubicBezTo>
                  <a:lnTo>
                    <a:pt x="9207" y="35877"/>
                  </a:lnTo>
                  <a:cubicBezTo>
                    <a:pt x="7938" y="35242"/>
                    <a:pt x="666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5" name="任意多边形: 形状 10314"/>
            <p:cNvSpPr/>
            <p:nvPr/>
          </p:nvSpPr>
          <p:spPr>
            <a:xfrm>
              <a:off x="8632507" y="107918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643 w 63500"/>
                <a:gd name="connsiteY2" fmla="*/ 6032 h 38100"/>
                <a:gd name="connsiteX3" fmla="*/ 9208 w 63500"/>
                <a:gd name="connsiteY3" fmla="*/ 3587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5398"/>
                    <a:pt x="59373" y="5398"/>
                    <a:pt x="60643" y="6032"/>
                  </a:cubicBezTo>
                  <a:lnTo>
                    <a:pt x="9208" y="35878"/>
                  </a:lnTo>
                  <a:cubicBezTo>
                    <a:pt x="7938" y="35243"/>
                    <a:pt x="666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6" name="任意多边形: 形状 10315"/>
            <p:cNvSpPr/>
            <p:nvPr/>
          </p:nvSpPr>
          <p:spPr>
            <a:xfrm>
              <a:off x="8636953" y="108045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6033 h 38100"/>
                <a:gd name="connsiteX3" fmla="*/ 9207 w 63500"/>
                <a:gd name="connsiteY3" fmla="*/ 3587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5398"/>
                    <a:pt x="58738" y="5398"/>
                    <a:pt x="60642" y="6033"/>
                  </a:cubicBezTo>
                  <a:lnTo>
                    <a:pt x="9207" y="35878"/>
                  </a:lnTo>
                  <a:cubicBezTo>
                    <a:pt x="7938" y="35878"/>
                    <a:pt x="6032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7" name="任意多边形: 形状 10316"/>
            <p:cNvSpPr/>
            <p:nvPr/>
          </p:nvSpPr>
          <p:spPr>
            <a:xfrm>
              <a:off x="8641397" y="108172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6667 h 38100"/>
                <a:gd name="connsiteX3" fmla="*/ 9208 w 63500"/>
                <a:gd name="connsiteY3" fmla="*/ 3651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5397"/>
                    <a:pt x="58738" y="6032"/>
                    <a:pt x="60643" y="6667"/>
                  </a:cubicBezTo>
                  <a:lnTo>
                    <a:pt x="9208" y="36513"/>
                  </a:lnTo>
                  <a:cubicBezTo>
                    <a:pt x="7303" y="35877"/>
                    <a:pt x="603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8" name="任意多边形: 形状 10317"/>
            <p:cNvSpPr/>
            <p:nvPr/>
          </p:nvSpPr>
          <p:spPr>
            <a:xfrm>
              <a:off x="8645843" y="10836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6668 h 38100"/>
                <a:gd name="connsiteX3" fmla="*/ 9207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5398"/>
                    <a:pt x="58738" y="6033"/>
                    <a:pt x="60642" y="6668"/>
                  </a:cubicBezTo>
                  <a:lnTo>
                    <a:pt x="9207" y="36513"/>
                  </a:lnTo>
                  <a:cubicBezTo>
                    <a:pt x="7302" y="35878"/>
                    <a:pt x="6032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9" name="任意多边形: 形状 10318"/>
            <p:cNvSpPr/>
            <p:nvPr/>
          </p:nvSpPr>
          <p:spPr>
            <a:xfrm>
              <a:off x="8649653" y="108553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2 w 63500"/>
                <a:gd name="connsiteY2" fmla="*/ 6668 h 38100"/>
                <a:gd name="connsiteX3" fmla="*/ 9207 w 63500"/>
                <a:gd name="connsiteY3" fmla="*/ 3651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5398"/>
                    <a:pt x="59372" y="6032"/>
                    <a:pt x="60642" y="6668"/>
                  </a:cubicBezTo>
                  <a:lnTo>
                    <a:pt x="9207" y="36513"/>
                  </a:lnTo>
                  <a:cubicBezTo>
                    <a:pt x="7938" y="35878"/>
                    <a:pt x="666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0" name="任意多边形: 形状 10319"/>
            <p:cNvSpPr/>
            <p:nvPr/>
          </p:nvSpPr>
          <p:spPr>
            <a:xfrm>
              <a:off x="8654097" y="108743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7302 h 38100"/>
                <a:gd name="connsiteX3" fmla="*/ 9208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5398"/>
                    <a:pt x="59372" y="6032"/>
                    <a:pt x="60643" y="7302"/>
                  </a:cubicBezTo>
                  <a:lnTo>
                    <a:pt x="9208" y="37148"/>
                  </a:lnTo>
                  <a:cubicBezTo>
                    <a:pt x="7938" y="35877"/>
                    <a:pt x="666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1" name="任意多边形: 形状 10320"/>
            <p:cNvSpPr/>
            <p:nvPr/>
          </p:nvSpPr>
          <p:spPr>
            <a:xfrm>
              <a:off x="8658543" y="10899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9372 w 63500"/>
                <a:gd name="connsiteY2" fmla="*/ 6668 h 38100"/>
                <a:gd name="connsiteX3" fmla="*/ 7938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5398"/>
                    <a:pt x="58738" y="6033"/>
                    <a:pt x="59372" y="6668"/>
                  </a:cubicBezTo>
                  <a:lnTo>
                    <a:pt x="7938" y="36513"/>
                  </a:lnTo>
                  <a:cubicBezTo>
                    <a:pt x="7302" y="35878"/>
                    <a:pt x="6032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2" name="任意多边形: 形状 10321"/>
            <p:cNvSpPr/>
            <p:nvPr/>
          </p:nvSpPr>
          <p:spPr>
            <a:xfrm>
              <a:off x="8662353" y="1091882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5398 h 38100"/>
                <a:gd name="connsiteX3" fmla="*/ 6032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6832" y="5398"/>
                    <a:pt x="57467" y="5398"/>
                  </a:cubicBezTo>
                  <a:lnTo>
                    <a:pt x="6032" y="35243"/>
                  </a:lnTo>
                  <a:cubicBezTo>
                    <a:pt x="5397" y="34607"/>
                    <a:pt x="4763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3" name="任意多边形: 形状 10322"/>
            <p:cNvSpPr/>
            <p:nvPr/>
          </p:nvSpPr>
          <p:spPr>
            <a:xfrm>
              <a:off x="8662988" y="109251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7302 h 38100"/>
                <a:gd name="connsiteX3" fmla="*/ 9207 w 63500"/>
                <a:gd name="connsiteY3" fmla="*/ 3714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5397"/>
                    <a:pt x="59372" y="6668"/>
                    <a:pt x="60643" y="7302"/>
                  </a:cubicBezTo>
                  <a:lnTo>
                    <a:pt x="9207" y="37147"/>
                  </a:lnTo>
                  <a:cubicBezTo>
                    <a:pt x="7938" y="35877"/>
                    <a:pt x="666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4" name="任意多边形: 形状 10323"/>
            <p:cNvSpPr/>
            <p:nvPr/>
          </p:nvSpPr>
          <p:spPr>
            <a:xfrm>
              <a:off x="8667432" y="1095057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643 w 63500"/>
                <a:gd name="connsiteY2" fmla="*/ 7938 h 38100"/>
                <a:gd name="connsiteX3" fmla="*/ 9208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6032"/>
                    <a:pt x="59373" y="6668"/>
                    <a:pt x="60643" y="7938"/>
                  </a:cubicBezTo>
                  <a:lnTo>
                    <a:pt x="9208" y="37782"/>
                  </a:lnTo>
                  <a:cubicBezTo>
                    <a:pt x="7938" y="36513"/>
                    <a:pt x="666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5" name="任意多边形: 形状 10324"/>
            <p:cNvSpPr/>
            <p:nvPr/>
          </p:nvSpPr>
          <p:spPr>
            <a:xfrm>
              <a:off x="8671878" y="109823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2 w 63500"/>
                <a:gd name="connsiteY2" fmla="*/ 7938 h 38100"/>
                <a:gd name="connsiteX3" fmla="*/ 9207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032"/>
                    <a:pt x="59372" y="6668"/>
                    <a:pt x="60642" y="7938"/>
                  </a:cubicBezTo>
                  <a:lnTo>
                    <a:pt x="9207" y="37782"/>
                  </a:lnTo>
                  <a:cubicBezTo>
                    <a:pt x="7938" y="36513"/>
                    <a:pt x="666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6" name="任意多边形: 形状 10325"/>
            <p:cNvSpPr/>
            <p:nvPr/>
          </p:nvSpPr>
          <p:spPr>
            <a:xfrm>
              <a:off x="8676957" y="1101407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643 w 63500"/>
                <a:gd name="connsiteY2" fmla="*/ 8573 h 38100"/>
                <a:gd name="connsiteX3" fmla="*/ 9208 w 63500"/>
                <a:gd name="connsiteY3" fmla="*/ 3841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6032"/>
                    <a:pt x="59373" y="7303"/>
                    <a:pt x="60643" y="8573"/>
                  </a:cubicBezTo>
                  <a:lnTo>
                    <a:pt x="9208" y="38418"/>
                  </a:lnTo>
                  <a:cubicBezTo>
                    <a:pt x="7938" y="36513"/>
                    <a:pt x="6033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7" name="任意多边形: 形状 10326"/>
            <p:cNvSpPr/>
            <p:nvPr/>
          </p:nvSpPr>
          <p:spPr>
            <a:xfrm>
              <a:off x="8681403" y="110458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2 w 63500"/>
                <a:gd name="connsiteY2" fmla="*/ 8573 h 38100"/>
                <a:gd name="connsiteX3" fmla="*/ 9207 w 63500"/>
                <a:gd name="connsiteY3" fmla="*/ 3841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8103" y="6032"/>
                    <a:pt x="59372" y="7303"/>
                    <a:pt x="60642" y="8573"/>
                  </a:cubicBezTo>
                  <a:lnTo>
                    <a:pt x="9207" y="38418"/>
                  </a:lnTo>
                  <a:cubicBezTo>
                    <a:pt x="7938" y="37148"/>
                    <a:pt x="6667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8" name="任意多边形: 形状 10327"/>
            <p:cNvSpPr/>
            <p:nvPr/>
          </p:nvSpPr>
          <p:spPr>
            <a:xfrm>
              <a:off x="8686482" y="110839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643 w 63500"/>
                <a:gd name="connsiteY2" fmla="*/ 8572 h 38100"/>
                <a:gd name="connsiteX3" fmla="*/ 9208 w 63500"/>
                <a:gd name="connsiteY3" fmla="*/ 3841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8103" y="6032"/>
                    <a:pt x="59373" y="7302"/>
                    <a:pt x="60643" y="8572"/>
                  </a:cubicBezTo>
                  <a:lnTo>
                    <a:pt x="9208" y="38418"/>
                  </a:lnTo>
                  <a:cubicBezTo>
                    <a:pt x="7938" y="37782"/>
                    <a:pt x="6033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9" name="任意多边形: 形状 10328"/>
            <p:cNvSpPr/>
            <p:nvPr/>
          </p:nvSpPr>
          <p:spPr>
            <a:xfrm>
              <a:off x="8690928" y="111283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2 w 63500"/>
                <a:gd name="connsiteY2" fmla="*/ 9207 h 38100"/>
                <a:gd name="connsiteX3" fmla="*/ 9207 w 63500"/>
                <a:gd name="connsiteY3" fmla="*/ 3905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032"/>
                    <a:pt x="59372" y="7938"/>
                    <a:pt x="60642" y="9207"/>
                  </a:cubicBezTo>
                  <a:lnTo>
                    <a:pt x="9207" y="39052"/>
                  </a:lnTo>
                  <a:cubicBezTo>
                    <a:pt x="7938" y="37148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0" name="任意多边形: 形状 10329"/>
            <p:cNvSpPr/>
            <p:nvPr/>
          </p:nvSpPr>
          <p:spPr>
            <a:xfrm>
              <a:off x="8695372" y="111728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9207 h 38100"/>
                <a:gd name="connsiteX3" fmla="*/ 9208 w 63500"/>
                <a:gd name="connsiteY3" fmla="*/ 3905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9372" y="7938"/>
                    <a:pt x="60643" y="9207"/>
                  </a:cubicBezTo>
                  <a:lnTo>
                    <a:pt x="9208" y="39053"/>
                  </a:lnTo>
                  <a:cubicBezTo>
                    <a:pt x="7938" y="37148"/>
                    <a:pt x="6668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1" name="任意多边形: 形状 10330"/>
            <p:cNvSpPr/>
            <p:nvPr/>
          </p:nvSpPr>
          <p:spPr>
            <a:xfrm>
              <a:off x="8699818" y="11217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9208 h 38100"/>
                <a:gd name="connsiteX3" fmla="*/ 9207 w 63500"/>
                <a:gd name="connsiteY3" fmla="*/ 3905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033"/>
                    <a:pt x="59372" y="7938"/>
                    <a:pt x="60642" y="9208"/>
                  </a:cubicBezTo>
                  <a:lnTo>
                    <a:pt x="9207" y="39053"/>
                  </a:lnTo>
                  <a:cubicBezTo>
                    <a:pt x="7938" y="37148"/>
                    <a:pt x="6667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2" name="任意多边形: 形状 10331"/>
            <p:cNvSpPr/>
            <p:nvPr/>
          </p:nvSpPr>
          <p:spPr>
            <a:xfrm>
              <a:off x="8704263" y="112617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007 w 63500"/>
                <a:gd name="connsiteY2" fmla="*/ 9207 h 38100"/>
                <a:gd name="connsiteX3" fmla="*/ 8572 w 63500"/>
                <a:gd name="connsiteY3" fmla="*/ 3905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8738" y="7938"/>
                    <a:pt x="60007" y="9207"/>
                  </a:cubicBezTo>
                  <a:lnTo>
                    <a:pt x="8572" y="39052"/>
                  </a:lnTo>
                  <a:cubicBezTo>
                    <a:pt x="7303" y="37782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3" name="任意多边形: 形状 10332"/>
            <p:cNvSpPr/>
            <p:nvPr/>
          </p:nvSpPr>
          <p:spPr>
            <a:xfrm>
              <a:off x="8708707" y="113061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008 w 63500"/>
                <a:gd name="connsiteY2" fmla="*/ 9207 h 38100"/>
                <a:gd name="connsiteX3" fmla="*/ 8573 w 63500"/>
                <a:gd name="connsiteY3" fmla="*/ 3905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6032"/>
                    <a:pt x="58738" y="7938"/>
                    <a:pt x="60008" y="9207"/>
                  </a:cubicBezTo>
                  <a:lnTo>
                    <a:pt x="8573" y="39052"/>
                  </a:lnTo>
                  <a:cubicBezTo>
                    <a:pt x="7303" y="37782"/>
                    <a:pt x="603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4" name="任意多边形: 形状 10333"/>
            <p:cNvSpPr/>
            <p:nvPr/>
          </p:nvSpPr>
          <p:spPr>
            <a:xfrm>
              <a:off x="8712518" y="113506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0007 w 63500"/>
                <a:gd name="connsiteY2" fmla="*/ 9843 h 44450"/>
                <a:gd name="connsiteX3" fmla="*/ 8572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8"/>
                    <a:pt x="58738" y="7938"/>
                    <a:pt x="60007" y="9843"/>
                  </a:cubicBezTo>
                  <a:lnTo>
                    <a:pt x="8572" y="39688"/>
                  </a:lnTo>
                  <a:cubicBezTo>
                    <a:pt x="7302" y="38418"/>
                    <a:pt x="6032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5" name="任意多边形: 形状 10334"/>
            <p:cNvSpPr/>
            <p:nvPr/>
          </p:nvSpPr>
          <p:spPr>
            <a:xfrm>
              <a:off x="8716328" y="114014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0642 w 63500"/>
                <a:gd name="connsiteY2" fmla="*/ 10477 h 44450"/>
                <a:gd name="connsiteX3" fmla="*/ 9207 w 63500"/>
                <a:gd name="connsiteY3" fmla="*/ 40322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8"/>
                    <a:pt x="59372" y="8572"/>
                    <a:pt x="60642" y="10477"/>
                  </a:cubicBezTo>
                  <a:lnTo>
                    <a:pt x="9207" y="40322"/>
                  </a:lnTo>
                  <a:cubicBezTo>
                    <a:pt x="7938" y="38418"/>
                    <a:pt x="666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6" name="任意多边形: 形状 10335"/>
            <p:cNvSpPr/>
            <p:nvPr/>
          </p:nvSpPr>
          <p:spPr>
            <a:xfrm>
              <a:off x="8720772" y="114649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2547 w 63500"/>
                <a:gd name="connsiteY2" fmla="*/ 13652 h 44450"/>
                <a:gd name="connsiteX3" fmla="*/ 11113 w 63500"/>
                <a:gd name="connsiteY3" fmla="*/ 4349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8103" y="7938"/>
                    <a:pt x="60643" y="10477"/>
                    <a:pt x="62547" y="13652"/>
                  </a:cubicBezTo>
                  <a:lnTo>
                    <a:pt x="11113" y="43497"/>
                  </a:lnTo>
                  <a:cubicBezTo>
                    <a:pt x="9208" y="40322"/>
                    <a:pt x="7303" y="3714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7" name="任意多边形: 形状 10336"/>
            <p:cNvSpPr/>
            <p:nvPr/>
          </p:nvSpPr>
          <p:spPr>
            <a:xfrm>
              <a:off x="8727122" y="1155382"/>
              <a:ext cx="63500" cy="50800"/>
            </a:xfrm>
            <a:custGeom>
              <a:avLst/>
              <a:gdLst>
                <a:gd name="connsiteX0" fmla="*/ 4763 w 63500"/>
                <a:gd name="connsiteY0" fmla="*/ 34607 h 50800"/>
                <a:gd name="connsiteX1" fmla="*/ 56197 w 63500"/>
                <a:gd name="connsiteY1" fmla="*/ 4763 h 50800"/>
                <a:gd name="connsiteX2" fmla="*/ 64453 w 63500"/>
                <a:gd name="connsiteY2" fmla="*/ 18098 h 50800"/>
                <a:gd name="connsiteX3" fmla="*/ 13018 w 63500"/>
                <a:gd name="connsiteY3" fmla="*/ 47943 h 50800"/>
                <a:gd name="connsiteX4" fmla="*/ 4763 w 63500"/>
                <a:gd name="connsiteY4" fmla="*/ 34607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50800">
                  <a:moveTo>
                    <a:pt x="4763" y="34607"/>
                  </a:moveTo>
                  <a:lnTo>
                    <a:pt x="56197" y="4763"/>
                  </a:lnTo>
                  <a:cubicBezTo>
                    <a:pt x="59372" y="9207"/>
                    <a:pt x="61913" y="13653"/>
                    <a:pt x="64453" y="18098"/>
                  </a:cubicBezTo>
                  <a:lnTo>
                    <a:pt x="13018" y="47943"/>
                  </a:lnTo>
                  <a:cubicBezTo>
                    <a:pt x="10478" y="42863"/>
                    <a:pt x="7938" y="3841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8" name="任意多边形: 形状 10337"/>
            <p:cNvSpPr/>
            <p:nvPr/>
          </p:nvSpPr>
          <p:spPr>
            <a:xfrm>
              <a:off x="8735378" y="1168082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1278 w 63500"/>
                <a:gd name="connsiteY2" fmla="*/ 13653 h 44450"/>
                <a:gd name="connsiteX3" fmla="*/ 9842 w 63500"/>
                <a:gd name="connsiteY3" fmla="*/ 4349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8103" y="7938"/>
                    <a:pt x="59372" y="10478"/>
                    <a:pt x="61278" y="13653"/>
                  </a:cubicBezTo>
                  <a:lnTo>
                    <a:pt x="9842" y="43498"/>
                  </a:lnTo>
                  <a:cubicBezTo>
                    <a:pt x="7938" y="40323"/>
                    <a:pt x="6667" y="3778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9" name="任意多边形: 形状 10338"/>
            <p:cNvSpPr/>
            <p:nvPr/>
          </p:nvSpPr>
          <p:spPr>
            <a:xfrm>
              <a:off x="8740457" y="117697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8 w 63500"/>
                <a:gd name="connsiteY1" fmla="*/ 4763 h 44450"/>
                <a:gd name="connsiteX2" fmla="*/ 59373 w 63500"/>
                <a:gd name="connsiteY2" fmla="*/ 11113 h 44450"/>
                <a:gd name="connsiteX3" fmla="*/ 7938 w 63500"/>
                <a:gd name="connsiteY3" fmla="*/ 4095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6667"/>
                    <a:pt x="58103" y="8572"/>
                    <a:pt x="59373" y="11113"/>
                  </a:cubicBezTo>
                  <a:lnTo>
                    <a:pt x="7938" y="40957"/>
                  </a:lnTo>
                  <a:cubicBezTo>
                    <a:pt x="6668" y="38417"/>
                    <a:pt x="6033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0" name="任意多边形: 形状 10339"/>
            <p:cNvSpPr/>
            <p:nvPr/>
          </p:nvSpPr>
          <p:spPr>
            <a:xfrm>
              <a:off x="8743632" y="118268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8 w 63500"/>
                <a:gd name="connsiteY1" fmla="*/ 4763 h 44450"/>
                <a:gd name="connsiteX2" fmla="*/ 58738 w 63500"/>
                <a:gd name="connsiteY2" fmla="*/ 9843 h 44450"/>
                <a:gd name="connsiteX3" fmla="*/ 7303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6668"/>
                    <a:pt x="58103" y="7938"/>
                    <a:pt x="58738" y="9843"/>
                  </a:cubicBezTo>
                  <a:lnTo>
                    <a:pt x="7303" y="39688"/>
                  </a:lnTo>
                  <a:cubicBezTo>
                    <a:pt x="6033" y="38418"/>
                    <a:pt x="5398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1" name="任意多边形: 形状 10340"/>
            <p:cNvSpPr/>
            <p:nvPr/>
          </p:nvSpPr>
          <p:spPr>
            <a:xfrm>
              <a:off x="8746172" y="118776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58738 w 63500"/>
                <a:gd name="connsiteY2" fmla="*/ 9843 h 44450"/>
                <a:gd name="connsiteX3" fmla="*/ 7303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668"/>
                    <a:pt x="57468" y="7938"/>
                    <a:pt x="58738" y="9843"/>
                  </a:cubicBezTo>
                  <a:lnTo>
                    <a:pt x="7303" y="39688"/>
                  </a:lnTo>
                  <a:cubicBezTo>
                    <a:pt x="6033" y="38418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2" name="任意多边形: 形状 10341"/>
            <p:cNvSpPr/>
            <p:nvPr/>
          </p:nvSpPr>
          <p:spPr>
            <a:xfrm>
              <a:off x="8748078" y="11928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9207 h 38100"/>
                <a:gd name="connsiteX3" fmla="*/ 6667 w 57150"/>
                <a:gd name="connsiteY3" fmla="*/ 3905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7" y="7938"/>
                    <a:pt x="58103" y="9207"/>
                  </a:cubicBezTo>
                  <a:lnTo>
                    <a:pt x="6667" y="39052"/>
                  </a:lnTo>
                  <a:cubicBezTo>
                    <a:pt x="6032" y="37782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3" name="任意多边形: 形状 10342"/>
            <p:cNvSpPr/>
            <p:nvPr/>
          </p:nvSpPr>
          <p:spPr>
            <a:xfrm>
              <a:off x="8749982" y="1197927"/>
              <a:ext cx="57150" cy="44450"/>
            </a:xfrm>
            <a:custGeom>
              <a:avLst/>
              <a:gdLst>
                <a:gd name="connsiteX0" fmla="*/ 4763 w 57150"/>
                <a:gd name="connsiteY0" fmla="*/ 34608 h 44450"/>
                <a:gd name="connsiteX1" fmla="*/ 56198 w 57150"/>
                <a:gd name="connsiteY1" fmla="*/ 4763 h 44450"/>
                <a:gd name="connsiteX2" fmla="*/ 58103 w 57150"/>
                <a:gd name="connsiteY2" fmla="*/ 9843 h 44450"/>
                <a:gd name="connsiteX3" fmla="*/ 6668 w 57150"/>
                <a:gd name="connsiteY3" fmla="*/ 39688 h 44450"/>
                <a:gd name="connsiteX4" fmla="*/ 4763 w 5715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668"/>
                    <a:pt x="57468" y="7938"/>
                    <a:pt x="58103" y="9843"/>
                  </a:cubicBezTo>
                  <a:lnTo>
                    <a:pt x="6668" y="39688"/>
                  </a:lnTo>
                  <a:cubicBezTo>
                    <a:pt x="6033" y="37783"/>
                    <a:pt x="5398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4" name="任意多边形: 形状 10343"/>
            <p:cNvSpPr/>
            <p:nvPr/>
          </p:nvSpPr>
          <p:spPr>
            <a:xfrm>
              <a:off x="8751888" y="1202373"/>
              <a:ext cx="57150" cy="44450"/>
            </a:xfrm>
            <a:custGeom>
              <a:avLst/>
              <a:gdLst>
                <a:gd name="connsiteX0" fmla="*/ 4763 w 57150"/>
                <a:gd name="connsiteY0" fmla="*/ 34607 h 44450"/>
                <a:gd name="connsiteX1" fmla="*/ 56197 w 57150"/>
                <a:gd name="connsiteY1" fmla="*/ 4763 h 44450"/>
                <a:gd name="connsiteX2" fmla="*/ 58103 w 57150"/>
                <a:gd name="connsiteY2" fmla="*/ 9842 h 44450"/>
                <a:gd name="connsiteX3" fmla="*/ 6668 w 57150"/>
                <a:gd name="connsiteY3" fmla="*/ 39688 h 44450"/>
                <a:gd name="connsiteX4" fmla="*/ 4763 w 5715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667"/>
                    <a:pt x="57468" y="7938"/>
                    <a:pt x="58103" y="9842"/>
                  </a:cubicBezTo>
                  <a:lnTo>
                    <a:pt x="6668" y="39688"/>
                  </a:lnTo>
                  <a:cubicBezTo>
                    <a:pt x="6032" y="37782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5" name="任意多边形: 形状 10344"/>
            <p:cNvSpPr/>
            <p:nvPr/>
          </p:nvSpPr>
          <p:spPr>
            <a:xfrm>
              <a:off x="8753793" y="1207452"/>
              <a:ext cx="57150" cy="44450"/>
            </a:xfrm>
            <a:custGeom>
              <a:avLst/>
              <a:gdLst>
                <a:gd name="connsiteX0" fmla="*/ 4763 w 57150"/>
                <a:gd name="connsiteY0" fmla="*/ 34608 h 44450"/>
                <a:gd name="connsiteX1" fmla="*/ 56197 w 57150"/>
                <a:gd name="connsiteY1" fmla="*/ 4763 h 44450"/>
                <a:gd name="connsiteX2" fmla="*/ 58102 w 57150"/>
                <a:gd name="connsiteY2" fmla="*/ 9843 h 44450"/>
                <a:gd name="connsiteX3" fmla="*/ 6667 w 57150"/>
                <a:gd name="connsiteY3" fmla="*/ 39688 h 44450"/>
                <a:gd name="connsiteX4" fmla="*/ 4763 w 5715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668"/>
                    <a:pt x="57467" y="7938"/>
                    <a:pt x="58102" y="9843"/>
                  </a:cubicBezTo>
                  <a:lnTo>
                    <a:pt x="6667" y="39688"/>
                  </a:lnTo>
                  <a:cubicBezTo>
                    <a:pt x="6032" y="37783"/>
                    <a:pt x="5397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6" name="任意多边形: 形状 10345"/>
            <p:cNvSpPr/>
            <p:nvPr/>
          </p:nvSpPr>
          <p:spPr>
            <a:xfrm>
              <a:off x="8755697" y="1212532"/>
              <a:ext cx="57150" cy="44450"/>
            </a:xfrm>
            <a:custGeom>
              <a:avLst/>
              <a:gdLst>
                <a:gd name="connsiteX0" fmla="*/ 4763 w 57150"/>
                <a:gd name="connsiteY0" fmla="*/ 34607 h 44450"/>
                <a:gd name="connsiteX1" fmla="*/ 56197 w 57150"/>
                <a:gd name="connsiteY1" fmla="*/ 4763 h 44450"/>
                <a:gd name="connsiteX2" fmla="*/ 58103 w 57150"/>
                <a:gd name="connsiteY2" fmla="*/ 9843 h 44450"/>
                <a:gd name="connsiteX3" fmla="*/ 6668 w 57150"/>
                <a:gd name="connsiteY3" fmla="*/ 39688 h 44450"/>
                <a:gd name="connsiteX4" fmla="*/ 4763 w 5715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668"/>
                    <a:pt x="57468" y="7938"/>
                    <a:pt x="58103" y="9843"/>
                  </a:cubicBezTo>
                  <a:lnTo>
                    <a:pt x="6668" y="39688"/>
                  </a:lnTo>
                  <a:cubicBezTo>
                    <a:pt x="6033" y="37782"/>
                    <a:pt x="5397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7" name="任意多边形: 形状 10346"/>
            <p:cNvSpPr/>
            <p:nvPr/>
          </p:nvSpPr>
          <p:spPr>
            <a:xfrm>
              <a:off x="8757603" y="1217613"/>
              <a:ext cx="57150" cy="44450"/>
            </a:xfrm>
            <a:custGeom>
              <a:avLst/>
              <a:gdLst>
                <a:gd name="connsiteX0" fmla="*/ 4763 w 57150"/>
                <a:gd name="connsiteY0" fmla="*/ 34607 h 44450"/>
                <a:gd name="connsiteX1" fmla="*/ 56197 w 57150"/>
                <a:gd name="connsiteY1" fmla="*/ 4763 h 44450"/>
                <a:gd name="connsiteX2" fmla="*/ 57467 w 57150"/>
                <a:gd name="connsiteY2" fmla="*/ 9843 h 44450"/>
                <a:gd name="connsiteX3" fmla="*/ 6032 w 57150"/>
                <a:gd name="connsiteY3" fmla="*/ 39688 h 44450"/>
                <a:gd name="connsiteX4" fmla="*/ 4763 w 5715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668"/>
                    <a:pt x="57467" y="7938"/>
                    <a:pt x="57467" y="9843"/>
                  </a:cubicBezTo>
                  <a:lnTo>
                    <a:pt x="6032" y="39688"/>
                  </a:lnTo>
                  <a:cubicBezTo>
                    <a:pt x="5397" y="37782"/>
                    <a:pt x="4763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8" name="任意多边形: 形状 10347"/>
            <p:cNvSpPr/>
            <p:nvPr/>
          </p:nvSpPr>
          <p:spPr>
            <a:xfrm>
              <a:off x="8758872" y="1222693"/>
              <a:ext cx="57150" cy="44450"/>
            </a:xfrm>
            <a:custGeom>
              <a:avLst/>
              <a:gdLst>
                <a:gd name="connsiteX0" fmla="*/ 4763 w 57150"/>
                <a:gd name="connsiteY0" fmla="*/ 34607 h 44450"/>
                <a:gd name="connsiteX1" fmla="*/ 56197 w 57150"/>
                <a:gd name="connsiteY1" fmla="*/ 4763 h 44450"/>
                <a:gd name="connsiteX2" fmla="*/ 57468 w 57150"/>
                <a:gd name="connsiteY2" fmla="*/ 9843 h 44450"/>
                <a:gd name="connsiteX3" fmla="*/ 6033 w 57150"/>
                <a:gd name="connsiteY3" fmla="*/ 39688 h 44450"/>
                <a:gd name="connsiteX4" fmla="*/ 4763 w 5715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668"/>
                    <a:pt x="56833" y="7938"/>
                    <a:pt x="57468" y="9843"/>
                  </a:cubicBezTo>
                  <a:lnTo>
                    <a:pt x="6033" y="39688"/>
                  </a:lnTo>
                  <a:cubicBezTo>
                    <a:pt x="5397" y="37782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9" name="任意多边形: 形状 10348"/>
            <p:cNvSpPr/>
            <p:nvPr/>
          </p:nvSpPr>
          <p:spPr>
            <a:xfrm>
              <a:off x="8760143" y="12277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8572 h 38100"/>
                <a:gd name="connsiteX3" fmla="*/ 5397 w 57150"/>
                <a:gd name="connsiteY3" fmla="*/ 3841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7302"/>
                    <a:pt x="56832" y="8572"/>
                  </a:cubicBezTo>
                  <a:lnTo>
                    <a:pt x="5397" y="38417"/>
                  </a:lnTo>
                  <a:cubicBezTo>
                    <a:pt x="5397" y="37147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0" name="任意多边形: 形状 10349"/>
            <p:cNvSpPr/>
            <p:nvPr/>
          </p:nvSpPr>
          <p:spPr>
            <a:xfrm>
              <a:off x="8855393" y="134905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6032 h 38100"/>
                <a:gd name="connsiteX3" fmla="*/ 6667 w 57150"/>
                <a:gd name="connsiteY3" fmla="*/ 3587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7467" y="6032"/>
                    <a:pt x="58102" y="6032"/>
                  </a:cubicBezTo>
                  <a:lnTo>
                    <a:pt x="6667" y="35878"/>
                  </a:lnTo>
                  <a:cubicBezTo>
                    <a:pt x="6032" y="3524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1" name="任意多边形: 形状 10350"/>
            <p:cNvSpPr/>
            <p:nvPr/>
          </p:nvSpPr>
          <p:spPr>
            <a:xfrm>
              <a:off x="8857297" y="13503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9372 w 63500"/>
                <a:gd name="connsiteY2" fmla="*/ 7303 h 38100"/>
                <a:gd name="connsiteX3" fmla="*/ 7938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5398"/>
                    <a:pt x="58103" y="6668"/>
                    <a:pt x="59372" y="7303"/>
                  </a:cubicBezTo>
                  <a:lnTo>
                    <a:pt x="7938" y="37148"/>
                  </a:lnTo>
                  <a:cubicBezTo>
                    <a:pt x="7303" y="36513"/>
                    <a:pt x="603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2" name="任意多边形: 形状 10351"/>
            <p:cNvSpPr/>
            <p:nvPr/>
          </p:nvSpPr>
          <p:spPr>
            <a:xfrm>
              <a:off x="8860472" y="135350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9372 w 63500"/>
                <a:gd name="connsiteY2" fmla="*/ 7938 h 38100"/>
                <a:gd name="connsiteX3" fmla="*/ 7938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5398"/>
                    <a:pt x="58103" y="6668"/>
                    <a:pt x="59372" y="7938"/>
                  </a:cubicBezTo>
                  <a:lnTo>
                    <a:pt x="7938" y="37783"/>
                  </a:lnTo>
                  <a:cubicBezTo>
                    <a:pt x="7303" y="36513"/>
                    <a:pt x="603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3" name="任意多边形: 形状 10352"/>
            <p:cNvSpPr/>
            <p:nvPr/>
          </p:nvSpPr>
          <p:spPr>
            <a:xfrm>
              <a:off x="8863647" y="135604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9372 w 63500"/>
                <a:gd name="connsiteY2" fmla="*/ 7938 h 38100"/>
                <a:gd name="connsiteX3" fmla="*/ 7938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8103" y="6668"/>
                    <a:pt x="59372" y="7938"/>
                  </a:cubicBezTo>
                  <a:lnTo>
                    <a:pt x="7938" y="37782"/>
                  </a:lnTo>
                  <a:cubicBezTo>
                    <a:pt x="6668" y="36513"/>
                    <a:pt x="603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4" name="任意多边形: 形状 10353"/>
            <p:cNvSpPr/>
            <p:nvPr/>
          </p:nvSpPr>
          <p:spPr>
            <a:xfrm>
              <a:off x="8866822" y="135921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9372 w 63500"/>
                <a:gd name="connsiteY2" fmla="*/ 7938 h 38100"/>
                <a:gd name="connsiteX3" fmla="*/ 7938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8103" y="6668"/>
                    <a:pt x="59372" y="7938"/>
                  </a:cubicBezTo>
                  <a:lnTo>
                    <a:pt x="7938" y="37782"/>
                  </a:lnTo>
                  <a:cubicBezTo>
                    <a:pt x="6668" y="3651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5" name="任意多边形: 形状 10354"/>
            <p:cNvSpPr/>
            <p:nvPr/>
          </p:nvSpPr>
          <p:spPr>
            <a:xfrm>
              <a:off x="8869363" y="136239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8103" y="6668"/>
                    <a:pt x="58738" y="7938"/>
                  </a:cubicBezTo>
                  <a:lnTo>
                    <a:pt x="7303" y="37782"/>
                  </a:lnTo>
                  <a:cubicBezTo>
                    <a:pt x="6668" y="36513"/>
                    <a:pt x="6032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6" name="任意多边形: 形状 10355"/>
            <p:cNvSpPr/>
            <p:nvPr/>
          </p:nvSpPr>
          <p:spPr>
            <a:xfrm>
              <a:off x="8872538" y="136493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8103" y="6668"/>
                    <a:pt x="58738" y="7938"/>
                  </a:cubicBezTo>
                  <a:lnTo>
                    <a:pt x="7303" y="37782"/>
                  </a:lnTo>
                  <a:cubicBezTo>
                    <a:pt x="6668" y="37148"/>
                    <a:pt x="5397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7" name="任意多边形: 形状 10356"/>
            <p:cNvSpPr/>
            <p:nvPr/>
          </p:nvSpPr>
          <p:spPr>
            <a:xfrm>
              <a:off x="8875078" y="1368107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8103" y="6668"/>
                    <a:pt x="58738" y="7938"/>
                  </a:cubicBezTo>
                  <a:lnTo>
                    <a:pt x="7303" y="37782"/>
                  </a:lnTo>
                  <a:cubicBezTo>
                    <a:pt x="6667" y="37148"/>
                    <a:pt x="5397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8" name="任意多边形: 形状 10357"/>
            <p:cNvSpPr/>
            <p:nvPr/>
          </p:nvSpPr>
          <p:spPr>
            <a:xfrm>
              <a:off x="8877618" y="137191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9372 w 63500"/>
                <a:gd name="connsiteY2" fmla="*/ 8572 h 38100"/>
                <a:gd name="connsiteX3" fmla="*/ 7938 w 63500"/>
                <a:gd name="connsiteY3" fmla="*/ 3841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032"/>
                    <a:pt x="58102" y="7302"/>
                    <a:pt x="59372" y="8572"/>
                  </a:cubicBezTo>
                  <a:lnTo>
                    <a:pt x="7938" y="38418"/>
                  </a:lnTo>
                  <a:cubicBezTo>
                    <a:pt x="6667" y="37147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9" name="任意多边形: 形状 10358"/>
            <p:cNvSpPr/>
            <p:nvPr/>
          </p:nvSpPr>
          <p:spPr>
            <a:xfrm>
              <a:off x="8880793" y="1375727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60007 w 63500"/>
                <a:gd name="connsiteY2" fmla="*/ 10478 h 44450"/>
                <a:gd name="connsiteX3" fmla="*/ 8572 w 63500"/>
                <a:gd name="connsiteY3" fmla="*/ 40323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668"/>
                    <a:pt x="58738" y="8573"/>
                    <a:pt x="60007" y="10478"/>
                  </a:cubicBezTo>
                  <a:lnTo>
                    <a:pt x="8572" y="40323"/>
                  </a:lnTo>
                  <a:cubicBezTo>
                    <a:pt x="7302" y="38418"/>
                    <a:pt x="6032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0" name="任意多边形: 形状 10359"/>
            <p:cNvSpPr/>
            <p:nvPr/>
          </p:nvSpPr>
          <p:spPr>
            <a:xfrm>
              <a:off x="8884603" y="138144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1913 w 63500"/>
                <a:gd name="connsiteY2" fmla="*/ 13652 h 44450"/>
                <a:gd name="connsiteX3" fmla="*/ 10478 w 63500"/>
                <a:gd name="connsiteY3" fmla="*/ 4349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8103" y="7938"/>
                    <a:pt x="60007" y="10477"/>
                    <a:pt x="61913" y="13652"/>
                  </a:cubicBezTo>
                  <a:lnTo>
                    <a:pt x="10478" y="43497"/>
                  </a:lnTo>
                  <a:cubicBezTo>
                    <a:pt x="8572" y="40322"/>
                    <a:pt x="6667" y="3714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1" name="任意多边形: 形状 10360"/>
            <p:cNvSpPr/>
            <p:nvPr/>
          </p:nvSpPr>
          <p:spPr>
            <a:xfrm>
              <a:off x="8890318" y="1390332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59372 w 63500"/>
                <a:gd name="connsiteY2" fmla="*/ 11113 h 44450"/>
                <a:gd name="connsiteX3" fmla="*/ 7938 w 63500"/>
                <a:gd name="connsiteY3" fmla="*/ 4095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8"/>
                    <a:pt x="58738" y="8573"/>
                    <a:pt x="59372" y="11113"/>
                  </a:cubicBezTo>
                  <a:lnTo>
                    <a:pt x="7938" y="40957"/>
                  </a:lnTo>
                  <a:cubicBezTo>
                    <a:pt x="7302" y="38418"/>
                    <a:pt x="6032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2" name="任意多边形: 形状 10361"/>
            <p:cNvSpPr/>
            <p:nvPr/>
          </p:nvSpPr>
          <p:spPr>
            <a:xfrm>
              <a:off x="8893493" y="13960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8572 h 38100"/>
                <a:gd name="connsiteX3" fmla="*/ 6667 w 57150"/>
                <a:gd name="connsiteY3" fmla="*/ 3841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7" y="7302"/>
                    <a:pt x="58102" y="8572"/>
                  </a:cubicBezTo>
                  <a:lnTo>
                    <a:pt x="6667" y="38417"/>
                  </a:lnTo>
                  <a:cubicBezTo>
                    <a:pt x="6667" y="37147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3" name="任意多边形: 形状 10362"/>
            <p:cNvSpPr/>
            <p:nvPr/>
          </p:nvSpPr>
          <p:spPr>
            <a:xfrm>
              <a:off x="8896032" y="140049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8572 h 38100"/>
                <a:gd name="connsiteX3" fmla="*/ 6668 w 57150"/>
                <a:gd name="connsiteY3" fmla="*/ 3841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6032"/>
                    <a:pt x="57468" y="7302"/>
                    <a:pt x="58103" y="8572"/>
                  </a:cubicBezTo>
                  <a:lnTo>
                    <a:pt x="6668" y="38418"/>
                  </a:lnTo>
                  <a:cubicBezTo>
                    <a:pt x="6033" y="36513"/>
                    <a:pt x="539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4" name="任意多边形: 形状 10363"/>
            <p:cNvSpPr/>
            <p:nvPr/>
          </p:nvSpPr>
          <p:spPr>
            <a:xfrm>
              <a:off x="8897303" y="140366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7938 h 38100"/>
                <a:gd name="connsiteX3" fmla="*/ 6032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7" y="6668"/>
                    <a:pt x="57467" y="7938"/>
                  </a:cubicBezTo>
                  <a:lnTo>
                    <a:pt x="6032" y="37782"/>
                  </a:lnTo>
                  <a:cubicBezTo>
                    <a:pt x="6032" y="37147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5" name="任意多边形: 形状 10364"/>
            <p:cNvSpPr/>
            <p:nvPr/>
          </p:nvSpPr>
          <p:spPr>
            <a:xfrm>
              <a:off x="8899207" y="140684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6032"/>
                    <a:pt x="56833" y="6668"/>
                    <a:pt x="57468" y="7938"/>
                  </a:cubicBezTo>
                  <a:lnTo>
                    <a:pt x="6033" y="37782"/>
                  </a:lnTo>
                  <a:cubicBezTo>
                    <a:pt x="5398" y="37147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6" name="任意多边形: 形状 10365"/>
            <p:cNvSpPr/>
            <p:nvPr/>
          </p:nvSpPr>
          <p:spPr>
            <a:xfrm>
              <a:off x="8900478" y="141001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7938 h 38100"/>
                <a:gd name="connsiteX3" fmla="*/ 6032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6832" y="6668"/>
                    <a:pt x="57467" y="7938"/>
                  </a:cubicBezTo>
                  <a:lnTo>
                    <a:pt x="6032" y="37782"/>
                  </a:lnTo>
                  <a:cubicBezTo>
                    <a:pt x="5397" y="37147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7" name="任意多边形: 形状 10366"/>
            <p:cNvSpPr/>
            <p:nvPr/>
          </p:nvSpPr>
          <p:spPr>
            <a:xfrm>
              <a:off x="8901747" y="141319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032"/>
                    <a:pt x="56833" y="6668"/>
                    <a:pt x="57468" y="7938"/>
                  </a:cubicBezTo>
                  <a:lnTo>
                    <a:pt x="6033" y="37782"/>
                  </a:lnTo>
                  <a:cubicBezTo>
                    <a:pt x="5397" y="37147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8" name="任意多边形: 形状 10367"/>
            <p:cNvSpPr/>
            <p:nvPr/>
          </p:nvSpPr>
          <p:spPr>
            <a:xfrm>
              <a:off x="8903018" y="141636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7938 h 38100"/>
                <a:gd name="connsiteX3" fmla="*/ 6032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6832" y="7302"/>
                    <a:pt x="57467" y="7938"/>
                  </a:cubicBezTo>
                  <a:lnTo>
                    <a:pt x="6032" y="37782"/>
                  </a:lnTo>
                  <a:cubicBezTo>
                    <a:pt x="5397" y="37147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9" name="任意多边形: 形状 10368"/>
            <p:cNvSpPr/>
            <p:nvPr/>
          </p:nvSpPr>
          <p:spPr>
            <a:xfrm>
              <a:off x="8904288" y="14201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7303"/>
                    <a:pt x="57468" y="7938"/>
                  </a:cubicBezTo>
                  <a:lnTo>
                    <a:pt x="6032" y="37783"/>
                  </a:lnTo>
                  <a:cubicBezTo>
                    <a:pt x="5397" y="36513"/>
                    <a:pt x="476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0" name="任意多边形: 形状 10369"/>
            <p:cNvSpPr/>
            <p:nvPr/>
          </p:nvSpPr>
          <p:spPr>
            <a:xfrm>
              <a:off x="8904922" y="14233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6033"/>
                    <a:pt x="56833" y="7303"/>
                    <a:pt x="57468" y="7938"/>
                  </a:cubicBezTo>
                  <a:lnTo>
                    <a:pt x="6033" y="37783"/>
                  </a:lnTo>
                  <a:cubicBezTo>
                    <a:pt x="5397" y="37148"/>
                    <a:pt x="5397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1" name="任意多边形: 形状 10370"/>
            <p:cNvSpPr/>
            <p:nvPr/>
          </p:nvSpPr>
          <p:spPr>
            <a:xfrm>
              <a:off x="8906193" y="142716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6832" y="7302"/>
                    <a:pt x="56832" y="7938"/>
                  </a:cubicBezTo>
                  <a:lnTo>
                    <a:pt x="5397" y="37782"/>
                  </a:lnTo>
                  <a:cubicBezTo>
                    <a:pt x="5397" y="3651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2" name="任意多边形: 形状 10371"/>
            <p:cNvSpPr/>
            <p:nvPr/>
          </p:nvSpPr>
          <p:spPr>
            <a:xfrm>
              <a:off x="8906828" y="143033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7302"/>
                    <a:pt x="56832" y="7938"/>
                  </a:cubicBezTo>
                  <a:lnTo>
                    <a:pt x="5397" y="37782"/>
                  </a:lnTo>
                  <a:cubicBezTo>
                    <a:pt x="5397" y="37148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3" name="任意多边形: 形状 10372"/>
            <p:cNvSpPr/>
            <p:nvPr/>
          </p:nvSpPr>
          <p:spPr>
            <a:xfrm>
              <a:off x="8908097" y="143351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3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3" y="7302"/>
                    <a:pt x="56833" y="7938"/>
                  </a:cubicBezTo>
                  <a:lnTo>
                    <a:pt x="5397" y="37782"/>
                  </a:lnTo>
                  <a:cubicBezTo>
                    <a:pt x="4763" y="37148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4" name="任意多边形: 形状 10373"/>
            <p:cNvSpPr/>
            <p:nvPr/>
          </p:nvSpPr>
          <p:spPr>
            <a:xfrm>
              <a:off x="8908732" y="14373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6833 w 57150"/>
                <a:gd name="connsiteY2" fmla="*/ 7938 h 38100"/>
                <a:gd name="connsiteX3" fmla="*/ 5398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198" y="6032"/>
                    <a:pt x="56833" y="6667"/>
                    <a:pt x="56833" y="7938"/>
                  </a:cubicBezTo>
                  <a:lnTo>
                    <a:pt x="5398" y="37782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5" name="任意多边形: 形状 10374"/>
            <p:cNvSpPr/>
            <p:nvPr/>
          </p:nvSpPr>
          <p:spPr>
            <a:xfrm>
              <a:off x="8909368" y="14404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6667"/>
                    <a:pt x="56832" y="7938"/>
                  </a:cubicBezTo>
                  <a:lnTo>
                    <a:pt x="5397" y="37782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6" name="任意多边形: 形状 10375"/>
            <p:cNvSpPr/>
            <p:nvPr/>
          </p:nvSpPr>
          <p:spPr>
            <a:xfrm>
              <a:off x="8909368" y="14436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832" y="7938"/>
                  </a:cubicBezTo>
                  <a:lnTo>
                    <a:pt x="5397" y="37782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7" name="任意多边形: 形状 10376"/>
            <p:cNvSpPr/>
            <p:nvPr/>
          </p:nvSpPr>
          <p:spPr>
            <a:xfrm>
              <a:off x="8910003" y="14468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8" name="任意多边形: 形状 10377"/>
            <p:cNvSpPr/>
            <p:nvPr/>
          </p:nvSpPr>
          <p:spPr>
            <a:xfrm>
              <a:off x="8910003" y="14500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5397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9" name="任意多边形: 形状 10378"/>
            <p:cNvSpPr/>
            <p:nvPr/>
          </p:nvSpPr>
          <p:spPr>
            <a:xfrm>
              <a:off x="8910638" y="14531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56197 w 57150"/>
                <a:gd name="connsiteY3" fmla="*/ 7938 h 38100"/>
                <a:gd name="connsiteX4" fmla="*/ 4763 w 57150"/>
                <a:gd name="connsiteY4" fmla="*/ 37782 h 38100"/>
                <a:gd name="connsiteX5" fmla="*/ 4763 w 57150"/>
                <a:gd name="connsiteY5" fmla="*/ 37782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cubicBezTo>
                    <a:pt x="56197" y="7938"/>
                    <a:pt x="56197" y="7938"/>
                    <a:pt x="56197" y="7938"/>
                  </a:cubicBezTo>
                  <a:lnTo>
                    <a:pt x="4763" y="37782"/>
                  </a:lnTo>
                  <a:cubicBezTo>
                    <a:pt x="4763" y="37782"/>
                    <a:pt x="4763" y="37782"/>
                    <a:pt x="4763" y="37782"/>
                  </a:cubicBez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0" name="任意多边形: 形状 10379"/>
            <p:cNvSpPr/>
            <p:nvPr/>
          </p:nvSpPr>
          <p:spPr>
            <a:xfrm>
              <a:off x="8910638" y="14563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1" name="任意多边形: 形状 10380"/>
            <p:cNvSpPr/>
            <p:nvPr/>
          </p:nvSpPr>
          <p:spPr>
            <a:xfrm>
              <a:off x="8910161" y="1459548"/>
              <a:ext cx="57150" cy="38100"/>
            </a:xfrm>
            <a:custGeom>
              <a:avLst/>
              <a:gdLst>
                <a:gd name="connsiteX0" fmla="*/ 5239 w 57150"/>
                <a:gd name="connsiteY0" fmla="*/ 34607 h 38100"/>
                <a:gd name="connsiteX1" fmla="*/ 56673 w 57150"/>
                <a:gd name="connsiteY1" fmla="*/ 4763 h 38100"/>
                <a:gd name="connsiteX2" fmla="*/ 56673 w 57150"/>
                <a:gd name="connsiteY2" fmla="*/ 7938 h 38100"/>
                <a:gd name="connsiteX3" fmla="*/ 5239 w 57150"/>
                <a:gd name="connsiteY3" fmla="*/ 37782 h 38100"/>
                <a:gd name="connsiteX4" fmla="*/ 5239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239" y="34607"/>
                  </a:moveTo>
                  <a:lnTo>
                    <a:pt x="56673" y="4763"/>
                  </a:lnTo>
                  <a:cubicBezTo>
                    <a:pt x="56673" y="6032"/>
                    <a:pt x="56673" y="6667"/>
                    <a:pt x="56673" y="7938"/>
                  </a:cubicBezTo>
                  <a:lnTo>
                    <a:pt x="5239" y="37782"/>
                  </a:lnTo>
                  <a:cubicBezTo>
                    <a:pt x="4604" y="36513"/>
                    <a:pt x="4604" y="35242"/>
                    <a:pt x="5239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2" name="任意多边形: 形状 10381"/>
            <p:cNvSpPr/>
            <p:nvPr/>
          </p:nvSpPr>
          <p:spPr>
            <a:xfrm>
              <a:off x="8909368" y="1462723"/>
              <a:ext cx="57150" cy="38100"/>
            </a:xfrm>
            <a:custGeom>
              <a:avLst/>
              <a:gdLst>
                <a:gd name="connsiteX0" fmla="*/ 5397 w 57150"/>
                <a:gd name="connsiteY0" fmla="*/ 34607 h 38100"/>
                <a:gd name="connsiteX1" fmla="*/ 56832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5397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7" y="34607"/>
                  </a:moveTo>
                  <a:lnTo>
                    <a:pt x="56832" y="4763"/>
                  </a:lnTo>
                  <a:cubicBezTo>
                    <a:pt x="56832" y="6032"/>
                    <a:pt x="56832" y="6667"/>
                    <a:pt x="56197" y="7938"/>
                  </a:cubicBezTo>
                  <a:lnTo>
                    <a:pt x="4763" y="37782"/>
                  </a:lnTo>
                  <a:cubicBezTo>
                    <a:pt x="5397" y="36513"/>
                    <a:pt x="5397" y="35242"/>
                    <a:pt x="5397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3" name="任意多边形: 形状 10382"/>
            <p:cNvSpPr/>
            <p:nvPr/>
          </p:nvSpPr>
          <p:spPr>
            <a:xfrm>
              <a:off x="8909368" y="1465898"/>
              <a:ext cx="57150" cy="38100"/>
            </a:xfrm>
            <a:custGeom>
              <a:avLst/>
              <a:gdLst>
                <a:gd name="connsiteX0" fmla="*/ 5397 w 57150"/>
                <a:gd name="connsiteY0" fmla="*/ 34607 h 38100"/>
                <a:gd name="connsiteX1" fmla="*/ 56832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5397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7" y="34607"/>
                  </a:moveTo>
                  <a:lnTo>
                    <a:pt x="56832" y="4763"/>
                  </a:lnTo>
                  <a:cubicBezTo>
                    <a:pt x="56832" y="6032"/>
                    <a:pt x="56832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5397" y="35242"/>
                    <a:pt x="5397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4" name="任意多边形: 形状 10383"/>
            <p:cNvSpPr/>
            <p:nvPr/>
          </p:nvSpPr>
          <p:spPr>
            <a:xfrm>
              <a:off x="8908732" y="1468438"/>
              <a:ext cx="57150" cy="38100"/>
            </a:xfrm>
            <a:custGeom>
              <a:avLst/>
              <a:gdLst>
                <a:gd name="connsiteX0" fmla="*/ 5398 w 57150"/>
                <a:gd name="connsiteY0" fmla="*/ 34607 h 38100"/>
                <a:gd name="connsiteX1" fmla="*/ 56833 w 57150"/>
                <a:gd name="connsiteY1" fmla="*/ 4763 h 38100"/>
                <a:gd name="connsiteX2" fmla="*/ 56198 w 57150"/>
                <a:gd name="connsiteY2" fmla="*/ 7938 h 38100"/>
                <a:gd name="connsiteX3" fmla="*/ 4763 w 57150"/>
                <a:gd name="connsiteY3" fmla="*/ 37782 h 38100"/>
                <a:gd name="connsiteX4" fmla="*/ 5398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8" y="34607"/>
                  </a:moveTo>
                  <a:lnTo>
                    <a:pt x="56833" y="4763"/>
                  </a:lnTo>
                  <a:cubicBezTo>
                    <a:pt x="56833" y="6032"/>
                    <a:pt x="56198" y="6668"/>
                    <a:pt x="56198" y="7938"/>
                  </a:cubicBezTo>
                  <a:lnTo>
                    <a:pt x="4763" y="37782"/>
                  </a:lnTo>
                  <a:cubicBezTo>
                    <a:pt x="4763" y="37148"/>
                    <a:pt x="5398" y="35877"/>
                    <a:pt x="5398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5" name="任意多边形: 形状 10384"/>
            <p:cNvSpPr/>
            <p:nvPr/>
          </p:nvSpPr>
          <p:spPr>
            <a:xfrm>
              <a:off x="8908097" y="1471613"/>
              <a:ext cx="57150" cy="38100"/>
            </a:xfrm>
            <a:custGeom>
              <a:avLst/>
              <a:gdLst>
                <a:gd name="connsiteX0" fmla="*/ 5397 w 57150"/>
                <a:gd name="connsiteY0" fmla="*/ 34607 h 38100"/>
                <a:gd name="connsiteX1" fmla="*/ 56833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5397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7" y="34607"/>
                  </a:moveTo>
                  <a:lnTo>
                    <a:pt x="56833" y="4763"/>
                  </a:lnTo>
                  <a:cubicBezTo>
                    <a:pt x="56833" y="6032"/>
                    <a:pt x="56197" y="7302"/>
                    <a:pt x="56197" y="7938"/>
                  </a:cubicBezTo>
                  <a:lnTo>
                    <a:pt x="4763" y="37782"/>
                  </a:lnTo>
                  <a:cubicBezTo>
                    <a:pt x="4763" y="37148"/>
                    <a:pt x="5397" y="35877"/>
                    <a:pt x="5397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6" name="任意多边形: 形状 10385"/>
            <p:cNvSpPr/>
            <p:nvPr/>
          </p:nvSpPr>
          <p:spPr>
            <a:xfrm>
              <a:off x="8906828" y="1475423"/>
              <a:ext cx="57150" cy="38100"/>
            </a:xfrm>
            <a:custGeom>
              <a:avLst/>
              <a:gdLst>
                <a:gd name="connsiteX0" fmla="*/ 6032 w 57150"/>
                <a:gd name="connsiteY0" fmla="*/ 34607 h 38100"/>
                <a:gd name="connsiteX1" fmla="*/ 57467 w 57150"/>
                <a:gd name="connsiteY1" fmla="*/ 4763 h 38100"/>
                <a:gd name="connsiteX2" fmla="*/ 56197 w 57150"/>
                <a:gd name="connsiteY2" fmla="*/ 8572 h 38100"/>
                <a:gd name="connsiteX3" fmla="*/ 4763 w 57150"/>
                <a:gd name="connsiteY3" fmla="*/ 38417 h 38100"/>
                <a:gd name="connsiteX4" fmla="*/ 6032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6032" y="34607"/>
                  </a:moveTo>
                  <a:lnTo>
                    <a:pt x="57467" y="4763"/>
                  </a:lnTo>
                  <a:cubicBezTo>
                    <a:pt x="56832" y="6032"/>
                    <a:pt x="56832" y="7302"/>
                    <a:pt x="56197" y="8572"/>
                  </a:cubicBezTo>
                  <a:lnTo>
                    <a:pt x="4763" y="38417"/>
                  </a:lnTo>
                  <a:cubicBezTo>
                    <a:pt x="4763" y="36513"/>
                    <a:pt x="5397" y="35877"/>
                    <a:pt x="6032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7" name="任意多边形: 形状 10386"/>
            <p:cNvSpPr/>
            <p:nvPr/>
          </p:nvSpPr>
          <p:spPr>
            <a:xfrm>
              <a:off x="8904922" y="1478598"/>
              <a:ext cx="57150" cy="38100"/>
            </a:xfrm>
            <a:custGeom>
              <a:avLst/>
              <a:gdLst>
                <a:gd name="connsiteX0" fmla="*/ 6668 w 57150"/>
                <a:gd name="connsiteY0" fmla="*/ 34607 h 38100"/>
                <a:gd name="connsiteX1" fmla="*/ 58103 w 57150"/>
                <a:gd name="connsiteY1" fmla="*/ 4763 h 38100"/>
                <a:gd name="connsiteX2" fmla="*/ 56197 w 57150"/>
                <a:gd name="connsiteY2" fmla="*/ 8572 h 38100"/>
                <a:gd name="connsiteX3" fmla="*/ 4763 w 57150"/>
                <a:gd name="connsiteY3" fmla="*/ 38417 h 38100"/>
                <a:gd name="connsiteX4" fmla="*/ 6668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6668" y="34607"/>
                  </a:moveTo>
                  <a:lnTo>
                    <a:pt x="58103" y="4763"/>
                  </a:lnTo>
                  <a:cubicBezTo>
                    <a:pt x="57468" y="6032"/>
                    <a:pt x="56833" y="7302"/>
                    <a:pt x="56197" y="8572"/>
                  </a:cubicBezTo>
                  <a:lnTo>
                    <a:pt x="4763" y="38417"/>
                  </a:lnTo>
                  <a:cubicBezTo>
                    <a:pt x="5397" y="37147"/>
                    <a:pt x="6033" y="35877"/>
                    <a:pt x="6668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8" name="任意多边形: 形状 10387"/>
            <p:cNvSpPr/>
            <p:nvPr/>
          </p:nvSpPr>
          <p:spPr>
            <a:xfrm>
              <a:off x="8902382" y="1482407"/>
              <a:ext cx="63500" cy="38100"/>
            </a:xfrm>
            <a:custGeom>
              <a:avLst/>
              <a:gdLst>
                <a:gd name="connsiteX0" fmla="*/ 7303 w 63500"/>
                <a:gd name="connsiteY0" fmla="*/ 34607 h 38100"/>
                <a:gd name="connsiteX1" fmla="*/ 58738 w 63500"/>
                <a:gd name="connsiteY1" fmla="*/ 4763 h 38100"/>
                <a:gd name="connsiteX2" fmla="*/ 56198 w 63500"/>
                <a:gd name="connsiteY2" fmla="*/ 9207 h 38100"/>
                <a:gd name="connsiteX3" fmla="*/ 4763 w 63500"/>
                <a:gd name="connsiteY3" fmla="*/ 39053 h 38100"/>
                <a:gd name="connsiteX4" fmla="*/ 730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7303" y="34607"/>
                  </a:moveTo>
                  <a:lnTo>
                    <a:pt x="58738" y="4763"/>
                  </a:lnTo>
                  <a:cubicBezTo>
                    <a:pt x="58103" y="6032"/>
                    <a:pt x="57468" y="7938"/>
                    <a:pt x="56198" y="9207"/>
                  </a:cubicBezTo>
                  <a:lnTo>
                    <a:pt x="4763" y="39053"/>
                  </a:lnTo>
                  <a:cubicBezTo>
                    <a:pt x="6033" y="37782"/>
                    <a:pt x="6668" y="36513"/>
                    <a:pt x="730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9" name="任意多边形: 形状 10388"/>
            <p:cNvSpPr/>
            <p:nvPr/>
          </p:nvSpPr>
          <p:spPr>
            <a:xfrm>
              <a:off x="8890953" y="1486852"/>
              <a:ext cx="69850" cy="50800"/>
            </a:xfrm>
            <a:custGeom>
              <a:avLst/>
              <a:gdLst>
                <a:gd name="connsiteX0" fmla="*/ 16192 w 69850"/>
                <a:gd name="connsiteY0" fmla="*/ 34608 h 50800"/>
                <a:gd name="connsiteX1" fmla="*/ 67628 w 69850"/>
                <a:gd name="connsiteY1" fmla="*/ 4763 h 50800"/>
                <a:gd name="connsiteX2" fmla="*/ 56197 w 69850"/>
                <a:gd name="connsiteY2" fmla="*/ 16193 h 50800"/>
                <a:gd name="connsiteX3" fmla="*/ 4763 w 69850"/>
                <a:gd name="connsiteY3" fmla="*/ 46038 h 50800"/>
                <a:gd name="connsiteX4" fmla="*/ 16192 w 69850"/>
                <a:gd name="connsiteY4" fmla="*/ 34608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850" h="50800">
                  <a:moveTo>
                    <a:pt x="16192" y="34608"/>
                  </a:moveTo>
                  <a:lnTo>
                    <a:pt x="67628" y="4763"/>
                  </a:lnTo>
                  <a:cubicBezTo>
                    <a:pt x="64453" y="9843"/>
                    <a:pt x="60642" y="13653"/>
                    <a:pt x="56197" y="16193"/>
                  </a:cubicBezTo>
                  <a:lnTo>
                    <a:pt x="4763" y="46038"/>
                  </a:lnTo>
                  <a:cubicBezTo>
                    <a:pt x="9207" y="43498"/>
                    <a:pt x="13653" y="39688"/>
                    <a:pt x="16192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0" name="任意多边形: 形状 10389"/>
            <p:cNvSpPr/>
            <p:nvPr/>
          </p:nvSpPr>
          <p:spPr>
            <a:xfrm>
              <a:off x="8760778" y="1230948"/>
              <a:ext cx="57150" cy="38100"/>
            </a:xfrm>
            <a:custGeom>
              <a:avLst/>
              <a:gdLst>
                <a:gd name="connsiteX0" fmla="*/ 4763 w 57150"/>
                <a:gd name="connsiteY0" fmla="*/ 35242 h 38100"/>
                <a:gd name="connsiteX1" fmla="*/ 56197 w 57150"/>
                <a:gd name="connsiteY1" fmla="*/ 5397 h 38100"/>
                <a:gd name="connsiteX2" fmla="*/ 58103 w 57150"/>
                <a:gd name="connsiteY2" fmla="*/ 4763 h 38100"/>
                <a:gd name="connsiteX3" fmla="*/ 6667 w 57150"/>
                <a:gd name="connsiteY3" fmla="*/ 34607 h 38100"/>
                <a:gd name="connsiteX4" fmla="*/ 4763 w 57150"/>
                <a:gd name="connsiteY4" fmla="*/ 3524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5242"/>
                  </a:moveTo>
                  <a:lnTo>
                    <a:pt x="56197" y="5397"/>
                  </a:lnTo>
                  <a:cubicBezTo>
                    <a:pt x="56832" y="5397"/>
                    <a:pt x="57467" y="5397"/>
                    <a:pt x="58103" y="4763"/>
                  </a:cubicBezTo>
                  <a:lnTo>
                    <a:pt x="6667" y="34607"/>
                  </a:lnTo>
                  <a:cubicBezTo>
                    <a:pt x="6032" y="34607"/>
                    <a:pt x="5397" y="34607"/>
                    <a:pt x="4763" y="3524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1" name="任意多边形: 形状 10390"/>
            <p:cNvSpPr/>
            <p:nvPr/>
          </p:nvSpPr>
          <p:spPr>
            <a:xfrm>
              <a:off x="8762682" y="1230313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8 w 63500"/>
                <a:gd name="connsiteY1" fmla="*/ 5398 h 38100"/>
                <a:gd name="connsiteX2" fmla="*/ 59373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8" y="5398"/>
                  </a:lnTo>
                  <a:cubicBezTo>
                    <a:pt x="57468" y="5398"/>
                    <a:pt x="58738" y="4763"/>
                    <a:pt x="59373" y="4763"/>
                  </a:cubicBezTo>
                  <a:lnTo>
                    <a:pt x="7938" y="34607"/>
                  </a:lnTo>
                  <a:cubicBezTo>
                    <a:pt x="7303" y="34607"/>
                    <a:pt x="6033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2" name="任意多边形: 形状 10391"/>
            <p:cNvSpPr/>
            <p:nvPr/>
          </p:nvSpPr>
          <p:spPr>
            <a:xfrm>
              <a:off x="8765857" y="123031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9373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4763"/>
                    <a:pt x="58103" y="4763"/>
                    <a:pt x="59373" y="4763"/>
                  </a:cubicBezTo>
                  <a:lnTo>
                    <a:pt x="7938" y="34607"/>
                  </a:lnTo>
                  <a:cubicBezTo>
                    <a:pt x="7303" y="34607"/>
                    <a:pt x="6033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3" name="任意多边形: 形状 10392"/>
            <p:cNvSpPr/>
            <p:nvPr/>
          </p:nvSpPr>
          <p:spPr>
            <a:xfrm>
              <a:off x="8769032" y="123031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9373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8103" y="4763"/>
                    <a:pt x="59373" y="4763"/>
                  </a:cubicBezTo>
                  <a:lnTo>
                    <a:pt x="7938" y="34607"/>
                  </a:lnTo>
                  <a:cubicBezTo>
                    <a:pt x="6668" y="34607"/>
                    <a:pt x="6033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4" name="任意多边形: 形状 10393"/>
            <p:cNvSpPr/>
            <p:nvPr/>
          </p:nvSpPr>
          <p:spPr>
            <a:xfrm>
              <a:off x="8772207" y="123031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4763 h 38100"/>
                <a:gd name="connsiteX3" fmla="*/ 7303 w 63500"/>
                <a:gd name="connsiteY3" fmla="*/ 3460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8103" y="4763"/>
                    <a:pt x="58738" y="4763"/>
                  </a:cubicBezTo>
                  <a:lnTo>
                    <a:pt x="7303" y="34607"/>
                  </a:lnTo>
                  <a:cubicBezTo>
                    <a:pt x="6668" y="35243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5" name="任意多边形: 形状 10394"/>
            <p:cNvSpPr/>
            <p:nvPr/>
          </p:nvSpPr>
          <p:spPr>
            <a:xfrm>
              <a:off x="8774747" y="12309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5397 h 38100"/>
                <a:gd name="connsiteX3" fmla="*/ 7303 w 63500"/>
                <a:gd name="connsiteY3" fmla="*/ 3524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8103" y="4763"/>
                    <a:pt x="58738" y="5397"/>
                  </a:cubicBezTo>
                  <a:lnTo>
                    <a:pt x="7303" y="35242"/>
                  </a:lnTo>
                  <a:cubicBezTo>
                    <a:pt x="6668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6" name="任意多边形: 形状 10395"/>
            <p:cNvSpPr/>
            <p:nvPr/>
          </p:nvSpPr>
          <p:spPr>
            <a:xfrm>
              <a:off x="8777288" y="12309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5397 h 38100"/>
                <a:gd name="connsiteX3" fmla="*/ 7303 w 63500"/>
                <a:gd name="connsiteY3" fmla="*/ 3524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8103" y="5397"/>
                    <a:pt x="58738" y="5397"/>
                  </a:cubicBezTo>
                  <a:lnTo>
                    <a:pt x="7303" y="35242"/>
                  </a:lnTo>
                  <a:cubicBezTo>
                    <a:pt x="6668" y="35242"/>
                    <a:pt x="6032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7" name="任意多边形: 形状 10396"/>
            <p:cNvSpPr/>
            <p:nvPr/>
          </p:nvSpPr>
          <p:spPr>
            <a:xfrm>
              <a:off x="8779828" y="123158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5398 h 38100"/>
                <a:gd name="connsiteX3" fmla="*/ 7303 w 63500"/>
                <a:gd name="connsiteY3" fmla="*/ 3524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8103" y="5398"/>
                    <a:pt x="58738" y="5398"/>
                  </a:cubicBezTo>
                  <a:lnTo>
                    <a:pt x="7303" y="35243"/>
                  </a:lnTo>
                  <a:cubicBezTo>
                    <a:pt x="6667" y="35243"/>
                    <a:pt x="6032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8" name="任意多边形: 形状 10397"/>
            <p:cNvSpPr/>
            <p:nvPr/>
          </p:nvSpPr>
          <p:spPr>
            <a:xfrm>
              <a:off x="8782368" y="123221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5397 h 38100"/>
                <a:gd name="connsiteX3" fmla="*/ 7302 w 63500"/>
                <a:gd name="connsiteY3" fmla="*/ 3524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8102" y="5397"/>
                    <a:pt x="58738" y="5397"/>
                  </a:cubicBezTo>
                  <a:lnTo>
                    <a:pt x="7302" y="35243"/>
                  </a:lnTo>
                  <a:cubicBezTo>
                    <a:pt x="6667" y="3524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9" name="任意多边形: 形状 10398"/>
            <p:cNvSpPr/>
            <p:nvPr/>
          </p:nvSpPr>
          <p:spPr>
            <a:xfrm>
              <a:off x="8784907" y="123348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5398 h 38100"/>
                <a:gd name="connsiteX3" fmla="*/ 7303 w 63500"/>
                <a:gd name="connsiteY3" fmla="*/ 3524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8103" y="5398"/>
                    <a:pt x="58738" y="5398"/>
                  </a:cubicBezTo>
                  <a:lnTo>
                    <a:pt x="7303" y="35243"/>
                  </a:lnTo>
                  <a:cubicBezTo>
                    <a:pt x="6668" y="35243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0" name="任意多边形: 形状 10399"/>
            <p:cNvSpPr/>
            <p:nvPr/>
          </p:nvSpPr>
          <p:spPr>
            <a:xfrm>
              <a:off x="8787447" y="123412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6032 h 38100"/>
                <a:gd name="connsiteX3" fmla="*/ 7303 w 63500"/>
                <a:gd name="connsiteY3" fmla="*/ 3587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8103" y="5397"/>
                    <a:pt x="58738" y="6032"/>
                  </a:cubicBezTo>
                  <a:lnTo>
                    <a:pt x="7303" y="35877"/>
                  </a:lnTo>
                  <a:cubicBezTo>
                    <a:pt x="6033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1" name="任意多边形: 形状 10400"/>
            <p:cNvSpPr/>
            <p:nvPr/>
          </p:nvSpPr>
          <p:spPr>
            <a:xfrm>
              <a:off x="8789988" y="123539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6032 h 38100"/>
                <a:gd name="connsiteX3" fmla="*/ 7303 w 63500"/>
                <a:gd name="connsiteY3" fmla="*/ 3587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8103" y="5397"/>
                    <a:pt x="58738" y="6032"/>
                  </a:cubicBezTo>
                  <a:lnTo>
                    <a:pt x="7303" y="35877"/>
                  </a:lnTo>
                  <a:cubicBezTo>
                    <a:pt x="6032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2" name="任意多边形: 形状 10401"/>
            <p:cNvSpPr/>
            <p:nvPr/>
          </p:nvSpPr>
          <p:spPr>
            <a:xfrm>
              <a:off x="8792528" y="123666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6032 h 38100"/>
                <a:gd name="connsiteX3" fmla="*/ 7303 w 63500"/>
                <a:gd name="connsiteY3" fmla="*/ 3587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8103" y="5398"/>
                    <a:pt x="58738" y="6032"/>
                  </a:cubicBezTo>
                  <a:lnTo>
                    <a:pt x="7303" y="35877"/>
                  </a:lnTo>
                  <a:cubicBezTo>
                    <a:pt x="6032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3" name="任意多边形: 形状 10402"/>
            <p:cNvSpPr/>
            <p:nvPr/>
          </p:nvSpPr>
          <p:spPr>
            <a:xfrm>
              <a:off x="8795068" y="123793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102 w 63500"/>
                <a:gd name="connsiteY2" fmla="*/ 6032 h 38100"/>
                <a:gd name="connsiteX3" fmla="*/ 58738 w 63500"/>
                <a:gd name="connsiteY3" fmla="*/ 6668 h 38100"/>
                <a:gd name="connsiteX4" fmla="*/ 7302 w 63500"/>
                <a:gd name="connsiteY4" fmla="*/ 36513 h 38100"/>
                <a:gd name="connsiteX5" fmla="*/ 6667 w 63500"/>
                <a:gd name="connsiteY5" fmla="*/ 35878 h 38100"/>
                <a:gd name="connsiteX6" fmla="*/ 4763 w 6350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7467" y="5398"/>
                    <a:pt x="58102" y="6032"/>
                  </a:cubicBezTo>
                  <a:cubicBezTo>
                    <a:pt x="58102" y="6032"/>
                    <a:pt x="58738" y="6032"/>
                    <a:pt x="58738" y="6668"/>
                  </a:cubicBezTo>
                  <a:lnTo>
                    <a:pt x="7302" y="36513"/>
                  </a:lnTo>
                  <a:cubicBezTo>
                    <a:pt x="7302" y="36513"/>
                    <a:pt x="6667" y="36513"/>
                    <a:pt x="6667" y="35878"/>
                  </a:cubicBezTo>
                  <a:cubicBezTo>
                    <a:pt x="6032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4" name="任意多边形: 形状 10403"/>
            <p:cNvSpPr/>
            <p:nvPr/>
          </p:nvSpPr>
          <p:spPr>
            <a:xfrm>
              <a:off x="8797607" y="123920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58738 w 63500"/>
                <a:gd name="connsiteY2" fmla="*/ 6668 h 38100"/>
                <a:gd name="connsiteX3" fmla="*/ 7303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5398"/>
                    <a:pt x="58103" y="6033"/>
                    <a:pt x="58738" y="6668"/>
                  </a:cubicBezTo>
                  <a:lnTo>
                    <a:pt x="7303" y="36513"/>
                  </a:lnTo>
                  <a:cubicBezTo>
                    <a:pt x="6033" y="35878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5" name="任意多边形: 形状 10404"/>
            <p:cNvSpPr/>
            <p:nvPr/>
          </p:nvSpPr>
          <p:spPr>
            <a:xfrm>
              <a:off x="8800147" y="124047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6667 h 38100"/>
                <a:gd name="connsiteX3" fmla="*/ 7303 w 63500"/>
                <a:gd name="connsiteY3" fmla="*/ 3651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8103" y="6032"/>
                    <a:pt x="58738" y="6667"/>
                  </a:cubicBezTo>
                  <a:lnTo>
                    <a:pt x="7303" y="36513"/>
                  </a:lnTo>
                  <a:cubicBezTo>
                    <a:pt x="6668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6" name="任意多边形: 形状 10405"/>
            <p:cNvSpPr/>
            <p:nvPr/>
          </p:nvSpPr>
          <p:spPr>
            <a:xfrm>
              <a:off x="8802688" y="12423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6668 h 38100"/>
                <a:gd name="connsiteX3" fmla="*/ 7303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3" y="6033"/>
                    <a:pt x="58738" y="6668"/>
                  </a:cubicBezTo>
                  <a:lnTo>
                    <a:pt x="7303" y="36513"/>
                  </a:lnTo>
                  <a:cubicBezTo>
                    <a:pt x="6668" y="35878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7" name="任意多边形: 形状 10406"/>
            <p:cNvSpPr/>
            <p:nvPr/>
          </p:nvSpPr>
          <p:spPr>
            <a:xfrm>
              <a:off x="8805228" y="124428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6668 h 38100"/>
                <a:gd name="connsiteX3" fmla="*/ 7303 w 63500"/>
                <a:gd name="connsiteY3" fmla="*/ 3651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8103" y="6032"/>
                    <a:pt x="58738" y="6668"/>
                  </a:cubicBezTo>
                  <a:lnTo>
                    <a:pt x="7303" y="36513"/>
                  </a:lnTo>
                  <a:cubicBezTo>
                    <a:pt x="6667" y="35878"/>
                    <a:pt x="6032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8" name="任意多边形: 形状 10407"/>
            <p:cNvSpPr/>
            <p:nvPr/>
          </p:nvSpPr>
          <p:spPr>
            <a:xfrm>
              <a:off x="8807768" y="124618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2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8102" y="6032"/>
                    <a:pt x="58738" y="7302"/>
                  </a:cubicBezTo>
                  <a:lnTo>
                    <a:pt x="7302" y="37148"/>
                  </a:lnTo>
                  <a:cubicBezTo>
                    <a:pt x="6667" y="36513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9" name="任意多边形: 形状 10408"/>
            <p:cNvSpPr/>
            <p:nvPr/>
          </p:nvSpPr>
          <p:spPr>
            <a:xfrm>
              <a:off x="8810943" y="12487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303 h 38100"/>
                <a:gd name="connsiteX3" fmla="*/ 7302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2" y="6033"/>
                    <a:pt x="58738" y="7303"/>
                  </a:cubicBezTo>
                  <a:lnTo>
                    <a:pt x="7302" y="37148"/>
                  </a:lnTo>
                  <a:cubicBezTo>
                    <a:pt x="6667" y="35878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0" name="任意多边形: 形状 10409"/>
            <p:cNvSpPr/>
            <p:nvPr/>
          </p:nvSpPr>
          <p:spPr>
            <a:xfrm>
              <a:off x="8813482" y="125126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8103" y="6668"/>
                    <a:pt x="58738" y="7302"/>
                  </a:cubicBezTo>
                  <a:lnTo>
                    <a:pt x="7303" y="37147"/>
                  </a:lnTo>
                  <a:cubicBezTo>
                    <a:pt x="6668" y="35877"/>
                    <a:pt x="539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1" name="任意多边形: 形状 10410"/>
            <p:cNvSpPr/>
            <p:nvPr/>
          </p:nvSpPr>
          <p:spPr>
            <a:xfrm>
              <a:off x="8816022" y="1253807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3 h 38100"/>
                <a:gd name="connsiteX3" fmla="*/ 7303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8"/>
                    <a:pt x="58103" y="6668"/>
                    <a:pt x="58738" y="7303"/>
                  </a:cubicBezTo>
                  <a:lnTo>
                    <a:pt x="7303" y="37148"/>
                  </a:lnTo>
                  <a:cubicBezTo>
                    <a:pt x="6668" y="35878"/>
                    <a:pt x="603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2" name="任意多边形: 形状 10411"/>
            <p:cNvSpPr/>
            <p:nvPr/>
          </p:nvSpPr>
          <p:spPr>
            <a:xfrm>
              <a:off x="8818563" y="12563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8103" y="6667"/>
                    <a:pt x="58738" y="7302"/>
                  </a:cubicBezTo>
                  <a:lnTo>
                    <a:pt x="7303" y="37147"/>
                  </a:lnTo>
                  <a:cubicBezTo>
                    <a:pt x="6668" y="35877"/>
                    <a:pt x="6032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3" name="任意多边形: 形状 10412"/>
            <p:cNvSpPr/>
            <p:nvPr/>
          </p:nvSpPr>
          <p:spPr>
            <a:xfrm>
              <a:off x="8821103" y="125888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8103" y="6668"/>
                    <a:pt x="58738" y="7302"/>
                  </a:cubicBezTo>
                  <a:lnTo>
                    <a:pt x="7303" y="37148"/>
                  </a:lnTo>
                  <a:cubicBezTo>
                    <a:pt x="6667" y="35877"/>
                    <a:pt x="6032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4" name="任意多边形: 形状 10413"/>
            <p:cNvSpPr/>
            <p:nvPr/>
          </p:nvSpPr>
          <p:spPr>
            <a:xfrm>
              <a:off x="8823643" y="12614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303 h 38100"/>
                <a:gd name="connsiteX3" fmla="*/ 7302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668"/>
                    <a:pt x="58738" y="7303"/>
                  </a:cubicBezTo>
                  <a:lnTo>
                    <a:pt x="7302" y="37148"/>
                  </a:lnTo>
                  <a:cubicBezTo>
                    <a:pt x="6032" y="3651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5" name="任意多边形: 形状 10414"/>
            <p:cNvSpPr/>
            <p:nvPr/>
          </p:nvSpPr>
          <p:spPr>
            <a:xfrm>
              <a:off x="8826182" y="126396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7468" y="6668"/>
                    <a:pt x="58738" y="7302"/>
                  </a:cubicBezTo>
                  <a:lnTo>
                    <a:pt x="7303" y="37147"/>
                  </a:lnTo>
                  <a:cubicBezTo>
                    <a:pt x="6033" y="36513"/>
                    <a:pt x="5398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6" name="任意多边形: 形状 10415"/>
            <p:cNvSpPr/>
            <p:nvPr/>
          </p:nvSpPr>
          <p:spPr>
            <a:xfrm>
              <a:off x="8828088" y="126714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8103" y="7302"/>
                    <a:pt x="58738" y="7938"/>
                  </a:cubicBezTo>
                  <a:lnTo>
                    <a:pt x="7303" y="37782"/>
                  </a:lnTo>
                  <a:cubicBezTo>
                    <a:pt x="6668" y="36513"/>
                    <a:pt x="6032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7" name="任意多边形: 形状 10416"/>
            <p:cNvSpPr/>
            <p:nvPr/>
          </p:nvSpPr>
          <p:spPr>
            <a:xfrm>
              <a:off x="8830628" y="127031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0007 w 63500"/>
                <a:gd name="connsiteY2" fmla="*/ 9843 h 44450"/>
                <a:gd name="connsiteX3" fmla="*/ 8572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8"/>
                    <a:pt x="58738" y="7938"/>
                    <a:pt x="60007" y="9843"/>
                  </a:cubicBezTo>
                  <a:lnTo>
                    <a:pt x="8572" y="39688"/>
                  </a:lnTo>
                  <a:cubicBezTo>
                    <a:pt x="7303" y="38418"/>
                    <a:pt x="6032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8" name="任意多边形: 形状 10417"/>
            <p:cNvSpPr/>
            <p:nvPr/>
          </p:nvSpPr>
          <p:spPr>
            <a:xfrm>
              <a:off x="8834438" y="127539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0643 w 63500"/>
                <a:gd name="connsiteY2" fmla="*/ 12382 h 44450"/>
                <a:gd name="connsiteX3" fmla="*/ 9207 w 63500"/>
                <a:gd name="connsiteY3" fmla="*/ 4222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8103" y="7302"/>
                    <a:pt x="59372" y="9842"/>
                    <a:pt x="60643" y="12382"/>
                  </a:cubicBezTo>
                  <a:lnTo>
                    <a:pt x="9207" y="42227"/>
                  </a:lnTo>
                  <a:cubicBezTo>
                    <a:pt x="7938" y="39688"/>
                    <a:pt x="6668" y="3714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9" name="任意多边形: 形状 10418"/>
            <p:cNvSpPr/>
            <p:nvPr/>
          </p:nvSpPr>
          <p:spPr>
            <a:xfrm>
              <a:off x="8839518" y="128301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58738 w 63500"/>
                <a:gd name="connsiteY2" fmla="*/ 9843 h 44450"/>
                <a:gd name="connsiteX3" fmla="*/ 7302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8"/>
                    <a:pt x="58102" y="7938"/>
                    <a:pt x="58738" y="9843"/>
                  </a:cubicBezTo>
                  <a:lnTo>
                    <a:pt x="7302" y="39688"/>
                  </a:lnTo>
                  <a:cubicBezTo>
                    <a:pt x="6667" y="38418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0" name="任意多边形: 形状 10419"/>
            <p:cNvSpPr/>
            <p:nvPr/>
          </p:nvSpPr>
          <p:spPr>
            <a:xfrm>
              <a:off x="8842057" y="12880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7938 h 38100"/>
                <a:gd name="connsiteX3" fmla="*/ 6668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6032"/>
                    <a:pt x="57468" y="6667"/>
                    <a:pt x="58103" y="7938"/>
                  </a:cubicBezTo>
                  <a:lnTo>
                    <a:pt x="6668" y="37782"/>
                  </a:lnTo>
                  <a:cubicBezTo>
                    <a:pt x="6033" y="37147"/>
                    <a:pt x="5398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1" name="任意多边形: 形状 10420"/>
            <p:cNvSpPr/>
            <p:nvPr/>
          </p:nvSpPr>
          <p:spPr>
            <a:xfrm>
              <a:off x="8843963" y="12912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2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8" y="6667"/>
                    <a:pt x="57468" y="7938"/>
                  </a:cubicBezTo>
                  <a:lnTo>
                    <a:pt x="6032" y="37782"/>
                  </a:lnTo>
                  <a:cubicBezTo>
                    <a:pt x="5397" y="37147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2" name="任意多边形: 形状 10421"/>
            <p:cNvSpPr/>
            <p:nvPr/>
          </p:nvSpPr>
          <p:spPr>
            <a:xfrm>
              <a:off x="8845232" y="12944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7468 w 57150"/>
                <a:gd name="connsiteY2" fmla="*/ 7302 h 38100"/>
                <a:gd name="connsiteX3" fmla="*/ 6033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6833" y="6667"/>
                    <a:pt x="57468" y="7302"/>
                  </a:cubicBezTo>
                  <a:lnTo>
                    <a:pt x="6033" y="37147"/>
                  </a:lnTo>
                  <a:cubicBezTo>
                    <a:pt x="5398" y="36513"/>
                    <a:pt x="5398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3" name="任意多边形: 形状 10422"/>
            <p:cNvSpPr/>
            <p:nvPr/>
          </p:nvSpPr>
          <p:spPr>
            <a:xfrm>
              <a:off x="8846503" y="12976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7302 h 38100"/>
                <a:gd name="connsiteX3" fmla="*/ 6032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6832" y="6667"/>
                    <a:pt x="57467" y="7302"/>
                  </a:cubicBezTo>
                  <a:lnTo>
                    <a:pt x="6032" y="37147"/>
                  </a:lnTo>
                  <a:cubicBezTo>
                    <a:pt x="5397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4" name="任意多边形: 形状 10423"/>
            <p:cNvSpPr/>
            <p:nvPr/>
          </p:nvSpPr>
          <p:spPr>
            <a:xfrm>
              <a:off x="8847772" y="130016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7302 h 38100"/>
                <a:gd name="connsiteX3" fmla="*/ 6033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8"/>
                    <a:pt x="56833" y="6668"/>
                    <a:pt x="57468" y="7302"/>
                  </a:cubicBezTo>
                  <a:lnTo>
                    <a:pt x="6033" y="37148"/>
                  </a:lnTo>
                  <a:cubicBezTo>
                    <a:pt x="5397" y="3651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5" name="任意多边形: 形状 10424"/>
            <p:cNvSpPr/>
            <p:nvPr/>
          </p:nvSpPr>
          <p:spPr>
            <a:xfrm>
              <a:off x="8849043" y="130270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7 w 57150"/>
                <a:gd name="connsiteY2" fmla="*/ 7303 h 38100"/>
                <a:gd name="connsiteX3" fmla="*/ 6032 w 57150"/>
                <a:gd name="connsiteY3" fmla="*/ 3714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6832" y="6668"/>
                    <a:pt x="57467" y="7303"/>
                  </a:cubicBezTo>
                  <a:lnTo>
                    <a:pt x="6032" y="37148"/>
                  </a:lnTo>
                  <a:cubicBezTo>
                    <a:pt x="5397" y="36513"/>
                    <a:pt x="476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6" name="任意多边形: 形状 10425"/>
            <p:cNvSpPr/>
            <p:nvPr/>
          </p:nvSpPr>
          <p:spPr>
            <a:xfrm>
              <a:off x="8849678" y="13058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7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6668"/>
                    <a:pt x="57467" y="7938"/>
                  </a:cubicBezTo>
                  <a:lnTo>
                    <a:pt x="6032" y="37783"/>
                  </a:lnTo>
                  <a:cubicBezTo>
                    <a:pt x="5397" y="3651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7" name="任意多边形: 形状 10426"/>
            <p:cNvSpPr/>
            <p:nvPr/>
          </p:nvSpPr>
          <p:spPr>
            <a:xfrm>
              <a:off x="8850947" y="130841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3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032"/>
                    <a:pt x="56833" y="6668"/>
                    <a:pt x="56833" y="7938"/>
                  </a:cubicBezTo>
                  <a:lnTo>
                    <a:pt x="5397" y="37782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8" name="任意多边形: 形状 10427"/>
            <p:cNvSpPr/>
            <p:nvPr/>
          </p:nvSpPr>
          <p:spPr>
            <a:xfrm>
              <a:off x="8851582" y="131159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6833 w 57150"/>
                <a:gd name="connsiteY2" fmla="*/ 7938 h 38100"/>
                <a:gd name="connsiteX3" fmla="*/ 5398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198" y="6032"/>
                    <a:pt x="56833" y="6668"/>
                    <a:pt x="56833" y="7938"/>
                  </a:cubicBezTo>
                  <a:lnTo>
                    <a:pt x="5398" y="37782"/>
                  </a:lnTo>
                  <a:cubicBezTo>
                    <a:pt x="5398" y="36513"/>
                    <a:pt x="539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9" name="任意多边形: 形状 10428"/>
            <p:cNvSpPr/>
            <p:nvPr/>
          </p:nvSpPr>
          <p:spPr>
            <a:xfrm>
              <a:off x="8852853" y="131476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6668"/>
                    <a:pt x="56832" y="7938"/>
                  </a:cubicBezTo>
                  <a:lnTo>
                    <a:pt x="5397" y="37782"/>
                  </a:lnTo>
                  <a:cubicBezTo>
                    <a:pt x="5397" y="3651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0" name="任意多边形: 形状 10429"/>
            <p:cNvSpPr/>
            <p:nvPr/>
          </p:nvSpPr>
          <p:spPr>
            <a:xfrm>
              <a:off x="8853488" y="131730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6668"/>
                    <a:pt x="56832" y="7938"/>
                  </a:cubicBezTo>
                  <a:lnTo>
                    <a:pt x="5397" y="37782"/>
                  </a:lnTo>
                  <a:cubicBezTo>
                    <a:pt x="5397" y="36513"/>
                    <a:pt x="4763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1" name="任意多边形: 形状 10430"/>
            <p:cNvSpPr/>
            <p:nvPr/>
          </p:nvSpPr>
          <p:spPr>
            <a:xfrm>
              <a:off x="8854122" y="1320482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3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3" y="6668"/>
                    <a:pt x="56833" y="7938"/>
                  </a:cubicBezTo>
                  <a:lnTo>
                    <a:pt x="5397" y="37782"/>
                  </a:lnTo>
                  <a:cubicBezTo>
                    <a:pt x="5397" y="3651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2" name="任意多边形: 形状 10431"/>
            <p:cNvSpPr/>
            <p:nvPr/>
          </p:nvSpPr>
          <p:spPr>
            <a:xfrm>
              <a:off x="8854757" y="132365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6833 w 57150"/>
                <a:gd name="connsiteY2" fmla="*/ 7303 h 38100"/>
                <a:gd name="connsiteX3" fmla="*/ 5398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198" y="5398"/>
                    <a:pt x="56833" y="6668"/>
                    <a:pt x="56833" y="7303"/>
                  </a:cubicBezTo>
                  <a:lnTo>
                    <a:pt x="5398" y="37148"/>
                  </a:lnTo>
                  <a:cubicBezTo>
                    <a:pt x="5398" y="3651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3" name="任意多边形: 形状 10432"/>
            <p:cNvSpPr/>
            <p:nvPr/>
          </p:nvSpPr>
          <p:spPr>
            <a:xfrm>
              <a:off x="8855393" y="13261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302 h 38100"/>
                <a:gd name="connsiteX3" fmla="*/ 5397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7"/>
                    <a:pt x="56197" y="6667"/>
                    <a:pt x="56832" y="7302"/>
                  </a:cubicBezTo>
                  <a:lnTo>
                    <a:pt x="5397" y="37147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4" name="任意多边形: 形状 10433"/>
            <p:cNvSpPr/>
            <p:nvPr/>
          </p:nvSpPr>
          <p:spPr>
            <a:xfrm>
              <a:off x="8856028" y="132873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4763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8"/>
                    <a:pt x="56197" y="6668"/>
                    <a:pt x="56197" y="7302"/>
                  </a:cubicBezTo>
                  <a:lnTo>
                    <a:pt x="4763" y="37148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5" name="任意多边形: 形状 10434"/>
            <p:cNvSpPr/>
            <p:nvPr/>
          </p:nvSpPr>
          <p:spPr>
            <a:xfrm>
              <a:off x="8856028" y="133191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4763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8"/>
                    <a:pt x="56197" y="6668"/>
                    <a:pt x="56197" y="7302"/>
                  </a:cubicBezTo>
                  <a:lnTo>
                    <a:pt x="4763" y="37148"/>
                  </a:lnTo>
                  <a:cubicBezTo>
                    <a:pt x="4763" y="3651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6" name="任意多边形: 形状 10435"/>
            <p:cNvSpPr/>
            <p:nvPr/>
          </p:nvSpPr>
          <p:spPr>
            <a:xfrm>
              <a:off x="8856028" y="13344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197 w 57150"/>
                <a:gd name="connsiteY2" fmla="*/ 7303 h 38100"/>
                <a:gd name="connsiteX3" fmla="*/ 4763 w 57150"/>
                <a:gd name="connsiteY3" fmla="*/ 3714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5398"/>
                    <a:pt x="56197" y="6668"/>
                    <a:pt x="56197" y="7303"/>
                  </a:cubicBezTo>
                  <a:lnTo>
                    <a:pt x="4763" y="37148"/>
                  </a:lnTo>
                  <a:cubicBezTo>
                    <a:pt x="5397" y="36513"/>
                    <a:pt x="476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7" name="任意多边形: 形状 10436"/>
            <p:cNvSpPr/>
            <p:nvPr/>
          </p:nvSpPr>
          <p:spPr>
            <a:xfrm>
              <a:off x="8856663" y="133699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56197 w 57150"/>
                <a:gd name="connsiteY3" fmla="*/ 7302 h 38100"/>
                <a:gd name="connsiteX4" fmla="*/ 4763 w 57150"/>
                <a:gd name="connsiteY4" fmla="*/ 37147 h 38100"/>
                <a:gd name="connsiteX5" fmla="*/ 4763 w 57150"/>
                <a:gd name="connsiteY5" fmla="*/ 37147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7"/>
                    <a:pt x="56197" y="6668"/>
                    <a:pt x="56197" y="7302"/>
                  </a:cubicBezTo>
                  <a:cubicBezTo>
                    <a:pt x="56197" y="7302"/>
                    <a:pt x="56197" y="7302"/>
                    <a:pt x="56197" y="7302"/>
                  </a:cubicBezTo>
                  <a:lnTo>
                    <a:pt x="4763" y="37147"/>
                  </a:lnTo>
                  <a:cubicBezTo>
                    <a:pt x="4763" y="37147"/>
                    <a:pt x="4763" y="37147"/>
                    <a:pt x="4763" y="37147"/>
                  </a:cubicBez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8" name="任意多边形: 形状 10437"/>
            <p:cNvSpPr/>
            <p:nvPr/>
          </p:nvSpPr>
          <p:spPr>
            <a:xfrm>
              <a:off x="8856663" y="134016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6668 h 38100"/>
                <a:gd name="connsiteX3" fmla="*/ 4763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7"/>
                    <a:pt x="56197" y="6032"/>
                    <a:pt x="56197" y="6668"/>
                  </a:cubicBezTo>
                  <a:lnTo>
                    <a:pt x="4763" y="36513"/>
                  </a:lnTo>
                  <a:cubicBezTo>
                    <a:pt x="4763" y="35877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9" name="任意多边形: 形状 10438"/>
            <p:cNvSpPr/>
            <p:nvPr/>
          </p:nvSpPr>
          <p:spPr>
            <a:xfrm>
              <a:off x="8856186" y="1342073"/>
              <a:ext cx="57150" cy="38100"/>
            </a:xfrm>
            <a:custGeom>
              <a:avLst/>
              <a:gdLst>
                <a:gd name="connsiteX0" fmla="*/ 5239 w 57150"/>
                <a:gd name="connsiteY0" fmla="*/ 34607 h 38100"/>
                <a:gd name="connsiteX1" fmla="*/ 56673 w 57150"/>
                <a:gd name="connsiteY1" fmla="*/ 4763 h 38100"/>
                <a:gd name="connsiteX2" fmla="*/ 56673 w 57150"/>
                <a:gd name="connsiteY2" fmla="*/ 7302 h 38100"/>
                <a:gd name="connsiteX3" fmla="*/ 5239 w 57150"/>
                <a:gd name="connsiteY3" fmla="*/ 37147 h 38100"/>
                <a:gd name="connsiteX4" fmla="*/ 5239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239" y="34607"/>
                  </a:moveTo>
                  <a:lnTo>
                    <a:pt x="56673" y="4763"/>
                  </a:lnTo>
                  <a:cubicBezTo>
                    <a:pt x="56673" y="5397"/>
                    <a:pt x="56673" y="6667"/>
                    <a:pt x="56673" y="7302"/>
                  </a:cubicBezTo>
                  <a:lnTo>
                    <a:pt x="5239" y="37147"/>
                  </a:lnTo>
                  <a:cubicBezTo>
                    <a:pt x="4604" y="35877"/>
                    <a:pt x="4604" y="35242"/>
                    <a:pt x="5239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0" name="任意多边形: 形状 10439"/>
            <p:cNvSpPr/>
            <p:nvPr/>
          </p:nvSpPr>
          <p:spPr>
            <a:xfrm>
              <a:off x="8856028" y="134461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8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1" name="任意多边形: 形状 10440"/>
            <p:cNvSpPr/>
            <p:nvPr/>
          </p:nvSpPr>
          <p:spPr>
            <a:xfrm>
              <a:off x="8856028" y="13471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197 w 57150"/>
                <a:gd name="connsiteY2" fmla="*/ 6668 h 38100"/>
                <a:gd name="connsiteX3" fmla="*/ 4763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5398"/>
                    <a:pt x="56197" y="6033"/>
                    <a:pt x="56197" y="6668"/>
                  </a:cubicBezTo>
                  <a:lnTo>
                    <a:pt x="4763" y="36513"/>
                  </a:lnTo>
                  <a:cubicBezTo>
                    <a:pt x="4763" y="35878"/>
                    <a:pt x="476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2" name="任意多边形: 形状 10441"/>
            <p:cNvSpPr/>
            <p:nvPr/>
          </p:nvSpPr>
          <p:spPr>
            <a:xfrm>
              <a:off x="8403272" y="1107028"/>
              <a:ext cx="514350" cy="431800"/>
            </a:xfrm>
            <a:custGeom>
              <a:avLst/>
              <a:gdLst>
                <a:gd name="connsiteX0" fmla="*/ 263843 w 514350"/>
                <a:gd name="connsiteY0" fmla="*/ 19462 h 431800"/>
                <a:gd name="connsiteX1" fmla="*/ 362903 w 514350"/>
                <a:gd name="connsiteY1" fmla="*/ 159162 h 431800"/>
                <a:gd name="connsiteX2" fmla="*/ 398463 w 514350"/>
                <a:gd name="connsiteY2" fmla="*/ 166782 h 431800"/>
                <a:gd name="connsiteX3" fmla="*/ 458153 w 514350"/>
                <a:gd name="connsiteY3" fmla="*/ 267747 h 431800"/>
                <a:gd name="connsiteX4" fmla="*/ 457518 w 514350"/>
                <a:gd name="connsiteY4" fmla="*/ 277272 h 431800"/>
                <a:gd name="connsiteX5" fmla="*/ 512128 w 514350"/>
                <a:gd name="connsiteY5" fmla="*/ 384587 h 431800"/>
                <a:gd name="connsiteX6" fmla="*/ 454343 w 514350"/>
                <a:gd name="connsiteY6" fmla="*/ 427132 h 431800"/>
                <a:gd name="connsiteX7" fmla="*/ 53022 w 514350"/>
                <a:gd name="connsiteY7" fmla="*/ 196627 h 431800"/>
                <a:gd name="connsiteX8" fmla="*/ 44768 w 514350"/>
                <a:gd name="connsiteY8" fmla="*/ 192182 h 431800"/>
                <a:gd name="connsiteX9" fmla="*/ 4763 w 514350"/>
                <a:gd name="connsiteY9" fmla="*/ 124872 h 431800"/>
                <a:gd name="connsiteX10" fmla="*/ 39053 w 514350"/>
                <a:gd name="connsiteY10" fmla="*/ 100742 h 431800"/>
                <a:gd name="connsiteX11" fmla="*/ 37147 w 514350"/>
                <a:gd name="connsiteY11" fmla="*/ 86137 h 431800"/>
                <a:gd name="connsiteX12" fmla="*/ 77153 w 514350"/>
                <a:gd name="connsiteY12" fmla="*/ 64547 h 431800"/>
                <a:gd name="connsiteX13" fmla="*/ 98108 w 514350"/>
                <a:gd name="connsiteY13" fmla="*/ 83597 h 431800"/>
                <a:gd name="connsiteX14" fmla="*/ 141288 w 514350"/>
                <a:gd name="connsiteY14" fmla="*/ 62007 h 431800"/>
                <a:gd name="connsiteX15" fmla="*/ 159068 w 514350"/>
                <a:gd name="connsiteY15" fmla="*/ 76612 h 431800"/>
                <a:gd name="connsiteX16" fmla="*/ 263843 w 514350"/>
                <a:gd name="connsiteY16" fmla="*/ 19462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4350" h="431800">
                  <a:moveTo>
                    <a:pt x="263843" y="19462"/>
                  </a:moveTo>
                  <a:cubicBezTo>
                    <a:pt x="310833" y="46767"/>
                    <a:pt x="350203" y="104552"/>
                    <a:pt x="362903" y="159162"/>
                  </a:cubicBezTo>
                  <a:cubicBezTo>
                    <a:pt x="373063" y="156622"/>
                    <a:pt x="385128" y="158527"/>
                    <a:pt x="398463" y="166782"/>
                  </a:cubicBezTo>
                  <a:cubicBezTo>
                    <a:pt x="431483" y="185832"/>
                    <a:pt x="458153" y="230917"/>
                    <a:pt x="458153" y="267747"/>
                  </a:cubicBezTo>
                  <a:cubicBezTo>
                    <a:pt x="458153" y="270922"/>
                    <a:pt x="458153" y="274097"/>
                    <a:pt x="457518" y="277272"/>
                  </a:cubicBezTo>
                  <a:cubicBezTo>
                    <a:pt x="488633" y="302672"/>
                    <a:pt x="512128" y="347122"/>
                    <a:pt x="512128" y="384587"/>
                  </a:cubicBezTo>
                  <a:cubicBezTo>
                    <a:pt x="512128" y="422687"/>
                    <a:pt x="486728" y="439832"/>
                    <a:pt x="454343" y="427132"/>
                  </a:cubicBezTo>
                  <a:lnTo>
                    <a:pt x="53022" y="196627"/>
                  </a:lnTo>
                  <a:cubicBezTo>
                    <a:pt x="50483" y="194722"/>
                    <a:pt x="47943" y="193452"/>
                    <a:pt x="44768" y="192182"/>
                  </a:cubicBezTo>
                  <a:cubicBezTo>
                    <a:pt x="22543" y="179482"/>
                    <a:pt x="4763" y="149002"/>
                    <a:pt x="4763" y="124872"/>
                  </a:cubicBezTo>
                  <a:cubicBezTo>
                    <a:pt x="4763" y="102647"/>
                    <a:pt x="20003" y="92487"/>
                    <a:pt x="39053" y="100742"/>
                  </a:cubicBezTo>
                  <a:cubicBezTo>
                    <a:pt x="37783" y="95662"/>
                    <a:pt x="37147" y="90582"/>
                    <a:pt x="37147" y="86137"/>
                  </a:cubicBezTo>
                  <a:cubicBezTo>
                    <a:pt x="37147" y="61372"/>
                    <a:pt x="54928" y="51847"/>
                    <a:pt x="77153" y="64547"/>
                  </a:cubicBezTo>
                  <a:cubicBezTo>
                    <a:pt x="84772" y="68992"/>
                    <a:pt x="91758" y="75342"/>
                    <a:pt x="98108" y="83597"/>
                  </a:cubicBezTo>
                  <a:cubicBezTo>
                    <a:pt x="98743" y="58197"/>
                    <a:pt x="117793" y="48672"/>
                    <a:pt x="141288" y="62007"/>
                  </a:cubicBezTo>
                  <a:cubicBezTo>
                    <a:pt x="147638" y="65817"/>
                    <a:pt x="153988" y="70897"/>
                    <a:pt x="159068" y="76612"/>
                  </a:cubicBezTo>
                  <a:cubicBezTo>
                    <a:pt x="159703" y="10572"/>
                    <a:pt x="206058" y="-13558"/>
                    <a:pt x="263843" y="19462"/>
                  </a:cubicBezTo>
                  <a:close/>
                </a:path>
              </a:pathLst>
            </a:custGeom>
            <a:solidFill>
              <a:srgbClr val="D9E1F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3" name="任意多边形: 形状 10442"/>
            <p:cNvSpPr/>
            <p:nvPr/>
          </p:nvSpPr>
          <p:spPr>
            <a:xfrm>
              <a:off x="6976428" y="1983423"/>
              <a:ext cx="76200" cy="50800"/>
            </a:xfrm>
            <a:custGeom>
              <a:avLst/>
              <a:gdLst>
                <a:gd name="connsiteX0" fmla="*/ 77153 w 76200"/>
                <a:gd name="connsiteY0" fmla="*/ 46038 h 50800"/>
                <a:gd name="connsiteX1" fmla="*/ 9207 w 76200"/>
                <a:gd name="connsiteY1" fmla="*/ 6667 h 50800"/>
                <a:gd name="connsiteX2" fmla="*/ 4763 w 76200"/>
                <a:gd name="connsiteY2" fmla="*/ 4763 h 50800"/>
                <a:gd name="connsiteX3" fmla="*/ 72707 w 76200"/>
                <a:gd name="connsiteY3" fmla="*/ 44132 h 50800"/>
                <a:gd name="connsiteX4" fmla="*/ 77153 w 76200"/>
                <a:gd name="connsiteY4" fmla="*/ 46038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7153" y="46038"/>
                  </a:moveTo>
                  <a:lnTo>
                    <a:pt x="9207" y="6667"/>
                  </a:lnTo>
                  <a:cubicBezTo>
                    <a:pt x="7938" y="6032"/>
                    <a:pt x="6667" y="5398"/>
                    <a:pt x="4763" y="4763"/>
                  </a:cubicBezTo>
                  <a:lnTo>
                    <a:pt x="72707" y="44132"/>
                  </a:lnTo>
                  <a:cubicBezTo>
                    <a:pt x="74613" y="44767"/>
                    <a:pt x="75882" y="45402"/>
                    <a:pt x="77153" y="4603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4" name="任意多边形: 形状 10443"/>
            <p:cNvSpPr/>
            <p:nvPr/>
          </p:nvSpPr>
          <p:spPr>
            <a:xfrm>
              <a:off x="6972618" y="1982152"/>
              <a:ext cx="76200" cy="44450"/>
            </a:xfrm>
            <a:custGeom>
              <a:avLst/>
              <a:gdLst>
                <a:gd name="connsiteX0" fmla="*/ 76517 w 76200"/>
                <a:gd name="connsiteY0" fmla="*/ 45402 h 44450"/>
                <a:gd name="connsiteX1" fmla="*/ 8572 w 76200"/>
                <a:gd name="connsiteY1" fmla="*/ 6033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6517 w 76200"/>
                <a:gd name="connsiteY4" fmla="*/ 4540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6517" y="45402"/>
                  </a:moveTo>
                  <a:lnTo>
                    <a:pt x="8572" y="6033"/>
                  </a:lnTo>
                  <a:cubicBezTo>
                    <a:pt x="7302" y="5398"/>
                    <a:pt x="6032" y="5398"/>
                    <a:pt x="4763" y="4763"/>
                  </a:cubicBezTo>
                  <a:lnTo>
                    <a:pt x="72707" y="44133"/>
                  </a:lnTo>
                  <a:cubicBezTo>
                    <a:pt x="74613" y="44768"/>
                    <a:pt x="75247" y="44768"/>
                    <a:pt x="76517" y="4540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5" name="任意多边形: 形状 10444"/>
            <p:cNvSpPr/>
            <p:nvPr/>
          </p:nvSpPr>
          <p:spPr>
            <a:xfrm>
              <a:off x="6970078" y="1981517"/>
              <a:ext cx="76200" cy="44450"/>
            </a:xfrm>
            <a:custGeom>
              <a:avLst/>
              <a:gdLst>
                <a:gd name="connsiteX0" fmla="*/ 75882 w 76200"/>
                <a:gd name="connsiteY0" fmla="*/ 44768 h 44450"/>
                <a:gd name="connsiteX1" fmla="*/ 7938 w 76200"/>
                <a:gd name="connsiteY1" fmla="*/ 5398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5882 w 76200"/>
                <a:gd name="connsiteY4" fmla="*/ 4476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2" y="44768"/>
                  </a:moveTo>
                  <a:lnTo>
                    <a:pt x="7938" y="5398"/>
                  </a:lnTo>
                  <a:cubicBezTo>
                    <a:pt x="6667" y="5398"/>
                    <a:pt x="6032" y="4763"/>
                    <a:pt x="4763" y="4763"/>
                  </a:cubicBezTo>
                  <a:lnTo>
                    <a:pt x="72707" y="44133"/>
                  </a:lnTo>
                  <a:cubicBezTo>
                    <a:pt x="73342" y="44768"/>
                    <a:pt x="74613" y="44768"/>
                    <a:pt x="75882" y="4476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6" name="任意多边形: 形状 10445"/>
            <p:cNvSpPr/>
            <p:nvPr/>
          </p:nvSpPr>
          <p:spPr>
            <a:xfrm>
              <a:off x="6967538" y="1982152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4763"/>
                    <a:pt x="5397" y="4763"/>
                    <a:pt x="4763" y="4763"/>
                  </a:cubicBezTo>
                  <a:lnTo>
                    <a:pt x="72707" y="44133"/>
                  </a:lnTo>
                  <a:cubicBezTo>
                    <a:pt x="73343" y="43498"/>
                    <a:pt x="73978" y="4349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7" name="任意多边形: 形状 10446"/>
            <p:cNvSpPr/>
            <p:nvPr/>
          </p:nvSpPr>
          <p:spPr>
            <a:xfrm>
              <a:off x="6964997" y="1981517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4763 h 44450"/>
                <a:gd name="connsiteX3" fmla="*/ 72708 w 76200"/>
                <a:gd name="connsiteY3" fmla="*/ 44133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4763"/>
                    <a:pt x="5397" y="4763"/>
                    <a:pt x="4763" y="4763"/>
                  </a:cubicBezTo>
                  <a:lnTo>
                    <a:pt x="72708" y="44133"/>
                  </a:lnTo>
                  <a:cubicBezTo>
                    <a:pt x="73343" y="44133"/>
                    <a:pt x="73978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8" name="任意多边形: 形状 10447"/>
            <p:cNvSpPr/>
            <p:nvPr/>
          </p:nvSpPr>
          <p:spPr>
            <a:xfrm>
              <a:off x="6961822" y="1982152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4763 h 44450"/>
                <a:gd name="connsiteX3" fmla="*/ 72708 w 76200"/>
                <a:gd name="connsiteY3" fmla="*/ 44133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4763"/>
                    <a:pt x="6033" y="4763"/>
                    <a:pt x="4763" y="4763"/>
                  </a:cubicBezTo>
                  <a:lnTo>
                    <a:pt x="72708" y="44133"/>
                  </a:lnTo>
                  <a:cubicBezTo>
                    <a:pt x="73978" y="44133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9" name="任意多边形: 形状 10448"/>
            <p:cNvSpPr/>
            <p:nvPr/>
          </p:nvSpPr>
          <p:spPr>
            <a:xfrm>
              <a:off x="6959918" y="1982152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2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8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4763"/>
                    <a:pt x="6032" y="4763"/>
                    <a:pt x="4763" y="5398"/>
                  </a:cubicBezTo>
                  <a:lnTo>
                    <a:pt x="72707" y="44768"/>
                  </a:lnTo>
                  <a:cubicBezTo>
                    <a:pt x="73342" y="44133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0" name="任意多边形: 形状 10449"/>
            <p:cNvSpPr/>
            <p:nvPr/>
          </p:nvSpPr>
          <p:spPr>
            <a:xfrm>
              <a:off x="6957378" y="1982788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7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7" y="4763"/>
                    <a:pt x="6032" y="4763"/>
                    <a:pt x="4763" y="5398"/>
                  </a:cubicBezTo>
                  <a:lnTo>
                    <a:pt x="72707" y="44767"/>
                  </a:lnTo>
                  <a:cubicBezTo>
                    <a:pt x="73978" y="44133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1" name="任意多边形: 形状 10450"/>
            <p:cNvSpPr/>
            <p:nvPr/>
          </p:nvSpPr>
          <p:spPr>
            <a:xfrm>
              <a:off x="6956107" y="1982788"/>
              <a:ext cx="76200" cy="44450"/>
            </a:xfrm>
            <a:custGeom>
              <a:avLst/>
              <a:gdLst>
                <a:gd name="connsiteX0" fmla="*/ 74613 w 76200"/>
                <a:gd name="connsiteY0" fmla="*/ 44133 h 44450"/>
                <a:gd name="connsiteX1" fmla="*/ 6668 w 76200"/>
                <a:gd name="connsiteY1" fmla="*/ 4763 h 44450"/>
                <a:gd name="connsiteX2" fmla="*/ 4763 w 76200"/>
                <a:gd name="connsiteY2" fmla="*/ 5398 h 44450"/>
                <a:gd name="connsiteX3" fmla="*/ 72708 w 76200"/>
                <a:gd name="connsiteY3" fmla="*/ 44767 h 44450"/>
                <a:gd name="connsiteX4" fmla="*/ 74613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3"/>
                  </a:moveTo>
                  <a:lnTo>
                    <a:pt x="6668" y="4763"/>
                  </a:lnTo>
                  <a:cubicBezTo>
                    <a:pt x="6033" y="4763"/>
                    <a:pt x="5398" y="5398"/>
                    <a:pt x="4763" y="5398"/>
                  </a:cubicBezTo>
                  <a:lnTo>
                    <a:pt x="72708" y="44767"/>
                  </a:lnTo>
                  <a:cubicBezTo>
                    <a:pt x="72708" y="44767"/>
                    <a:pt x="73343" y="44767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2" name="任意多边形: 形状 10451"/>
            <p:cNvSpPr/>
            <p:nvPr/>
          </p:nvSpPr>
          <p:spPr>
            <a:xfrm>
              <a:off x="6953568" y="1983423"/>
              <a:ext cx="76200" cy="44450"/>
            </a:xfrm>
            <a:custGeom>
              <a:avLst/>
              <a:gdLst>
                <a:gd name="connsiteX0" fmla="*/ 74613 w 76200"/>
                <a:gd name="connsiteY0" fmla="*/ 44132 h 44450"/>
                <a:gd name="connsiteX1" fmla="*/ 6667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7 h 44450"/>
                <a:gd name="connsiteX4" fmla="*/ 7461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2"/>
                  </a:moveTo>
                  <a:lnTo>
                    <a:pt x="6667" y="4763"/>
                  </a:lnTo>
                  <a:cubicBezTo>
                    <a:pt x="6032" y="4763"/>
                    <a:pt x="5397" y="5398"/>
                    <a:pt x="4763" y="5398"/>
                  </a:cubicBezTo>
                  <a:lnTo>
                    <a:pt x="72707" y="44767"/>
                  </a:lnTo>
                  <a:cubicBezTo>
                    <a:pt x="73342" y="44767"/>
                    <a:pt x="73977" y="44767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3" name="任意多边形: 形状 10452"/>
            <p:cNvSpPr/>
            <p:nvPr/>
          </p:nvSpPr>
          <p:spPr>
            <a:xfrm>
              <a:off x="6951663" y="1984058"/>
              <a:ext cx="76200" cy="44450"/>
            </a:xfrm>
            <a:custGeom>
              <a:avLst/>
              <a:gdLst>
                <a:gd name="connsiteX0" fmla="*/ 74613 w 76200"/>
                <a:gd name="connsiteY0" fmla="*/ 44132 h 44450"/>
                <a:gd name="connsiteX1" fmla="*/ 6668 w 76200"/>
                <a:gd name="connsiteY1" fmla="*/ 4763 h 44450"/>
                <a:gd name="connsiteX2" fmla="*/ 4763 w 76200"/>
                <a:gd name="connsiteY2" fmla="*/ 5397 h 44450"/>
                <a:gd name="connsiteX3" fmla="*/ 72707 w 76200"/>
                <a:gd name="connsiteY3" fmla="*/ 44767 h 44450"/>
                <a:gd name="connsiteX4" fmla="*/ 7461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2"/>
                  </a:moveTo>
                  <a:lnTo>
                    <a:pt x="6668" y="4763"/>
                  </a:lnTo>
                  <a:cubicBezTo>
                    <a:pt x="6032" y="4763"/>
                    <a:pt x="5397" y="5397"/>
                    <a:pt x="4763" y="5397"/>
                  </a:cubicBezTo>
                  <a:lnTo>
                    <a:pt x="72707" y="44767"/>
                  </a:lnTo>
                  <a:cubicBezTo>
                    <a:pt x="72707" y="44767"/>
                    <a:pt x="73343" y="44767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4" name="任意多边形: 形状 10453"/>
            <p:cNvSpPr/>
            <p:nvPr/>
          </p:nvSpPr>
          <p:spPr>
            <a:xfrm>
              <a:off x="6950393" y="1985327"/>
              <a:ext cx="76200" cy="44450"/>
            </a:xfrm>
            <a:custGeom>
              <a:avLst/>
              <a:gdLst>
                <a:gd name="connsiteX0" fmla="*/ 73342 w 76200"/>
                <a:gd name="connsiteY0" fmla="*/ 44133 h 44450"/>
                <a:gd name="connsiteX1" fmla="*/ 5397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3342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3342" y="44133"/>
                  </a:moveTo>
                  <a:lnTo>
                    <a:pt x="5397" y="4763"/>
                  </a:lnTo>
                  <a:cubicBezTo>
                    <a:pt x="5397" y="4763"/>
                    <a:pt x="4763" y="4763"/>
                    <a:pt x="4763" y="4763"/>
                  </a:cubicBezTo>
                  <a:lnTo>
                    <a:pt x="72707" y="44133"/>
                  </a:lnTo>
                  <a:cubicBezTo>
                    <a:pt x="72707" y="44133"/>
                    <a:pt x="73342" y="44133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5" name="任意多边形: 形状 10454"/>
            <p:cNvSpPr/>
            <p:nvPr/>
          </p:nvSpPr>
          <p:spPr>
            <a:xfrm>
              <a:off x="6933882" y="1931988"/>
              <a:ext cx="76200" cy="50800"/>
            </a:xfrm>
            <a:custGeom>
              <a:avLst/>
              <a:gdLst>
                <a:gd name="connsiteX0" fmla="*/ 77153 w 76200"/>
                <a:gd name="connsiteY0" fmla="*/ 46038 h 50800"/>
                <a:gd name="connsiteX1" fmla="*/ 9208 w 76200"/>
                <a:gd name="connsiteY1" fmla="*/ 6667 h 50800"/>
                <a:gd name="connsiteX2" fmla="*/ 4763 w 76200"/>
                <a:gd name="connsiteY2" fmla="*/ 4763 h 50800"/>
                <a:gd name="connsiteX3" fmla="*/ 72708 w 76200"/>
                <a:gd name="connsiteY3" fmla="*/ 44133 h 50800"/>
                <a:gd name="connsiteX4" fmla="*/ 77153 w 76200"/>
                <a:gd name="connsiteY4" fmla="*/ 46038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7153" y="46038"/>
                  </a:moveTo>
                  <a:lnTo>
                    <a:pt x="9208" y="6667"/>
                  </a:lnTo>
                  <a:cubicBezTo>
                    <a:pt x="7938" y="6033"/>
                    <a:pt x="6668" y="5398"/>
                    <a:pt x="4763" y="4763"/>
                  </a:cubicBezTo>
                  <a:lnTo>
                    <a:pt x="72708" y="44133"/>
                  </a:lnTo>
                  <a:cubicBezTo>
                    <a:pt x="73978" y="44767"/>
                    <a:pt x="75883" y="45402"/>
                    <a:pt x="77153" y="4603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6" name="任意多边形: 形状 10455"/>
            <p:cNvSpPr/>
            <p:nvPr/>
          </p:nvSpPr>
          <p:spPr>
            <a:xfrm>
              <a:off x="6930072" y="1930717"/>
              <a:ext cx="76200" cy="44450"/>
            </a:xfrm>
            <a:custGeom>
              <a:avLst/>
              <a:gdLst>
                <a:gd name="connsiteX0" fmla="*/ 76518 w 76200"/>
                <a:gd name="connsiteY0" fmla="*/ 45403 h 44450"/>
                <a:gd name="connsiteX1" fmla="*/ 8572 w 76200"/>
                <a:gd name="connsiteY1" fmla="*/ 6033 h 44450"/>
                <a:gd name="connsiteX2" fmla="*/ 4763 w 76200"/>
                <a:gd name="connsiteY2" fmla="*/ 4763 h 44450"/>
                <a:gd name="connsiteX3" fmla="*/ 72708 w 76200"/>
                <a:gd name="connsiteY3" fmla="*/ 44133 h 44450"/>
                <a:gd name="connsiteX4" fmla="*/ 76518 w 76200"/>
                <a:gd name="connsiteY4" fmla="*/ 4540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6518" y="45403"/>
                  </a:moveTo>
                  <a:lnTo>
                    <a:pt x="8572" y="6033"/>
                  </a:lnTo>
                  <a:cubicBezTo>
                    <a:pt x="7303" y="5398"/>
                    <a:pt x="6033" y="5398"/>
                    <a:pt x="4763" y="4763"/>
                  </a:cubicBezTo>
                  <a:lnTo>
                    <a:pt x="72708" y="44133"/>
                  </a:lnTo>
                  <a:cubicBezTo>
                    <a:pt x="73978" y="44768"/>
                    <a:pt x="75247" y="45403"/>
                    <a:pt x="76518" y="4540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7" name="任意多边形: 形状 10456"/>
            <p:cNvSpPr/>
            <p:nvPr/>
          </p:nvSpPr>
          <p:spPr>
            <a:xfrm>
              <a:off x="6926897" y="1930717"/>
              <a:ext cx="76200" cy="44450"/>
            </a:xfrm>
            <a:custGeom>
              <a:avLst/>
              <a:gdLst>
                <a:gd name="connsiteX0" fmla="*/ 75883 w 76200"/>
                <a:gd name="connsiteY0" fmla="*/ 44768 h 44450"/>
                <a:gd name="connsiteX1" fmla="*/ 7938 w 76200"/>
                <a:gd name="connsiteY1" fmla="*/ 5398 h 44450"/>
                <a:gd name="connsiteX2" fmla="*/ 4763 w 76200"/>
                <a:gd name="connsiteY2" fmla="*/ 4763 h 44450"/>
                <a:gd name="connsiteX3" fmla="*/ 72708 w 76200"/>
                <a:gd name="connsiteY3" fmla="*/ 44133 h 44450"/>
                <a:gd name="connsiteX4" fmla="*/ 75883 w 76200"/>
                <a:gd name="connsiteY4" fmla="*/ 4476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768"/>
                  </a:moveTo>
                  <a:lnTo>
                    <a:pt x="7938" y="5398"/>
                  </a:lnTo>
                  <a:cubicBezTo>
                    <a:pt x="6668" y="5398"/>
                    <a:pt x="6033" y="4763"/>
                    <a:pt x="4763" y="4763"/>
                  </a:cubicBezTo>
                  <a:lnTo>
                    <a:pt x="72708" y="44133"/>
                  </a:lnTo>
                  <a:cubicBezTo>
                    <a:pt x="73978" y="44133"/>
                    <a:pt x="75247" y="44133"/>
                    <a:pt x="75883" y="4476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8" name="任意多边形: 形状 10457"/>
            <p:cNvSpPr/>
            <p:nvPr/>
          </p:nvSpPr>
          <p:spPr>
            <a:xfrm>
              <a:off x="6924357" y="1930717"/>
              <a:ext cx="76200" cy="44450"/>
            </a:xfrm>
            <a:custGeom>
              <a:avLst/>
              <a:gdLst>
                <a:gd name="connsiteX0" fmla="*/ 75248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4763 h 44450"/>
                <a:gd name="connsiteX3" fmla="*/ 72708 w 76200"/>
                <a:gd name="connsiteY3" fmla="*/ 44133 h 44450"/>
                <a:gd name="connsiteX4" fmla="*/ 75248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4763"/>
                    <a:pt x="5398" y="4763"/>
                    <a:pt x="4763" y="4763"/>
                  </a:cubicBezTo>
                  <a:lnTo>
                    <a:pt x="72708" y="44133"/>
                  </a:lnTo>
                  <a:cubicBezTo>
                    <a:pt x="73978" y="44133"/>
                    <a:pt x="74613" y="44133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9" name="任意多边形: 形状 10458"/>
            <p:cNvSpPr/>
            <p:nvPr/>
          </p:nvSpPr>
          <p:spPr>
            <a:xfrm>
              <a:off x="6921818" y="1930717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2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4763"/>
                    <a:pt x="5397" y="4763"/>
                    <a:pt x="4763" y="4763"/>
                  </a:cubicBezTo>
                  <a:lnTo>
                    <a:pt x="72707" y="44133"/>
                  </a:lnTo>
                  <a:cubicBezTo>
                    <a:pt x="73977" y="44133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0" name="任意多边形: 形状 10459"/>
            <p:cNvSpPr/>
            <p:nvPr/>
          </p:nvSpPr>
          <p:spPr>
            <a:xfrm>
              <a:off x="6919278" y="1930717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7" y="4763"/>
                    <a:pt x="5397" y="4763"/>
                    <a:pt x="4763" y="4763"/>
                  </a:cubicBezTo>
                  <a:lnTo>
                    <a:pt x="72707" y="44133"/>
                  </a:lnTo>
                  <a:cubicBezTo>
                    <a:pt x="73978" y="44133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1" name="任意多边形: 形状 10460"/>
            <p:cNvSpPr/>
            <p:nvPr/>
          </p:nvSpPr>
          <p:spPr>
            <a:xfrm>
              <a:off x="6916738" y="1930717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8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4763"/>
                    <a:pt x="6032" y="4763"/>
                    <a:pt x="4763" y="5398"/>
                  </a:cubicBezTo>
                  <a:lnTo>
                    <a:pt x="72707" y="44768"/>
                  </a:lnTo>
                  <a:cubicBezTo>
                    <a:pt x="73978" y="44768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2" name="任意多边形: 形状 10461"/>
            <p:cNvSpPr/>
            <p:nvPr/>
          </p:nvSpPr>
          <p:spPr>
            <a:xfrm>
              <a:off x="6914832" y="1931352"/>
              <a:ext cx="76200" cy="44450"/>
            </a:xfrm>
            <a:custGeom>
              <a:avLst/>
              <a:gdLst>
                <a:gd name="connsiteX0" fmla="*/ 75248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5398 h 44450"/>
                <a:gd name="connsiteX3" fmla="*/ 72708 w 76200"/>
                <a:gd name="connsiteY3" fmla="*/ 44768 h 44450"/>
                <a:gd name="connsiteX4" fmla="*/ 75248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4763"/>
                    <a:pt x="6033" y="4763"/>
                    <a:pt x="4763" y="5398"/>
                  </a:cubicBezTo>
                  <a:lnTo>
                    <a:pt x="72708" y="44768"/>
                  </a:lnTo>
                  <a:cubicBezTo>
                    <a:pt x="73343" y="44133"/>
                    <a:pt x="74613" y="44133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3" name="任意多边形: 形状 10462"/>
            <p:cNvSpPr/>
            <p:nvPr/>
          </p:nvSpPr>
          <p:spPr>
            <a:xfrm>
              <a:off x="6912293" y="1931988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2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7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4763"/>
                    <a:pt x="6032" y="5398"/>
                    <a:pt x="4763" y="5398"/>
                  </a:cubicBezTo>
                  <a:lnTo>
                    <a:pt x="72707" y="44767"/>
                  </a:lnTo>
                  <a:cubicBezTo>
                    <a:pt x="73977" y="44133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4" name="任意多边形: 形状 10463"/>
            <p:cNvSpPr/>
            <p:nvPr/>
          </p:nvSpPr>
          <p:spPr>
            <a:xfrm>
              <a:off x="6911022" y="1932623"/>
              <a:ext cx="76200" cy="44450"/>
            </a:xfrm>
            <a:custGeom>
              <a:avLst/>
              <a:gdLst>
                <a:gd name="connsiteX0" fmla="*/ 74613 w 76200"/>
                <a:gd name="connsiteY0" fmla="*/ 44132 h 44450"/>
                <a:gd name="connsiteX1" fmla="*/ 6668 w 76200"/>
                <a:gd name="connsiteY1" fmla="*/ 4763 h 44450"/>
                <a:gd name="connsiteX2" fmla="*/ 4763 w 76200"/>
                <a:gd name="connsiteY2" fmla="*/ 5398 h 44450"/>
                <a:gd name="connsiteX3" fmla="*/ 72708 w 76200"/>
                <a:gd name="connsiteY3" fmla="*/ 44767 h 44450"/>
                <a:gd name="connsiteX4" fmla="*/ 7461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2"/>
                  </a:moveTo>
                  <a:lnTo>
                    <a:pt x="6668" y="4763"/>
                  </a:lnTo>
                  <a:cubicBezTo>
                    <a:pt x="6033" y="4763"/>
                    <a:pt x="5397" y="5398"/>
                    <a:pt x="4763" y="5398"/>
                  </a:cubicBezTo>
                  <a:lnTo>
                    <a:pt x="72708" y="44767"/>
                  </a:lnTo>
                  <a:cubicBezTo>
                    <a:pt x="72708" y="44132"/>
                    <a:pt x="73978" y="44132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5" name="任意多边形: 形状 10464"/>
            <p:cNvSpPr/>
            <p:nvPr/>
          </p:nvSpPr>
          <p:spPr>
            <a:xfrm>
              <a:off x="6908482" y="1933258"/>
              <a:ext cx="76200" cy="44450"/>
            </a:xfrm>
            <a:custGeom>
              <a:avLst/>
              <a:gdLst>
                <a:gd name="connsiteX0" fmla="*/ 74613 w 76200"/>
                <a:gd name="connsiteY0" fmla="*/ 44132 h 44450"/>
                <a:gd name="connsiteX1" fmla="*/ 6668 w 76200"/>
                <a:gd name="connsiteY1" fmla="*/ 4763 h 44450"/>
                <a:gd name="connsiteX2" fmla="*/ 4763 w 76200"/>
                <a:gd name="connsiteY2" fmla="*/ 5397 h 44450"/>
                <a:gd name="connsiteX3" fmla="*/ 72708 w 76200"/>
                <a:gd name="connsiteY3" fmla="*/ 44767 h 44450"/>
                <a:gd name="connsiteX4" fmla="*/ 7461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2"/>
                  </a:moveTo>
                  <a:lnTo>
                    <a:pt x="6668" y="4763"/>
                  </a:lnTo>
                  <a:cubicBezTo>
                    <a:pt x="6033" y="4763"/>
                    <a:pt x="5398" y="5397"/>
                    <a:pt x="4763" y="5397"/>
                  </a:cubicBezTo>
                  <a:lnTo>
                    <a:pt x="72708" y="44767"/>
                  </a:lnTo>
                  <a:cubicBezTo>
                    <a:pt x="73343" y="44767"/>
                    <a:pt x="73978" y="44132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6" name="任意多边形: 形状 10465"/>
            <p:cNvSpPr/>
            <p:nvPr/>
          </p:nvSpPr>
          <p:spPr>
            <a:xfrm>
              <a:off x="6906578" y="1933892"/>
              <a:ext cx="76200" cy="44450"/>
            </a:xfrm>
            <a:custGeom>
              <a:avLst/>
              <a:gdLst>
                <a:gd name="connsiteX0" fmla="*/ 74613 w 76200"/>
                <a:gd name="connsiteY0" fmla="*/ 44133 h 44450"/>
                <a:gd name="connsiteX1" fmla="*/ 6667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8 h 44450"/>
                <a:gd name="connsiteX4" fmla="*/ 74613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3"/>
                  </a:moveTo>
                  <a:lnTo>
                    <a:pt x="6667" y="4763"/>
                  </a:lnTo>
                  <a:cubicBezTo>
                    <a:pt x="6032" y="4763"/>
                    <a:pt x="5397" y="5398"/>
                    <a:pt x="4763" y="5398"/>
                  </a:cubicBezTo>
                  <a:lnTo>
                    <a:pt x="72707" y="44768"/>
                  </a:lnTo>
                  <a:cubicBezTo>
                    <a:pt x="73342" y="44768"/>
                    <a:pt x="73978" y="44133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7" name="任意多边形: 形状 10466"/>
            <p:cNvSpPr/>
            <p:nvPr/>
          </p:nvSpPr>
          <p:spPr>
            <a:xfrm>
              <a:off x="6904038" y="1934527"/>
              <a:ext cx="76200" cy="44450"/>
            </a:xfrm>
            <a:custGeom>
              <a:avLst/>
              <a:gdLst>
                <a:gd name="connsiteX0" fmla="*/ 74613 w 76200"/>
                <a:gd name="connsiteY0" fmla="*/ 44133 h 44450"/>
                <a:gd name="connsiteX1" fmla="*/ 6668 w 76200"/>
                <a:gd name="connsiteY1" fmla="*/ 4763 h 44450"/>
                <a:gd name="connsiteX2" fmla="*/ 4763 w 76200"/>
                <a:gd name="connsiteY2" fmla="*/ 6033 h 44450"/>
                <a:gd name="connsiteX3" fmla="*/ 72707 w 76200"/>
                <a:gd name="connsiteY3" fmla="*/ 45402 h 44450"/>
                <a:gd name="connsiteX4" fmla="*/ 74613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3"/>
                  </a:moveTo>
                  <a:lnTo>
                    <a:pt x="6668" y="4763"/>
                  </a:lnTo>
                  <a:cubicBezTo>
                    <a:pt x="6032" y="5398"/>
                    <a:pt x="5397" y="5398"/>
                    <a:pt x="4763" y="6033"/>
                  </a:cubicBezTo>
                  <a:lnTo>
                    <a:pt x="72707" y="45402"/>
                  </a:lnTo>
                  <a:cubicBezTo>
                    <a:pt x="73343" y="44768"/>
                    <a:pt x="73978" y="44768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8" name="任意多边形: 形状 10467"/>
            <p:cNvSpPr/>
            <p:nvPr/>
          </p:nvSpPr>
          <p:spPr>
            <a:xfrm>
              <a:off x="6901497" y="1935798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3 w 76200"/>
                <a:gd name="connsiteY1" fmla="*/ 4763 h 44450"/>
                <a:gd name="connsiteX2" fmla="*/ 4763 w 76200"/>
                <a:gd name="connsiteY2" fmla="*/ 6032 h 44450"/>
                <a:gd name="connsiteX3" fmla="*/ 72708 w 76200"/>
                <a:gd name="connsiteY3" fmla="*/ 45402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3" y="4763"/>
                  </a:lnTo>
                  <a:cubicBezTo>
                    <a:pt x="6668" y="5398"/>
                    <a:pt x="6033" y="5398"/>
                    <a:pt x="4763" y="6032"/>
                  </a:cubicBezTo>
                  <a:lnTo>
                    <a:pt x="72708" y="45402"/>
                  </a:lnTo>
                  <a:cubicBezTo>
                    <a:pt x="73978" y="44767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9" name="任意多边形: 形状 10468"/>
            <p:cNvSpPr/>
            <p:nvPr/>
          </p:nvSpPr>
          <p:spPr>
            <a:xfrm>
              <a:off x="6898957" y="1937067"/>
              <a:ext cx="76200" cy="44450"/>
            </a:xfrm>
            <a:custGeom>
              <a:avLst/>
              <a:gdLst>
                <a:gd name="connsiteX0" fmla="*/ 75248 w 76200"/>
                <a:gd name="connsiteY0" fmla="*/ 44133 h 44450"/>
                <a:gd name="connsiteX1" fmla="*/ 7303 w 76200"/>
                <a:gd name="connsiteY1" fmla="*/ 4763 h 44450"/>
                <a:gd name="connsiteX2" fmla="*/ 5398 w 76200"/>
                <a:gd name="connsiteY2" fmla="*/ 6033 h 44450"/>
                <a:gd name="connsiteX3" fmla="*/ 4763 w 76200"/>
                <a:gd name="connsiteY3" fmla="*/ 6033 h 44450"/>
                <a:gd name="connsiteX4" fmla="*/ 72708 w 76200"/>
                <a:gd name="connsiteY4" fmla="*/ 45403 h 44450"/>
                <a:gd name="connsiteX5" fmla="*/ 73343 w 76200"/>
                <a:gd name="connsiteY5" fmla="*/ 45403 h 44450"/>
                <a:gd name="connsiteX6" fmla="*/ 75248 w 76200"/>
                <a:gd name="connsiteY6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4445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4763"/>
                    <a:pt x="6033" y="5398"/>
                    <a:pt x="5398" y="6033"/>
                  </a:cubicBezTo>
                  <a:cubicBezTo>
                    <a:pt x="5398" y="6033"/>
                    <a:pt x="4763" y="6033"/>
                    <a:pt x="4763" y="6033"/>
                  </a:cubicBezTo>
                  <a:lnTo>
                    <a:pt x="72708" y="45403"/>
                  </a:lnTo>
                  <a:cubicBezTo>
                    <a:pt x="72708" y="45403"/>
                    <a:pt x="73343" y="45403"/>
                    <a:pt x="73343" y="45403"/>
                  </a:cubicBezTo>
                  <a:cubicBezTo>
                    <a:pt x="74613" y="44768"/>
                    <a:pt x="75248" y="44133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0" name="任意多边形: 形状 10469"/>
            <p:cNvSpPr/>
            <p:nvPr/>
          </p:nvSpPr>
          <p:spPr>
            <a:xfrm>
              <a:off x="6897053" y="1938338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6033 h 44450"/>
                <a:gd name="connsiteX3" fmla="*/ 72707 w 76200"/>
                <a:gd name="connsiteY3" fmla="*/ 45402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7" y="5398"/>
                    <a:pt x="6032" y="5398"/>
                    <a:pt x="4763" y="6033"/>
                  </a:cubicBezTo>
                  <a:lnTo>
                    <a:pt x="72707" y="45402"/>
                  </a:lnTo>
                  <a:cubicBezTo>
                    <a:pt x="73978" y="44767"/>
                    <a:pt x="74613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1" name="任意多边形: 形状 10470"/>
            <p:cNvSpPr/>
            <p:nvPr/>
          </p:nvSpPr>
          <p:spPr>
            <a:xfrm>
              <a:off x="6894513" y="1939608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3 w 76200"/>
                <a:gd name="connsiteY1" fmla="*/ 4763 h 44450"/>
                <a:gd name="connsiteX2" fmla="*/ 4763 w 76200"/>
                <a:gd name="connsiteY2" fmla="*/ 6032 h 44450"/>
                <a:gd name="connsiteX3" fmla="*/ 72707 w 76200"/>
                <a:gd name="connsiteY3" fmla="*/ 45402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3" y="4763"/>
                  </a:lnTo>
                  <a:cubicBezTo>
                    <a:pt x="6668" y="5397"/>
                    <a:pt x="6032" y="6032"/>
                    <a:pt x="4763" y="6032"/>
                  </a:cubicBezTo>
                  <a:lnTo>
                    <a:pt x="72707" y="45402"/>
                  </a:lnTo>
                  <a:cubicBezTo>
                    <a:pt x="73978" y="45402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2" name="任意多边形: 形状 10471"/>
            <p:cNvSpPr/>
            <p:nvPr/>
          </p:nvSpPr>
          <p:spPr>
            <a:xfrm>
              <a:off x="6892607" y="1940877"/>
              <a:ext cx="76200" cy="50800"/>
            </a:xfrm>
            <a:custGeom>
              <a:avLst/>
              <a:gdLst>
                <a:gd name="connsiteX0" fmla="*/ 75248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6668 h 50800"/>
                <a:gd name="connsiteX3" fmla="*/ 72708 w 76200"/>
                <a:gd name="connsiteY3" fmla="*/ 46038 h 50800"/>
                <a:gd name="connsiteX4" fmla="*/ 7524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5398"/>
                    <a:pt x="6033" y="6033"/>
                    <a:pt x="4763" y="6668"/>
                  </a:cubicBezTo>
                  <a:lnTo>
                    <a:pt x="72708" y="46038"/>
                  </a:lnTo>
                  <a:cubicBezTo>
                    <a:pt x="73343" y="45402"/>
                    <a:pt x="74613" y="44768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3" name="任意多边形: 形状 10472"/>
            <p:cNvSpPr/>
            <p:nvPr/>
          </p:nvSpPr>
          <p:spPr>
            <a:xfrm>
              <a:off x="6890068" y="1942783"/>
              <a:ext cx="76200" cy="50800"/>
            </a:xfrm>
            <a:custGeom>
              <a:avLst/>
              <a:gdLst>
                <a:gd name="connsiteX0" fmla="*/ 75247 w 76200"/>
                <a:gd name="connsiteY0" fmla="*/ 44132 h 50800"/>
                <a:gd name="connsiteX1" fmla="*/ 7302 w 76200"/>
                <a:gd name="connsiteY1" fmla="*/ 4763 h 50800"/>
                <a:gd name="connsiteX2" fmla="*/ 4763 w 76200"/>
                <a:gd name="connsiteY2" fmla="*/ 6667 h 50800"/>
                <a:gd name="connsiteX3" fmla="*/ 72707 w 76200"/>
                <a:gd name="connsiteY3" fmla="*/ 46038 h 50800"/>
                <a:gd name="connsiteX4" fmla="*/ 7524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2"/>
                  </a:moveTo>
                  <a:lnTo>
                    <a:pt x="7302" y="4763"/>
                  </a:lnTo>
                  <a:cubicBezTo>
                    <a:pt x="6667" y="5397"/>
                    <a:pt x="6032" y="6032"/>
                    <a:pt x="4763" y="6667"/>
                  </a:cubicBezTo>
                  <a:lnTo>
                    <a:pt x="72707" y="46038"/>
                  </a:lnTo>
                  <a:cubicBezTo>
                    <a:pt x="73977" y="45402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4" name="任意多边形: 形状 10473"/>
            <p:cNvSpPr/>
            <p:nvPr/>
          </p:nvSpPr>
          <p:spPr>
            <a:xfrm>
              <a:off x="6887528" y="1944688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6667 h 50800"/>
                <a:gd name="connsiteX3" fmla="*/ 72707 w 76200"/>
                <a:gd name="connsiteY3" fmla="*/ 46038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3" y="4763"/>
                  </a:lnTo>
                  <a:cubicBezTo>
                    <a:pt x="6667" y="5398"/>
                    <a:pt x="5397" y="6033"/>
                    <a:pt x="4763" y="6667"/>
                  </a:cubicBezTo>
                  <a:lnTo>
                    <a:pt x="72707" y="46038"/>
                  </a:lnTo>
                  <a:cubicBezTo>
                    <a:pt x="73978" y="45402"/>
                    <a:pt x="74613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5" name="任意多边形: 形状 10474"/>
            <p:cNvSpPr/>
            <p:nvPr/>
          </p:nvSpPr>
          <p:spPr>
            <a:xfrm>
              <a:off x="6885622" y="1946592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6668 h 50800"/>
                <a:gd name="connsiteX3" fmla="*/ 72708 w 76200"/>
                <a:gd name="connsiteY3" fmla="*/ 46038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5398"/>
                    <a:pt x="5397" y="6033"/>
                    <a:pt x="4763" y="6668"/>
                  </a:cubicBezTo>
                  <a:lnTo>
                    <a:pt x="72708" y="46038"/>
                  </a:lnTo>
                  <a:cubicBezTo>
                    <a:pt x="73343" y="45403"/>
                    <a:pt x="73978" y="4476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6" name="任意多边形: 形状 10475"/>
            <p:cNvSpPr/>
            <p:nvPr/>
          </p:nvSpPr>
          <p:spPr>
            <a:xfrm>
              <a:off x="6883082" y="1948498"/>
              <a:ext cx="76200" cy="50800"/>
            </a:xfrm>
            <a:custGeom>
              <a:avLst/>
              <a:gdLst>
                <a:gd name="connsiteX0" fmla="*/ 75248 w 76200"/>
                <a:gd name="connsiteY0" fmla="*/ 44132 h 50800"/>
                <a:gd name="connsiteX1" fmla="*/ 7303 w 76200"/>
                <a:gd name="connsiteY1" fmla="*/ 4763 h 50800"/>
                <a:gd name="connsiteX2" fmla="*/ 4763 w 76200"/>
                <a:gd name="connsiteY2" fmla="*/ 6667 h 50800"/>
                <a:gd name="connsiteX3" fmla="*/ 72708 w 76200"/>
                <a:gd name="connsiteY3" fmla="*/ 46038 h 50800"/>
                <a:gd name="connsiteX4" fmla="*/ 7524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8" y="44132"/>
                  </a:moveTo>
                  <a:lnTo>
                    <a:pt x="7303" y="4763"/>
                  </a:lnTo>
                  <a:cubicBezTo>
                    <a:pt x="6668" y="5398"/>
                    <a:pt x="6033" y="6032"/>
                    <a:pt x="4763" y="6667"/>
                  </a:cubicBezTo>
                  <a:lnTo>
                    <a:pt x="72708" y="46038"/>
                  </a:lnTo>
                  <a:cubicBezTo>
                    <a:pt x="73343" y="46038"/>
                    <a:pt x="74613" y="44767"/>
                    <a:pt x="7524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7" name="任意多边形: 形状 10476"/>
            <p:cNvSpPr/>
            <p:nvPr/>
          </p:nvSpPr>
          <p:spPr>
            <a:xfrm>
              <a:off x="6880543" y="1951038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2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5398"/>
                    <a:pt x="6032" y="6033"/>
                    <a:pt x="4763" y="7302"/>
                  </a:cubicBezTo>
                  <a:lnTo>
                    <a:pt x="72707" y="46673"/>
                  </a:lnTo>
                  <a:cubicBezTo>
                    <a:pt x="73977" y="45402"/>
                    <a:pt x="74613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8" name="任意多边形: 形状 10477"/>
            <p:cNvSpPr/>
            <p:nvPr/>
          </p:nvSpPr>
          <p:spPr>
            <a:xfrm>
              <a:off x="6878638" y="1952942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8 w 76200"/>
                <a:gd name="connsiteY1" fmla="*/ 4763 h 50800"/>
                <a:gd name="connsiteX2" fmla="*/ 4763 w 76200"/>
                <a:gd name="connsiteY2" fmla="*/ 7303 h 50800"/>
                <a:gd name="connsiteX3" fmla="*/ 72707 w 76200"/>
                <a:gd name="connsiteY3" fmla="*/ 46673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8" y="4763"/>
                  </a:lnTo>
                  <a:cubicBezTo>
                    <a:pt x="6032" y="5398"/>
                    <a:pt x="5397" y="6033"/>
                    <a:pt x="4763" y="7303"/>
                  </a:cubicBezTo>
                  <a:lnTo>
                    <a:pt x="72707" y="46673"/>
                  </a:lnTo>
                  <a:cubicBezTo>
                    <a:pt x="73343" y="46038"/>
                    <a:pt x="73978" y="44768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9" name="任意多边形: 形状 10478"/>
            <p:cNvSpPr/>
            <p:nvPr/>
          </p:nvSpPr>
          <p:spPr>
            <a:xfrm>
              <a:off x="6876732" y="1955483"/>
              <a:ext cx="76200" cy="50800"/>
            </a:xfrm>
            <a:custGeom>
              <a:avLst/>
              <a:gdLst>
                <a:gd name="connsiteX0" fmla="*/ 74613 w 76200"/>
                <a:gd name="connsiteY0" fmla="*/ 44132 h 50800"/>
                <a:gd name="connsiteX1" fmla="*/ 6668 w 76200"/>
                <a:gd name="connsiteY1" fmla="*/ 4763 h 50800"/>
                <a:gd name="connsiteX2" fmla="*/ 4763 w 76200"/>
                <a:gd name="connsiteY2" fmla="*/ 7302 h 50800"/>
                <a:gd name="connsiteX3" fmla="*/ 72708 w 76200"/>
                <a:gd name="connsiteY3" fmla="*/ 46672 h 50800"/>
                <a:gd name="connsiteX4" fmla="*/ 7461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2"/>
                  </a:moveTo>
                  <a:lnTo>
                    <a:pt x="6668" y="4763"/>
                  </a:lnTo>
                  <a:cubicBezTo>
                    <a:pt x="6033" y="5397"/>
                    <a:pt x="5398" y="6032"/>
                    <a:pt x="4763" y="7302"/>
                  </a:cubicBezTo>
                  <a:lnTo>
                    <a:pt x="72708" y="46672"/>
                  </a:lnTo>
                  <a:cubicBezTo>
                    <a:pt x="73343" y="45402"/>
                    <a:pt x="73978" y="44767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0" name="任意多边形: 形状 10479"/>
            <p:cNvSpPr/>
            <p:nvPr/>
          </p:nvSpPr>
          <p:spPr>
            <a:xfrm>
              <a:off x="6874828" y="1958023"/>
              <a:ext cx="76200" cy="50800"/>
            </a:xfrm>
            <a:custGeom>
              <a:avLst/>
              <a:gdLst>
                <a:gd name="connsiteX0" fmla="*/ 74613 w 76200"/>
                <a:gd name="connsiteY0" fmla="*/ 44132 h 50800"/>
                <a:gd name="connsiteX1" fmla="*/ 6667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461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2"/>
                  </a:moveTo>
                  <a:lnTo>
                    <a:pt x="6667" y="4763"/>
                  </a:lnTo>
                  <a:cubicBezTo>
                    <a:pt x="6032" y="5398"/>
                    <a:pt x="5397" y="6667"/>
                    <a:pt x="4763" y="7302"/>
                  </a:cubicBezTo>
                  <a:lnTo>
                    <a:pt x="72707" y="46673"/>
                  </a:lnTo>
                  <a:cubicBezTo>
                    <a:pt x="73342" y="45402"/>
                    <a:pt x="73978" y="44767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1" name="任意多边形: 形状 10480"/>
            <p:cNvSpPr/>
            <p:nvPr/>
          </p:nvSpPr>
          <p:spPr>
            <a:xfrm>
              <a:off x="6872288" y="1959927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8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8" y="4763"/>
                  </a:lnTo>
                  <a:cubicBezTo>
                    <a:pt x="6032" y="5398"/>
                    <a:pt x="5397" y="6668"/>
                    <a:pt x="4763" y="7302"/>
                  </a:cubicBezTo>
                  <a:lnTo>
                    <a:pt x="72707" y="46673"/>
                  </a:lnTo>
                  <a:cubicBezTo>
                    <a:pt x="73343" y="46038"/>
                    <a:pt x="73978" y="45402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2" name="任意多边形: 形状 10481"/>
            <p:cNvSpPr/>
            <p:nvPr/>
          </p:nvSpPr>
          <p:spPr>
            <a:xfrm>
              <a:off x="6872288" y="1962467"/>
              <a:ext cx="76200" cy="44450"/>
            </a:xfrm>
            <a:custGeom>
              <a:avLst/>
              <a:gdLst>
                <a:gd name="connsiteX0" fmla="*/ 72707 w 76200"/>
                <a:gd name="connsiteY0" fmla="*/ 44133 h 44450"/>
                <a:gd name="connsiteX1" fmla="*/ 4763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270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2707" y="44133"/>
                  </a:moveTo>
                  <a:lnTo>
                    <a:pt x="4763" y="4763"/>
                  </a:lnTo>
                  <a:lnTo>
                    <a:pt x="4763" y="4763"/>
                  </a:lnTo>
                  <a:lnTo>
                    <a:pt x="72707" y="44133"/>
                  </a:lnTo>
                  <a:lnTo>
                    <a:pt x="72707" y="44133"/>
                  </a:ln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3" name="任意多边形: 形状 10482"/>
            <p:cNvSpPr/>
            <p:nvPr/>
          </p:nvSpPr>
          <p:spPr>
            <a:xfrm>
              <a:off x="6851968" y="1928177"/>
              <a:ext cx="76200" cy="50800"/>
            </a:xfrm>
            <a:custGeom>
              <a:avLst/>
              <a:gdLst>
                <a:gd name="connsiteX0" fmla="*/ 77152 w 76200"/>
                <a:gd name="connsiteY0" fmla="*/ 46038 h 50800"/>
                <a:gd name="connsiteX1" fmla="*/ 9207 w 76200"/>
                <a:gd name="connsiteY1" fmla="*/ 6668 h 50800"/>
                <a:gd name="connsiteX2" fmla="*/ 4763 w 76200"/>
                <a:gd name="connsiteY2" fmla="*/ 4763 h 50800"/>
                <a:gd name="connsiteX3" fmla="*/ 72707 w 76200"/>
                <a:gd name="connsiteY3" fmla="*/ 44133 h 50800"/>
                <a:gd name="connsiteX4" fmla="*/ 77152 w 76200"/>
                <a:gd name="connsiteY4" fmla="*/ 46038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7152" y="46038"/>
                  </a:moveTo>
                  <a:lnTo>
                    <a:pt x="9207" y="6668"/>
                  </a:lnTo>
                  <a:cubicBezTo>
                    <a:pt x="7938" y="6033"/>
                    <a:pt x="6032" y="5398"/>
                    <a:pt x="4763" y="4763"/>
                  </a:cubicBezTo>
                  <a:lnTo>
                    <a:pt x="72707" y="44133"/>
                  </a:lnTo>
                  <a:cubicBezTo>
                    <a:pt x="73977" y="44768"/>
                    <a:pt x="75882" y="45402"/>
                    <a:pt x="77152" y="4603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4" name="任意多边形: 形状 10483"/>
            <p:cNvSpPr/>
            <p:nvPr/>
          </p:nvSpPr>
          <p:spPr>
            <a:xfrm>
              <a:off x="6848157" y="1926908"/>
              <a:ext cx="76200" cy="44450"/>
            </a:xfrm>
            <a:custGeom>
              <a:avLst/>
              <a:gdLst>
                <a:gd name="connsiteX0" fmla="*/ 76518 w 76200"/>
                <a:gd name="connsiteY0" fmla="*/ 45402 h 44450"/>
                <a:gd name="connsiteX1" fmla="*/ 8573 w 76200"/>
                <a:gd name="connsiteY1" fmla="*/ 6032 h 44450"/>
                <a:gd name="connsiteX2" fmla="*/ 4763 w 76200"/>
                <a:gd name="connsiteY2" fmla="*/ 4763 h 44450"/>
                <a:gd name="connsiteX3" fmla="*/ 72708 w 76200"/>
                <a:gd name="connsiteY3" fmla="*/ 44132 h 44450"/>
                <a:gd name="connsiteX4" fmla="*/ 76518 w 76200"/>
                <a:gd name="connsiteY4" fmla="*/ 4540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6518" y="45402"/>
                  </a:moveTo>
                  <a:lnTo>
                    <a:pt x="8573" y="6032"/>
                  </a:lnTo>
                  <a:cubicBezTo>
                    <a:pt x="7303" y="5397"/>
                    <a:pt x="6033" y="5397"/>
                    <a:pt x="4763" y="4763"/>
                  </a:cubicBezTo>
                  <a:lnTo>
                    <a:pt x="72708" y="44132"/>
                  </a:lnTo>
                  <a:cubicBezTo>
                    <a:pt x="73978" y="44132"/>
                    <a:pt x="75248" y="44767"/>
                    <a:pt x="76518" y="4540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5" name="任意多边形: 形状 10484"/>
            <p:cNvSpPr/>
            <p:nvPr/>
          </p:nvSpPr>
          <p:spPr>
            <a:xfrm>
              <a:off x="6844982" y="1926273"/>
              <a:ext cx="76200" cy="44450"/>
            </a:xfrm>
            <a:custGeom>
              <a:avLst/>
              <a:gdLst>
                <a:gd name="connsiteX0" fmla="*/ 75883 w 76200"/>
                <a:gd name="connsiteY0" fmla="*/ 44767 h 44450"/>
                <a:gd name="connsiteX1" fmla="*/ 7938 w 76200"/>
                <a:gd name="connsiteY1" fmla="*/ 5398 h 44450"/>
                <a:gd name="connsiteX2" fmla="*/ 4763 w 76200"/>
                <a:gd name="connsiteY2" fmla="*/ 4763 h 44450"/>
                <a:gd name="connsiteX3" fmla="*/ 72708 w 76200"/>
                <a:gd name="connsiteY3" fmla="*/ 44132 h 44450"/>
                <a:gd name="connsiteX4" fmla="*/ 75883 w 76200"/>
                <a:gd name="connsiteY4" fmla="*/ 4476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767"/>
                  </a:moveTo>
                  <a:lnTo>
                    <a:pt x="7938" y="5398"/>
                  </a:lnTo>
                  <a:cubicBezTo>
                    <a:pt x="6668" y="5398"/>
                    <a:pt x="6033" y="4763"/>
                    <a:pt x="4763" y="4763"/>
                  </a:cubicBezTo>
                  <a:lnTo>
                    <a:pt x="72708" y="44132"/>
                  </a:lnTo>
                  <a:cubicBezTo>
                    <a:pt x="73343" y="44132"/>
                    <a:pt x="74613" y="44767"/>
                    <a:pt x="75883" y="4476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6" name="任意多边形: 形状 10485"/>
            <p:cNvSpPr/>
            <p:nvPr/>
          </p:nvSpPr>
          <p:spPr>
            <a:xfrm>
              <a:off x="6841172" y="1926273"/>
              <a:ext cx="76200" cy="44450"/>
            </a:xfrm>
            <a:custGeom>
              <a:avLst/>
              <a:gdLst>
                <a:gd name="connsiteX0" fmla="*/ 75883 w 76200"/>
                <a:gd name="connsiteY0" fmla="*/ 44132 h 44450"/>
                <a:gd name="connsiteX1" fmla="*/ 7938 w 76200"/>
                <a:gd name="connsiteY1" fmla="*/ 4763 h 44450"/>
                <a:gd name="connsiteX2" fmla="*/ 4763 w 76200"/>
                <a:gd name="connsiteY2" fmla="*/ 4763 h 44450"/>
                <a:gd name="connsiteX3" fmla="*/ 72708 w 76200"/>
                <a:gd name="connsiteY3" fmla="*/ 44132 h 44450"/>
                <a:gd name="connsiteX4" fmla="*/ 7588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132"/>
                  </a:moveTo>
                  <a:lnTo>
                    <a:pt x="7938" y="4763"/>
                  </a:lnTo>
                  <a:cubicBezTo>
                    <a:pt x="7303" y="4763"/>
                    <a:pt x="6033" y="4763"/>
                    <a:pt x="4763" y="4763"/>
                  </a:cubicBezTo>
                  <a:lnTo>
                    <a:pt x="72708" y="44132"/>
                  </a:lnTo>
                  <a:cubicBezTo>
                    <a:pt x="73978" y="44132"/>
                    <a:pt x="75247" y="44132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7" name="任意多边形: 形状 10486"/>
            <p:cNvSpPr/>
            <p:nvPr/>
          </p:nvSpPr>
          <p:spPr>
            <a:xfrm>
              <a:off x="6839268" y="1926273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2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2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2" y="4763"/>
                  </a:lnTo>
                  <a:cubicBezTo>
                    <a:pt x="6667" y="4763"/>
                    <a:pt x="5397" y="4763"/>
                    <a:pt x="4763" y="4763"/>
                  </a:cubicBezTo>
                  <a:lnTo>
                    <a:pt x="72707" y="44132"/>
                  </a:lnTo>
                  <a:cubicBezTo>
                    <a:pt x="73342" y="44132"/>
                    <a:pt x="73977" y="44132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8" name="任意多边形: 形状 10487"/>
            <p:cNvSpPr/>
            <p:nvPr/>
          </p:nvSpPr>
          <p:spPr>
            <a:xfrm>
              <a:off x="6836728" y="1926273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3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2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3" y="4763"/>
                  </a:lnTo>
                  <a:cubicBezTo>
                    <a:pt x="6667" y="4763"/>
                    <a:pt x="5397" y="4763"/>
                    <a:pt x="4763" y="4763"/>
                  </a:cubicBezTo>
                  <a:lnTo>
                    <a:pt x="72707" y="44132"/>
                  </a:lnTo>
                  <a:cubicBezTo>
                    <a:pt x="73342" y="44132"/>
                    <a:pt x="73978" y="44132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9" name="任意多边形: 形状 10488"/>
            <p:cNvSpPr/>
            <p:nvPr/>
          </p:nvSpPr>
          <p:spPr>
            <a:xfrm>
              <a:off x="6833553" y="1926908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3 w 76200"/>
                <a:gd name="connsiteY1" fmla="*/ 4763 h 44450"/>
                <a:gd name="connsiteX2" fmla="*/ 4763 w 76200"/>
                <a:gd name="connsiteY2" fmla="*/ 5397 h 44450"/>
                <a:gd name="connsiteX3" fmla="*/ 72707 w 76200"/>
                <a:gd name="connsiteY3" fmla="*/ 44767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3" y="4763"/>
                  </a:lnTo>
                  <a:cubicBezTo>
                    <a:pt x="6667" y="4763"/>
                    <a:pt x="5397" y="4763"/>
                    <a:pt x="4763" y="5397"/>
                  </a:cubicBezTo>
                  <a:lnTo>
                    <a:pt x="72707" y="44767"/>
                  </a:lnTo>
                  <a:cubicBezTo>
                    <a:pt x="73978" y="44132"/>
                    <a:pt x="74613" y="44132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0" name="任意多边形: 形状 10489"/>
            <p:cNvSpPr/>
            <p:nvPr/>
          </p:nvSpPr>
          <p:spPr>
            <a:xfrm>
              <a:off x="6831013" y="1926908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3 w 76200"/>
                <a:gd name="connsiteY1" fmla="*/ 4763 h 44450"/>
                <a:gd name="connsiteX2" fmla="*/ 4763 w 76200"/>
                <a:gd name="connsiteY2" fmla="*/ 5397 h 44450"/>
                <a:gd name="connsiteX3" fmla="*/ 72707 w 76200"/>
                <a:gd name="connsiteY3" fmla="*/ 44767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3" y="4763"/>
                  </a:lnTo>
                  <a:cubicBezTo>
                    <a:pt x="6668" y="4763"/>
                    <a:pt x="5397" y="5397"/>
                    <a:pt x="4763" y="5397"/>
                  </a:cubicBezTo>
                  <a:lnTo>
                    <a:pt x="72707" y="44767"/>
                  </a:lnTo>
                  <a:cubicBezTo>
                    <a:pt x="73978" y="44767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1" name="任意多边形: 形状 10490"/>
            <p:cNvSpPr/>
            <p:nvPr/>
          </p:nvSpPr>
          <p:spPr>
            <a:xfrm>
              <a:off x="6829107" y="1927542"/>
              <a:ext cx="76200" cy="44450"/>
            </a:xfrm>
            <a:custGeom>
              <a:avLst/>
              <a:gdLst>
                <a:gd name="connsiteX0" fmla="*/ 75248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5398 h 44450"/>
                <a:gd name="connsiteX3" fmla="*/ 72708 w 76200"/>
                <a:gd name="connsiteY3" fmla="*/ 44768 h 44450"/>
                <a:gd name="connsiteX4" fmla="*/ 75248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4763"/>
                    <a:pt x="5398" y="5398"/>
                    <a:pt x="4763" y="5398"/>
                  </a:cubicBezTo>
                  <a:lnTo>
                    <a:pt x="72708" y="44768"/>
                  </a:lnTo>
                  <a:cubicBezTo>
                    <a:pt x="73343" y="44768"/>
                    <a:pt x="73978" y="44133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2" name="任意多边形: 形状 10491"/>
            <p:cNvSpPr/>
            <p:nvPr/>
          </p:nvSpPr>
          <p:spPr>
            <a:xfrm>
              <a:off x="6826568" y="1928177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2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8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4763"/>
                    <a:pt x="6032" y="5398"/>
                    <a:pt x="4763" y="5398"/>
                  </a:cubicBezTo>
                  <a:lnTo>
                    <a:pt x="72707" y="44768"/>
                  </a:lnTo>
                  <a:cubicBezTo>
                    <a:pt x="73342" y="44768"/>
                    <a:pt x="74613" y="4476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3" name="任意多边形: 形状 10492"/>
            <p:cNvSpPr/>
            <p:nvPr/>
          </p:nvSpPr>
          <p:spPr>
            <a:xfrm>
              <a:off x="6824028" y="1928813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7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7" y="4763"/>
                    <a:pt x="6032" y="5398"/>
                    <a:pt x="4763" y="5398"/>
                  </a:cubicBezTo>
                  <a:lnTo>
                    <a:pt x="72707" y="44767"/>
                  </a:lnTo>
                  <a:cubicBezTo>
                    <a:pt x="73978" y="44767"/>
                    <a:pt x="74613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4" name="任意多边形: 形状 10493"/>
            <p:cNvSpPr/>
            <p:nvPr/>
          </p:nvSpPr>
          <p:spPr>
            <a:xfrm>
              <a:off x="6821488" y="1930083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3 w 76200"/>
                <a:gd name="connsiteY1" fmla="*/ 4763 h 44450"/>
                <a:gd name="connsiteX2" fmla="*/ 4763 w 76200"/>
                <a:gd name="connsiteY2" fmla="*/ 6032 h 44450"/>
                <a:gd name="connsiteX3" fmla="*/ 72707 w 76200"/>
                <a:gd name="connsiteY3" fmla="*/ 45402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3" y="4763"/>
                  </a:lnTo>
                  <a:cubicBezTo>
                    <a:pt x="6668" y="4763"/>
                    <a:pt x="6032" y="5397"/>
                    <a:pt x="4763" y="6032"/>
                  </a:cubicBezTo>
                  <a:lnTo>
                    <a:pt x="72707" y="45402"/>
                  </a:lnTo>
                  <a:cubicBezTo>
                    <a:pt x="73978" y="44767"/>
                    <a:pt x="74613" y="44132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5" name="任意多边形: 形状 10494"/>
            <p:cNvSpPr/>
            <p:nvPr/>
          </p:nvSpPr>
          <p:spPr>
            <a:xfrm>
              <a:off x="6819582" y="1930717"/>
              <a:ext cx="76200" cy="44450"/>
            </a:xfrm>
            <a:custGeom>
              <a:avLst/>
              <a:gdLst>
                <a:gd name="connsiteX0" fmla="*/ 75248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6033 h 44450"/>
                <a:gd name="connsiteX3" fmla="*/ 72708 w 76200"/>
                <a:gd name="connsiteY3" fmla="*/ 45403 h 44450"/>
                <a:gd name="connsiteX4" fmla="*/ 75248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5398"/>
                    <a:pt x="6033" y="5398"/>
                    <a:pt x="4763" y="6033"/>
                  </a:cubicBezTo>
                  <a:lnTo>
                    <a:pt x="72708" y="45403"/>
                  </a:lnTo>
                  <a:cubicBezTo>
                    <a:pt x="73343" y="45403"/>
                    <a:pt x="74613" y="44768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6" name="任意多边形: 形状 10495"/>
            <p:cNvSpPr/>
            <p:nvPr/>
          </p:nvSpPr>
          <p:spPr>
            <a:xfrm>
              <a:off x="6817043" y="1931988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2 w 76200"/>
                <a:gd name="connsiteY1" fmla="*/ 4763 h 44450"/>
                <a:gd name="connsiteX2" fmla="*/ 4763 w 76200"/>
                <a:gd name="connsiteY2" fmla="*/ 6033 h 44450"/>
                <a:gd name="connsiteX3" fmla="*/ 72707 w 76200"/>
                <a:gd name="connsiteY3" fmla="*/ 45402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5398"/>
                    <a:pt x="5397" y="5398"/>
                    <a:pt x="4763" y="6033"/>
                  </a:cubicBezTo>
                  <a:lnTo>
                    <a:pt x="72707" y="45402"/>
                  </a:lnTo>
                  <a:cubicBezTo>
                    <a:pt x="73342" y="44767"/>
                    <a:pt x="74613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7" name="任意多边形: 形状 10496"/>
            <p:cNvSpPr/>
            <p:nvPr/>
          </p:nvSpPr>
          <p:spPr>
            <a:xfrm>
              <a:off x="6814503" y="1933258"/>
              <a:ext cx="76200" cy="50800"/>
            </a:xfrm>
            <a:custGeom>
              <a:avLst/>
              <a:gdLst>
                <a:gd name="connsiteX0" fmla="*/ 75247 w 76200"/>
                <a:gd name="connsiteY0" fmla="*/ 44132 h 50800"/>
                <a:gd name="connsiteX1" fmla="*/ 7303 w 76200"/>
                <a:gd name="connsiteY1" fmla="*/ 4763 h 50800"/>
                <a:gd name="connsiteX2" fmla="*/ 5397 w 76200"/>
                <a:gd name="connsiteY2" fmla="*/ 6032 h 50800"/>
                <a:gd name="connsiteX3" fmla="*/ 4763 w 76200"/>
                <a:gd name="connsiteY3" fmla="*/ 6667 h 50800"/>
                <a:gd name="connsiteX4" fmla="*/ 72707 w 76200"/>
                <a:gd name="connsiteY4" fmla="*/ 46038 h 50800"/>
                <a:gd name="connsiteX5" fmla="*/ 73342 w 76200"/>
                <a:gd name="connsiteY5" fmla="*/ 45402 h 50800"/>
                <a:gd name="connsiteX6" fmla="*/ 75247 w 76200"/>
                <a:gd name="connsiteY6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50800">
                  <a:moveTo>
                    <a:pt x="75247" y="44132"/>
                  </a:moveTo>
                  <a:lnTo>
                    <a:pt x="7303" y="4763"/>
                  </a:lnTo>
                  <a:cubicBezTo>
                    <a:pt x="6667" y="5397"/>
                    <a:pt x="6032" y="5397"/>
                    <a:pt x="5397" y="6032"/>
                  </a:cubicBezTo>
                  <a:cubicBezTo>
                    <a:pt x="5397" y="6032"/>
                    <a:pt x="4763" y="6032"/>
                    <a:pt x="4763" y="6667"/>
                  </a:cubicBezTo>
                  <a:lnTo>
                    <a:pt x="72707" y="46038"/>
                  </a:lnTo>
                  <a:cubicBezTo>
                    <a:pt x="72707" y="46038"/>
                    <a:pt x="73342" y="46038"/>
                    <a:pt x="73342" y="45402"/>
                  </a:cubicBezTo>
                  <a:cubicBezTo>
                    <a:pt x="73978" y="44767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8" name="任意多边形: 形状 10497"/>
            <p:cNvSpPr/>
            <p:nvPr/>
          </p:nvSpPr>
          <p:spPr>
            <a:xfrm>
              <a:off x="6811963" y="1934527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6033 h 44450"/>
                <a:gd name="connsiteX3" fmla="*/ 72707 w 76200"/>
                <a:gd name="connsiteY3" fmla="*/ 45402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5398"/>
                    <a:pt x="5397" y="6033"/>
                    <a:pt x="4763" y="6033"/>
                  </a:cubicBezTo>
                  <a:lnTo>
                    <a:pt x="72707" y="45402"/>
                  </a:lnTo>
                  <a:cubicBezTo>
                    <a:pt x="73978" y="45402"/>
                    <a:pt x="74613" y="4476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9" name="任意多边形: 形状 10498"/>
            <p:cNvSpPr/>
            <p:nvPr/>
          </p:nvSpPr>
          <p:spPr>
            <a:xfrm>
              <a:off x="6810057" y="1936433"/>
              <a:ext cx="76200" cy="50800"/>
            </a:xfrm>
            <a:custGeom>
              <a:avLst/>
              <a:gdLst>
                <a:gd name="connsiteX0" fmla="*/ 75248 w 76200"/>
                <a:gd name="connsiteY0" fmla="*/ 44132 h 50800"/>
                <a:gd name="connsiteX1" fmla="*/ 7303 w 76200"/>
                <a:gd name="connsiteY1" fmla="*/ 4763 h 50800"/>
                <a:gd name="connsiteX2" fmla="*/ 4763 w 76200"/>
                <a:gd name="connsiteY2" fmla="*/ 6667 h 50800"/>
                <a:gd name="connsiteX3" fmla="*/ 72708 w 76200"/>
                <a:gd name="connsiteY3" fmla="*/ 46038 h 50800"/>
                <a:gd name="connsiteX4" fmla="*/ 7524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8" y="44132"/>
                  </a:moveTo>
                  <a:lnTo>
                    <a:pt x="7303" y="4763"/>
                  </a:lnTo>
                  <a:cubicBezTo>
                    <a:pt x="6668" y="5397"/>
                    <a:pt x="5398" y="6032"/>
                    <a:pt x="4763" y="6667"/>
                  </a:cubicBezTo>
                  <a:lnTo>
                    <a:pt x="72708" y="46038"/>
                  </a:lnTo>
                  <a:cubicBezTo>
                    <a:pt x="73343" y="44767"/>
                    <a:pt x="73978" y="44132"/>
                    <a:pt x="7524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0" name="任意多边形: 形状 10499"/>
            <p:cNvSpPr/>
            <p:nvPr/>
          </p:nvSpPr>
          <p:spPr>
            <a:xfrm>
              <a:off x="6807518" y="1937702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2 w 76200"/>
                <a:gd name="connsiteY1" fmla="*/ 4763 h 50800"/>
                <a:gd name="connsiteX2" fmla="*/ 4763 w 76200"/>
                <a:gd name="connsiteY2" fmla="*/ 6668 h 50800"/>
                <a:gd name="connsiteX3" fmla="*/ 72707 w 76200"/>
                <a:gd name="connsiteY3" fmla="*/ 46038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5398"/>
                    <a:pt x="5397" y="6033"/>
                    <a:pt x="4763" y="6668"/>
                  </a:cubicBezTo>
                  <a:lnTo>
                    <a:pt x="72707" y="46038"/>
                  </a:lnTo>
                  <a:cubicBezTo>
                    <a:pt x="73342" y="45402"/>
                    <a:pt x="73977" y="4476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1" name="任意多边形: 形状 10500"/>
            <p:cNvSpPr/>
            <p:nvPr/>
          </p:nvSpPr>
          <p:spPr>
            <a:xfrm>
              <a:off x="6804978" y="1939608"/>
              <a:ext cx="76200" cy="50800"/>
            </a:xfrm>
            <a:custGeom>
              <a:avLst/>
              <a:gdLst>
                <a:gd name="connsiteX0" fmla="*/ 75247 w 76200"/>
                <a:gd name="connsiteY0" fmla="*/ 44132 h 50800"/>
                <a:gd name="connsiteX1" fmla="*/ 7303 w 76200"/>
                <a:gd name="connsiteY1" fmla="*/ 4763 h 50800"/>
                <a:gd name="connsiteX2" fmla="*/ 4763 w 76200"/>
                <a:gd name="connsiteY2" fmla="*/ 6667 h 50800"/>
                <a:gd name="connsiteX3" fmla="*/ 72707 w 76200"/>
                <a:gd name="connsiteY3" fmla="*/ 46038 h 50800"/>
                <a:gd name="connsiteX4" fmla="*/ 7524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2"/>
                  </a:moveTo>
                  <a:lnTo>
                    <a:pt x="7303" y="4763"/>
                  </a:lnTo>
                  <a:cubicBezTo>
                    <a:pt x="6667" y="5397"/>
                    <a:pt x="5397" y="6032"/>
                    <a:pt x="4763" y="6667"/>
                  </a:cubicBezTo>
                  <a:lnTo>
                    <a:pt x="72707" y="46038"/>
                  </a:lnTo>
                  <a:cubicBezTo>
                    <a:pt x="73342" y="45402"/>
                    <a:pt x="73978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2" name="任意多边形: 形状 10501"/>
            <p:cNvSpPr/>
            <p:nvPr/>
          </p:nvSpPr>
          <p:spPr>
            <a:xfrm>
              <a:off x="6802438" y="1941513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6667 h 50800"/>
                <a:gd name="connsiteX3" fmla="*/ 72707 w 76200"/>
                <a:gd name="connsiteY3" fmla="*/ 46038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5398"/>
                    <a:pt x="5397" y="6033"/>
                    <a:pt x="4763" y="6667"/>
                  </a:cubicBezTo>
                  <a:lnTo>
                    <a:pt x="72707" y="46038"/>
                  </a:lnTo>
                  <a:cubicBezTo>
                    <a:pt x="73343" y="45402"/>
                    <a:pt x="73978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3" name="任意多边形: 形状 10502"/>
            <p:cNvSpPr/>
            <p:nvPr/>
          </p:nvSpPr>
          <p:spPr>
            <a:xfrm>
              <a:off x="6799897" y="1943417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7303 h 50800"/>
                <a:gd name="connsiteX3" fmla="*/ 72708 w 76200"/>
                <a:gd name="connsiteY3" fmla="*/ 46673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5398"/>
                    <a:pt x="5397" y="6033"/>
                    <a:pt x="4763" y="7303"/>
                  </a:cubicBezTo>
                  <a:lnTo>
                    <a:pt x="72708" y="46673"/>
                  </a:lnTo>
                  <a:cubicBezTo>
                    <a:pt x="73343" y="46038"/>
                    <a:pt x="73978" y="4540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4" name="任意多边形: 形状 10503"/>
            <p:cNvSpPr/>
            <p:nvPr/>
          </p:nvSpPr>
          <p:spPr>
            <a:xfrm>
              <a:off x="6796722" y="1945958"/>
              <a:ext cx="76200" cy="50800"/>
            </a:xfrm>
            <a:custGeom>
              <a:avLst/>
              <a:gdLst>
                <a:gd name="connsiteX0" fmla="*/ 75247 w 76200"/>
                <a:gd name="connsiteY0" fmla="*/ 44132 h 50800"/>
                <a:gd name="connsiteX1" fmla="*/ 7303 w 76200"/>
                <a:gd name="connsiteY1" fmla="*/ 4763 h 50800"/>
                <a:gd name="connsiteX2" fmla="*/ 4763 w 76200"/>
                <a:gd name="connsiteY2" fmla="*/ 7302 h 50800"/>
                <a:gd name="connsiteX3" fmla="*/ 72708 w 76200"/>
                <a:gd name="connsiteY3" fmla="*/ 46672 h 50800"/>
                <a:gd name="connsiteX4" fmla="*/ 7524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2"/>
                  </a:moveTo>
                  <a:lnTo>
                    <a:pt x="7303" y="4763"/>
                  </a:lnTo>
                  <a:cubicBezTo>
                    <a:pt x="6668" y="5397"/>
                    <a:pt x="5397" y="6667"/>
                    <a:pt x="4763" y="7302"/>
                  </a:cubicBezTo>
                  <a:lnTo>
                    <a:pt x="72708" y="46672"/>
                  </a:lnTo>
                  <a:cubicBezTo>
                    <a:pt x="73978" y="46038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5" name="任意多边形: 形状 10504"/>
            <p:cNvSpPr/>
            <p:nvPr/>
          </p:nvSpPr>
          <p:spPr>
            <a:xfrm>
              <a:off x="6794182" y="1948498"/>
              <a:ext cx="76200" cy="50800"/>
            </a:xfrm>
            <a:custGeom>
              <a:avLst/>
              <a:gdLst>
                <a:gd name="connsiteX0" fmla="*/ 75248 w 76200"/>
                <a:gd name="connsiteY0" fmla="*/ 44132 h 50800"/>
                <a:gd name="connsiteX1" fmla="*/ 7303 w 76200"/>
                <a:gd name="connsiteY1" fmla="*/ 4763 h 50800"/>
                <a:gd name="connsiteX2" fmla="*/ 4763 w 76200"/>
                <a:gd name="connsiteY2" fmla="*/ 7302 h 50800"/>
                <a:gd name="connsiteX3" fmla="*/ 72708 w 76200"/>
                <a:gd name="connsiteY3" fmla="*/ 46673 h 50800"/>
                <a:gd name="connsiteX4" fmla="*/ 7524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8" y="44132"/>
                  </a:moveTo>
                  <a:lnTo>
                    <a:pt x="7303" y="4763"/>
                  </a:lnTo>
                  <a:cubicBezTo>
                    <a:pt x="6668" y="5398"/>
                    <a:pt x="5398" y="6667"/>
                    <a:pt x="4763" y="7302"/>
                  </a:cubicBezTo>
                  <a:lnTo>
                    <a:pt x="72708" y="46673"/>
                  </a:lnTo>
                  <a:cubicBezTo>
                    <a:pt x="73978" y="45402"/>
                    <a:pt x="74613" y="44767"/>
                    <a:pt x="7524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6" name="任意多边形: 形状 10505"/>
            <p:cNvSpPr/>
            <p:nvPr/>
          </p:nvSpPr>
          <p:spPr>
            <a:xfrm>
              <a:off x="6791643" y="1951038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2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5398"/>
                    <a:pt x="5397" y="6667"/>
                    <a:pt x="4763" y="7302"/>
                  </a:cubicBezTo>
                  <a:lnTo>
                    <a:pt x="72707" y="46673"/>
                  </a:lnTo>
                  <a:cubicBezTo>
                    <a:pt x="73977" y="45402"/>
                    <a:pt x="74613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7" name="任意多边形: 形状 10506"/>
            <p:cNvSpPr/>
            <p:nvPr/>
          </p:nvSpPr>
          <p:spPr>
            <a:xfrm>
              <a:off x="6791643" y="1953577"/>
              <a:ext cx="76200" cy="44450"/>
            </a:xfrm>
            <a:custGeom>
              <a:avLst/>
              <a:gdLst>
                <a:gd name="connsiteX0" fmla="*/ 73342 w 76200"/>
                <a:gd name="connsiteY0" fmla="*/ 44133 h 44450"/>
                <a:gd name="connsiteX1" fmla="*/ 5397 w 76200"/>
                <a:gd name="connsiteY1" fmla="*/ 4763 h 44450"/>
                <a:gd name="connsiteX2" fmla="*/ 4763 w 76200"/>
                <a:gd name="connsiteY2" fmla="*/ 5398 h 44450"/>
                <a:gd name="connsiteX3" fmla="*/ 73342 w 76200"/>
                <a:gd name="connsiteY3" fmla="*/ 44133 h 44450"/>
                <a:gd name="connsiteX4" fmla="*/ 73342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3342" y="44133"/>
                  </a:moveTo>
                  <a:lnTo>
                    <a:pt x="5397" y="4763"/>
                  </a:lnTo>
                  <a:cubicBezTo>
                    <a:pt x="5397" y="4763"/>
                    <a:pt x="5397" y="5398"/>
                    <a:pt x="4763" y="5398"/>
                  </a:cubicBezTo>
                  <a:lnTo>
                    <a:pt x="73342" y="44133"/>
                  </a:lnTo>
                  <a:cubicBezTo>
                    <a:pt x="72707" y="44133"/>
                    <a:pt x="72707" y="44133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8" name="任意多边形: 形状 10507"/>
            <p:cNvSpPr/>
            <p:nvPr/>
          </p:nvSpPr>
          <p:spPr>
            <a:xfrm>
              <a:off x="6742113" y="1864677"/>
              <a:ext cx="82550" cy="50800"/>
            </a:xfrm>
            <a:custGeom>
              <a:avLst/>
              <a:gdLst>
                <a:gd name="connsiteX0" fmla="*/ 83503 w 82550"/>
                <a:gd name="connsiteY0" fmla="*/ 49213 h 50800"/>
                <a:gd name="connsiteX1" fmla="*/ 15557 w 82550"/>
                <a:gd name="connsiteY1" fmla="*/ 9843 h 50800"/>
                <a:gd name="connsiteX2" fmla="*/ 4763 w 82550"/>
                <a:gd name="connsiteY2" fmla="*/ 4763 h 50800"/>
                <a:gd name="connsiteX3" fmla="*/ 72707 w 82550"/>
                <a:gd name="connsiteY3" fmla="*/ 44133 h 50800"/>
                <a:gd name="connsiteX4" fmla="*/ 83503 w 82550"/>
                <a:gd name="connsiteY4" fmla="*/ 4921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83503" y="49213"/>
                  </a:moveTo>
                  <a:lnTo>
                    <a:pt x="15557" y="9843"/>
                  </a:lnTo>
                  <a:cubicBezTo>
                    <a:pt x="12382" y="7938"/>
                    <a:pt x="8572" y="6033"/>
                    <a:pt x="4763" y="4763"/>
                  </a:cubicBezTo>
                  <a:lnTo>
                    <a:pt x="72707" y="44133"/>
                  </a:lnTo>
                  <a:cubicBezTo>
                    <a:pt x="76518" y="45402"/>
                    <a:pt x="80328" y="47308"/>
                    <a:pt x="83503" y="4921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9" name="任意多边形: 形状 10508"/>
            <p:cNvSpPr/>
            <p:nvPr/>
          </p:nvSpPr>
          <p:spPr>
            <a:xfrm>
              <a:off x="6732588" y="1862138"/>
              <a:ext cx="82550" cy="50800"/>
            </a:xfrm>
            <a:custGeom>
              <a:avLst/>
              <a:gdLst>
                <a:gd name="connsiteX0" fmla="*/ 82232 w 82550"/>
                <a:gd name="connsiteY0" fmla="*/ 46673 h 50800"/>
                <a:gd name="connsiteX1" fmla="*/ 14288 w 82550"/>
                <a:gd name="connsiteY1" fmla="*/ 7302 h 50800"/>
                <a:gd name="connsiteX2" fmla="*/ 4763 w 82550"/>
                <a:gd name="connsiteY2" fmla="*/ 4763 h 50800"/>
                <a:gd name="connsiteX3" fmla="*/ 72707 w 82550"/>
                <a:gd name="connsiteY3" fmla="*/ 44133 h 50800"/>
                <a:gd name="connsiteX4" fmla="*/ 82232 w 82550"/>
                <a:gd name="connsiteY4" fmla="*/ 4667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82232" y="46673"/>
                  </a:moveTo>
                  <a:lnTo>
                    <a:pt x="14288" y="7302"/>
                  </a:lnTo>
                  <a:cubicBezTo>
                    <a:pt x="11113" y="6033"/>
                    <a:pt x="7938" y="5398"/>
                    <a:pt x="4763" y="4763"/>
                  </a:cubicBezTo>
                  <a:lnTo>
                    <a:pt x="72707" y="44133"/>
                  </a:lnTo>
                  <a:cubicBezTo>
                    <a:pt x="75882" y="44767"/>
                    <a:pt x="79057" y="45402"/>
                    <a:pt x="82232" y="4667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0" name="任意多边形: 形状 10509"/>
            <p:cNvSpPr/>
            <p:nvPr/>
          </p:nvSpPr>
          <p:spPr>
            <a:xfrm>
              <a:off x="6724968" y="1860867"/>
              <a:ext cx="82550" cy="44450"/>
            </a:xfrm>
            <a:custGeom>
              <a:avLst/>
              <a:gdLst>
                <a:gd name="connsiteX0" fmla="*/ 80327 w 82550"/>
                <a:gd name="connsiteY0" fmla="*/ 45403 h 44450"/>
                <a:gd name="connsiteX1" fmla="*/ 12382 w 82550"/>
                <a:gd name="connsiteY1" fmla="*/ 6033 h 44450"/>
                <a:gd name="connsiteX2" fmla="*/ 4763 w 82550"/>
                <a:gd name="connsiteY2" fmla="*/ 4763 h 44450"/>
                <a:gd name="connsiteX3" fmla="*/ 72707 w 82550"/>
                <a:gd name="connsiteY3" fmla="*/ 44133 h 44450"/>
                <a:gd name="connsiteX4" fmla="*/ 80327 w 82550"/>
                <a:gd name="connsiteY4" fmla="*/ 4540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44450">
                  <a:moveTo>
                    <a:pt x="80327" y="45403"/>
                  </a:moveTo>
                  <a:lnTo>
                    <a:pt x="12382" y="6033"/>
                  </a:lnTo>
                  <a:cubicBezTo>
                    <a:pt x="9842" y="5398"/>
                    <a:pt x="7302" y="5398"/>
                    <a:pt x="4763" y="4763"/>
                  </a:cubicBezTo>
                  <a:lnTo>
                    <a:pt x="72707" y="44133"/>
                  </a:lnTo>
                  <a:cubicBezTo>
                    <a:pt x="75247" y="44768"/>
                    <a:pt x="77788" y="44768"/>
                    <a:pt x="80327" y="4540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1" name="任意多边形: 形状 10510"/>
            <p:cNvSpPr/>
            <p:nvPr/>
          </p:nvSpPr>
          <p:spPr>
            <a:xfrm>
              <a:off x="6717982" y="1860233"/>
              <a:ext cx="82550" cy="44450"/>
            </a:xfrm>
            <a:custGeom>
              <a:avLst/>
              <a:gdLst>
                <a:gd name="connsiteX0" fmla="*/ 79693 w 82550"/>
                <a:gd name="connsiteY0" fmla="*/ 44767 h 44450"/>
                <a:gd name="connsiteX1" fmla="*/ 11748 w 82550"/>
                <a:gd name="connsiteY1" fmla="*/ 5397 h 44450"/>
                <a:gd name="connsiteX2" fmla="*/ 4763 w 82550"/>
                <a:gd name="connsiteY2" fmla="*/ 4763 h 44450"/>
                <a:gd name="connsiteX3" fmla="*/ 72708 w 82550"/>
                <a:gd name="connsiteY3" fmla="*/ 44132 h 44450"/>
                <a:gd name="connsiteX4" fmla="*/ 79693 w 82550"/>
                <a:gd name="connsiteY4" fmla="*/ 4476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44450">
                  <a:moveTo>
                    <a:pt x="79693" y="44767"/>
                  </a:moveTo>
                  <a:lnTo>
                    <a:pt x="11748" y="5397"/>
                  </a:lnTo>
                  <a:cubicBezTo>
                    <a:pt x="9208" y="5397"/>
                    <a:pt x="7303" y="4763"/>
                    <a:pt x="4763" y="4763"/>
                  </a:cubicBezTo>
                  <a:lnTo>
                    <a:pt x="72708" y="44132"/>
                  </a:lnTo>
                  <a:cubicBezTo>
                    <a:pt x="75248" y="44767"/>
                    <a:pt x="77153" y="44767"/>
                    <a:pt x="79693" y="4476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2" name="任意多边形: 形状 10511"/>
            <p:cNvSpPr/>
            <p:nvPr/>
          </p:nvSpPr>
          <p:spPr>
            <a:xfrm>
              <a:off x="6711632" y="1860867"/>
              <a:ext cx="82550" cy="44450"/>
            </a:xfrm>
            <a:custGeom>
              <a:avLst/>
              <a:gdLst>
                <a:gd name="connsiteX0" fmla="*/ 79058 w 82550"/>
                <a:gd name="connsiteY0" fmla="*/ 44133 h 44450"/>
                <a:gd name="connsiteX1" fmla="*/ 11113 w 82550"/>
                <a:gd name="connsiteY1" fmla="*/ 4763 h 44450"/>
                <a:gd name="connsiteX2" fmla="*/ 4763 w 82550"/>
                <a:gd name="connsiteY2" fmla="*/ 4763 h 44450"/>
                <a:gd name="connsiteX3" fmla="*/ 72708 w 82550"/>
                <a:gd name="connsiteY3" fmla="*/ 44133 h 44450"/>
                <a:gd name="connsiteX4" fmla="*/ 79058 w 8255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44450">
                  <a:moveTo>
                    <a:pt x="79058" y="44133"/>
                  </a:moveTo>
                  <a:lnTo>
                    <a:pt x="11113" y="4763"/>
                  </a:lnTo>
                  <a:cubicBezTo>
                    <a:pt x="9208" y="4763"/>
                    <a:pt x="6668" y="4763"/>
                    <a:pt x="4763" y="4763"/>
                  </a:cubicBezTo>
                  <a:lnTo>
                    <a:pt x="72708" y="44133"/>
                  </a:lnTo>
                  <a:cubicBezTo>
                    <a:pt x="74613" y="44133"/>
                    <a:pt x="77153" y="44133"/>
                    <a:pt x="7905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3" name="任意多边形: 形状 10512"/>
            <p:cNvSpPr/>
            <p:nvPr/>
          </p:nvSpPr>
          <p:spPr>
            <a:xfrm>
              <a:off x="6705282" y="1860867"/>
              <a:ext cx="82550" cy="44450"/>
            </a:xfrm>
            <a:custGeom>
              <a:avLst/>
              <a:gdLst>
                <a:gd name="connsiteX0" fmla="*/ 79058 w 82550"/>
                <a:gd name="connsiteY0" fmla="*/ 44133 h 44450"/>
                <a:gd name="connsiteX1" fmla="*/ 11113 w 82550"/>
                <a:gd name="connsiteY1" fmla="*/ 4763 h 44450"/>
                <a:gd name="connsiteX2" fmla="*/ 4763 w 82550"/>
                <a:gd name="connsiteY2" fmla="*/ 5398 h 44450"/>
                <a:gd name="connsiteX3" fmla="*/ 72708 w 82550"/>
                <a:gd name="connsiteY3" fmla="*/ 44768 h 44450"/>
                <a:gd name="connsiteX4" fmla="*/ 79058 w 8255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44450">
                  <a:moveTo>
                    <a:pt x="79058" y="44133"/>
                  </a:moveTo>
                  <a:lnTo>
                    <a:pt x="11113" y="4763"/>
                  </a:lnTo>
                  <a:cubicBezTo>
                    <a:pt x="9208" y="4763"/>
                    <a:pt x="7303" y="5398"/>
                    <a:pt x="4763" y="5398"/>
                  </a:cubicBezTo>
                  <a:lnTo>
                    <a:pt x="72708" y="44768"/>
                  </a:lnTo>
                  <a:cubicBezTo>
                    <a:pt x="74613" y="44768"/>
                    <a:pt x="77153" y="44133"/>
                    <a:pt x="7905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4" name="任意多边形: 形状 10513"/>
            <p:cNvSpPr/>
            <p:nvPr/>
          </p:nvSpPr>
          <p:spPr>
            <a:xfrm>
              <a:off x="6699568" y="1861502"/>
              <a:ext cx="82550" cy="44450"/>
            </a:xfrm>
            <a:custGeom>
              <a:avLst/>
              <a:gdLst>
                <a:gd name="connsiteX0" fmla="*/ 78422 w 82550"/>
                <a:gd name="connsiteY0" fmla="*/ 44133 h 44450"/>
                <a:gd name="connsiteX1" fmla="*/ 10477 w 82550"/>
                <a:gd name="connsiteY1" fmla="*/ 4763 h 44450"/>
                <a:gd name="connsiteX2" fmla="*/ 4763 w 82550"/>
                <a:gd name="connsiteY2" fmla="*/ 6033 h 44450"/>
                <a:gd name="connsiteX3" fmla="*/ 72707 w 82550"/>
                <a:gd name="connsiteY3" fmla="*/ 45402 h 44450"/>
                <a:gd name="connsiteX4" fmla="*/ 78422 w 8255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44450">
                  <a:moveTo>
                    <a:pt x="78422" y="44133"/>
                  </a:moveTo>
                  <a:lnTo>
                    <a:pt x="10477" y="4763"/>
                  </a:lnTo>
                  <a:cubicBezTo>
                    <a:pt x="8572" y="4763"/>
                    <a:pt x="6667" y="5398"/>
                    <a:pt x="4763" y="6033"/>
                  </a:cubicBezTo>
                  <a:lnTo>
                    <a:pt x="72707" y="45402"/>
                  </a:lnTo>
                  <a:cubicBezTo>
                    <a:pt x="74613" y="44768"/>
                    <a:pt x="76517" y="44133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5" name="任意多边形: 形状 10514"/>
            <p:cNvSpPr/>
            <p:nvPr/>
          </p:nvSpPr>
          <p:spPr>
            <a:xfrm>
              <a:off x="6693853" y="1862773"/>
              <a:ext cx="82550" cy="44450"/>
            </a:xfrm>
            <a:custGeom>
              <a:avLst/>
              <a:gdLst>
                <a:gd name="connsiteX0" fmla="*/ 78422 w 82550"/>
                <a:gd name="connsiteY0" fmla="*/ 44132 h 44450"/>
                <a:gd name="connsiteX1" fmla="*/ 10478 w 82550"/>
                <a:gd name="connsiteY1" fmla="*/ 4763 h 44450"/>
                <a:gd name="connsiteX2" fmla="*/ 4763 w 82550"/>
                <a:gd name="connsiteY2" fmla="*/ 6032 h 44450"/>
                <a:gd name="connsiteX3" fmla="*/ 72707 w 82550"/>
                <a:gd name="connsiteY3" fmla="*/ 45402 h 44450"/>
                <a:gd name="connsiteX4" fmla="*/ 78422 w 8255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44450">
                  <a:moveTo>
                    <a:pt x="78422" y="44132"/>
                  </a:moveTo>
                  <a:lnTo>
                    <a:pt x="10478" y="4763"/>
                  </a:lnTo>
                  <a:cubicBezTo>
                    <a:pt x="8572" y="5398"/>
                    <a:pt x="6667" y="5398"/>
                    <a:pt x="4763" y="6032"/>
                  </a:cubicBezTo>
                  <a:lnTo>
                    <a:pt x="72707" y="45402"/>
                  </a:lnTo>
                  <a:cubicBezTo>
                    <a:pt x="74613" y="44767"/>
                    <a:pt x="76517" y="44132"/>
                    <a:pt x="7842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6" name="任意多边形: 形状 10515"/>
            <p:cNvSpPr/>
            <p:nvPr/>
          </p:nvSpPr>
          <p:spPr>
            <a:xfrm>
              <a:off x="6687503" y="1864042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6668 h 50800"/>
                <a:gd name="connsiteX3" fmla="*/ 72707 w 82550"/>
                <a:gd name="connsiteY3" fmla="*/ 46038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5398"/>
                    <a:pt x="6667" y="6033"/>
                    <a:pt x="4763" y="6668"/>
                  </a:cubicBezTo>
                  <a:lnTo>
                    <a:pt x="72707" y="46038"/>
                  </a:lnTo>
                  <a:cubicBezTo>
                    <a:pt x="74613" y="44768"/>
                    <a:pt x="76517" y="44133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7" name="任意多边形: 形状 10516"/>
            <p:cNvSpPr/>
            <p:nvPr/>
          </p:nvSpPr>
          <p:spPr>
            <a:xfrm>
              <a:off x="6681788" y="1865313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6667 h 50800"/>
                <a:gd name="connsiteX3" fmla="*/ 72707 w 82550"/>
                <a:gd name="connsiteY3" fmla="*/ 46038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5398"/>
                    <a:pt x="6668" y="6033"/>
                    <a:pt x="4763" y="6667"/>
                  </a:cubicBezTo>
                  <a:lnTo>
                    <a:pt x="72707" y="46038"/>
                  </a:lnTo>
                  <a:cubicBezTo>
                    <a:pt x="75247" y="45402"/>
                    <a:pt x="76518" y="44767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8" name="任意多边形: 形状 10517"/>
            <p:cNvSpPr/>
            <p:nvPr/>
          </p:nvSpPr>
          <p:spPr>
            <a:xfrm>
              <a:off x="6676707" y="1867217"/>
              <a:ext cx="82550" cy="50800"/>
            </a:xfrm>
            <a:custGeom>
              <a:avLst/>
              <a:gdLst>
                <a:gd name="connsiteX0" fmla="*/ 78423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6668 h 50800"/>
                <a:gd name="connsiteX3" fmla="*/ 72708 w 82550"/>
                <a:gd name="connsiteY3" fmla="*/ 46038 h 50800"/>
                <a:gd name="connsiteX4" fmla="*/ 78423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3" y="44133"/>
                  </a:moveTo>
                  <a:lnTo>
                    <a:pt x="10478" y="4763"/>
                  </a:lnTo>
                  <a:cubicBezTo>
                    <a:pt x="8573" y="5398"/>
                    <a:pt x="6668" y="6033"/>
                    <a:pt x="4763" y="6668"/>
                  </a:cubicBezTo>
                  <a:lnTo>
                    <a:pt x="72708" y="46038"/>
                  </a:lnTo>
                  <a:cubicBezTo>
                    <a:pt x="74613" y="45403"/>
                    <a:pt x="76518" y="44768"/>
                    <a:pt x="7842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9" name="任意多边形: 形状 10518"/>
            <p:cNvSpPr/>
            <p:nvPr/>
          </p:nvSpPr>
          <p:spPr>
            <a:xfrm>
              <a:off x="6670993" y="1869123"/>
              <a:ext cx="82550" cy="50800"/>
            </a:xfrm>
            <a:custGeom>
              <a:avLst/>
              <a:gdLst>
                <a:gd name="connsiteX0" fmla="*/ 78422 w 82550"/>
                <a:gd name="connsiteY0" fmla="*/ 44132 h 50800"/>
                <a:gd name="connsiteX1" fmla="*/ 10477 w 82550"/>
                <a:gd name="connsiteY1" fmla="*/ 4763 h 50800"/>
                <a:gd name="connsiteX2" fmla="*/ 4763 w 82550"/>
                <a:gd name="connsiteY2" fmla="*/ 7302 h 50800"/>
                <a:gd name="connsiteX3" fmla="*/ 72707 w 82550"/>
                <a:gd name="connsiteY3" fmla="*/ 46673 h 50800"/>
                <a:gd name="connsiteX4" fmla="*/ 78422 w 8255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2"/>
                  </a:moveTo>
                  <a:lnTo>
                    <a:pt x="10477" y="4763"/>
                  </a:lnTo>
                  <a:cubicBezTo>
                    <a:pt x="8572" y="5398"/>
                    <a:pt x="6667" y="6032"/>
                    <a:pt x="4763" y="7302"/>
                  </a:cubicBezTo>
                  <a:lnTo>
                    <a:pt x="72707" y="46673"/>
                  </a:lnTo>
                  <a:cubicBezTo>
                    <a:pt x="74613" y="46038"/>
                    <a:pt x="76517" y="44767"/>
                    <a:pt x="7842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0" name="任意多边形: 形状 10519"/>
            <p:cNvSpPr/>
            <p:nvPr/>
          </p:nvSpPr>
          <p:spPr>
            <a:xfrm>
              <a:off x="6665278" y="1871663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7302 h 50800"/>
                <a:gd name="connsiteX3" fmla="*/ 72707 w 82550"/>
                <a:gd name="connsiteY3" fmla="*/ 46673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5398"/>
                    <a:pt x="6667" y="6667"/>
                    <a:pt x="4763" y="7302"/>
                  </a:cubicBezTo>
                  <a:lnTo>
                    <a:pt x="72707" y="46673"/>
                  </a:lnTo>
                  <a:cubicBezTo>
                    <a:pt x="74613" y="46038"/>
                    <a:pt x="76517" y="44767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1" name="任意多边形: 形状 10520"/>
            <p:cNvSpPr/>
            <p:nvPr/>
          </p:nvSpPr>
          <p:spPr>
            <a:xfrm>
              <a:off x="6659563" y="1874202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7938 h 50800"/>
                <a:gd name="connsiteX3" fmla="*/ 72707 w 82550"/>
                <a:gd name="connsiteY3" fmla="*/ 47308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5398"/>
                    <a:pt x="6668" y="6668"/>
                    <a:pt x="4763" y="7938"/>
                  </a:cubicBezTo>
                  <a:lnTo>
                    <a:pt x="72707" y="47308"/>
                  </a:lnTo>
                  <a:cubicBezTo>
                    <a:pt x="74613" y="46038"/>
                    <a:pt x="76518" y="45402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2" name="任意多边形: 形状 10521"/>
            <p:cNvSpPr/>
            <p:nvPr/>
          </p:nvSpPr>
          <p:spPr>
            <a:xfrm>
              <a:off x="6655118" y="1877377"/>
              <a:ext cx="76200" cy="50800"/>
            </a:xfrm>
            <a:custGeom>
              <a:avLst/>
              <a:gdLst>
                <a:gd name="connsiteX0" fmla="*/ 77152 w 76200"/>
                <a:gd name="connsiteY0" fmla="*/ 44133 h 50800"/>
                <a:gd name="connsiteX1" fmla="*/ 9207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715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7152" y="44133"/>
                  </a:moveTo>
                  <a:lnTo>
                    <a:pt x="9207" y="4763"/>
                  </a:lnTo>
                  <a:cubicBezTo>
                    <a:pt x="7938" y="5398"/>
                    <a:pt x="6032" y="6668"/>
                    <a:pt x="4763" y="7302"/>
                  </a:cubicBezTo>
                  <a:lnTo>
                    <a:pt x="72707" y="46673"/>
                  </a:lnTo>
                  <a:cubicBezTo>
                    <a:pt x="73977" y="46038"/>
                    <a:pt x="75247" y="44768"/>
                    <a:pt x="7715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3" name="任意多边形: 形状 10522"/>
            <p:cNvSpPr/>
            <p:nvPr/>
          </p:nvSpPr>
          <p:spPr>
            <a:xfrm>
              <a:off x="6653847" y="1879917"/>
              <a:ext cx="76200" cy="44450"/>
            </a:xfrm>
            <a:custGeom>
              <a:avLst/>
              <a:gdLst>
                <a:gd name="connsiteX0" fmla="*/ 73978 w 76200"/>
                <a:gd name="connsiteY0" fmla="*/ 44133 h 44450"/>
                <a:gd name="connsiteX1" fmla="*/ 6033 w 76200"/>
                <a:gd name="connsiteY1" fmla="*/ 4763 h 44450"/>
                <a:gd name="connsiteX2" fmla="*/ 4763 w 76200"/>
                <a:gd name="connsiteY2" fmla="*/ 5398 h 44450"/>
                <a:gd name="connsiteX3" fmla="*/ 72708 w 76200"/>
                <a:gd name="connsiteY3" fmla="*/ 44768 h 44450"/>
                <a:gd name="connsiteX4" fmla="*/ 73978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3978" y="44133"/>
                  </a:moveTo>
                  <a:lnTo>
                    <a:pt x="6033" y="4763"/>
                  </a:lnTo>
                  <a:cubicBezTo>
                    <a:pt x="5397" y="4763"/>
                    <a:pt x="5397" y="5398"/>
                    <a:pt x="4763" y="5398"/>
                  </a:cubicBezTo>
                  <a:lnTo>
                    <a:pt x="72708" y="44768"/>
                  </a:lnTo>
                  <a:cubicBezTo>
                    <a:pt x="72708" y="44768"/>
                    <a:pt x="73343" y="44133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4" name="任意多边形: 形状 10523"/>
            <p:cNvSpPr/>
            <p:nvPr/>
          </p:nvSpPr>
          <p:spPr>
            <a:xfrm>
              <a:off x="6648132" y="1880552"/>
              <a:ext cx="82550" cy="50800"/>
            </a:xfrm>
            <a:custGeom>
              <a:avLst/>
              <a:gdLst>
                <a:gd name="connsiteX0" fmla="*/ 78423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8573 h 50800"/>
                <a:gd name="connsiteX3" fmla="*/ 72708 w 82550"/>
                <a:gd name="connsiteY3" fmla="*/ 47943 h 50800"/>
                <a:gd name="connsiteX4" fmla="*/ 78423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3" y="44133"/>
                  </a:moveTo>
                  <a:lnTo>
                    <a:pt x="10478" y="4763"/>
                  </a:lnTo>
                  <a:cubicBezTo>
                    <a:pt x="8573" y="6033"/>
                    <a:pt x="6668" y="7302"/>
                    <a:pt x="4763" y="8573"/>
                  </a:cubicBezTo>
                  <a:lnTo>
                    <a:pt x="72708" y="47943"/>
                  </a:lnTo>
                  <a:cubicBezTo>
                    <a:pt x="73978" y="46673"/>
                    <a:pt x="75883" y="45402"/>
                    <a:pt x="7842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5" name="任意多边形: 形状 10524"/>
            <p:cNvSpPr/>
            <p:nvPr/>
          </p:nvSpPr>
          <p:spPr>
            <a:xfrm>
              <a:off x="6641782" y="1884363"/>
              <a:ext cx="82550" cy="50800"/>
            </a:xfrm>
            <a:custGeom>
              <a:avLst/>
              <a:gdLst>
                <a:gd name="connsiteX0" fmla="*/ 78423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8573 h 50800"/>
                <a:gd name="connsiteX3" fmla="*/ 72708 w 82550"/>
                <a:gd name="connsiteY3" fmla="*/ 47942 h 50800"/>
                <a:gd name="connsiteX4" fmla="*/ 78423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3" y="44133"/>
                  </a:moveTo>
                  <a:lnTo>
                    <a:pt x="10478" y="4763"/>
                  </a:lnTo>
                  <a:cubicBezTo>
                    <a:pt x="8573" y="6033"/>
                    <a:pt x="6668" y="7302"/>
                    <a:pt x="4763" y="8573"/>
                  </a:cubicBezTo>
                  <a:lnTo>
                    <a:pt x="72708" y="47942"/>
                  </a:lnTo>
                  <a:cubicBezTo>
                    <a:pt x="74613" y="46673"/>
                    <a:pt x="76518" y="45402"/>
                    <a:pt x="7842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6" name="任意多边形: 形状 10525"/>
            <p:cNvSpPr/>
            <p:nvPr/>
          </p:nvSpPr>
          <p:spPr>
            <a:xfrm>
              <a:off x="6635432" y="1888173"/>
              <a:ext cx="82550" cy="50800"/>
            </a:xfrm>
            <a:custGeom>
              <a:avLst/>
              <a:gdLst>
                <a:gd name="connsiteX0" fmla="*/ 79058 w 82550"/>
                <a:gd name="connsiteY0" fmla="*/ 44132 h 50800"/>
                <a:gd name="connsiteX1" fmla="*/ 11113 w 82550"/>
                <a:gd name="connsiteY1" fmla="*/ 4763 h 50800"/>
                <a:gd name="connsiteX2" fmla="*/ 4763 w 82550"/>
                <a:gd name="connsiteY2" fmla="*/ 9207 h 50800"/>
                <a:gd name="connsiteX3" fmla="*/ 72708 w 82550"/>
                <a:gd name="connsiteY3" fmla="*/ 48577 h 50800"/>
                <a:gd name="connsiteX4" fmla="*/ 79058 w 8255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9058" y="44132"/>
                  </a:moveTo>
                  <a:lnTo>
                    <a:pt x="11113" y="4763"/>
                  </a:lnTo>
                  <a:cubicBezTo>
                    <a:pt x="9208" y="6032"/>
                    <a:pt x="7303" y="7302"/>
                    <a:pt x="4763" y="9207"/>
                  </a:cubicBezTo>
                  <a:lnTo>
                    <a:pt x="72708" y="48577"/>
                  </a:lnTo>
                  <a:cubicBezTo>
                    <a:pt x="74613" y="47307"/>
                    <a:pt x="77153" y="45402"/>
                    <a:pt x="7905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7" name="任意多边形: 形状 10526"/>
            <p:cNvSpPr/>
            <p:nvPr/>
          </p:nvSpPr>
          <p:spPr>
            <a:xfrm>
              <a:off x="6629082" y="1892617"/>
              <a:ext cx="82550" cy="50800"/>
            </a:xfrm>
            <a:custGeom>
              <a:avLst/>
              <a:gdLst>
                <a:gd name="connsiteX0" fmla="*/ 79058 w 82550"/>
                <a:gd name="connsiteY0" fmla="*/ 44133 h 50800"/>
                <a:gd name="connsiteX1" fmla="*/ 11113 w 82550"/>
                <a:gd name="connsiteY1" fmla="*/ 4763 h 50800"/>
                <a:gd name="connsiteX2" fmla="*/ 4763 w 82550"/>
                <a:gd name="connsiteY2" fmla="*/ 9208 h 50800"/>
                <a:gd name="connsiteX3" fmla="*/ 72708 w 82550"/>
                <a:gd name="connsiteY3" fmla="*/ 48578 h 50800"/>
                <a:gd name="connsiteX4" fmla="*/ 79058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9058" y="44133"/>
                  </a:moveTo>
                  <a:lnTo>
                    <a:pt x="11113" y="4763"/>
                  </a:lnTo>
                  <a:cubicBezTo>
                    <a:pt x="9208" y="6033"/>
                    <a:pt x="6668" y="7938"/>
                    <a:pt x="4763" y="9208"/>
                  </a:cubicBezTo>
                  <a:lnTo>
                    <a:pt x="72708" y="48578"/>
                  </a:lnTo>
                  <a:cubicBezTo>
                    <a:pt x="75248" y="47308"/>
                    <a:pt x="77153" y="45403"/>
                    <a:pt x="7905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8" name="任意多边形: 形状 10527"/>
            <p:cNvSpPr/>
            <p:nvPr/>
          </p:nvSpPr>
          <p:spPr>
            <a:xfrm>
              <a:off x="6622732" y="1897063"/>
              <a:ext cx="82550" cy="50800"/>
            </a:xfrm>
            <a:custGeom>
              <a:avLst/>
              <a:gdLst>
                <a:gd name="connsiteX0" fmla="*/ 79058 w 82550"/>
                <a:gd name="connsiteY0" fmla="*/ 44133 h 50800"/>
                <a:gd name="connsiteX1" fmla="*/ 11113 w 82550"/>
                <a:gd name="connsiteY1" fmla="*/ 4763 h 50800"/>
                <a:gd name="connsiteX2" fmla="*/ 4763 w 82550"/>
                <a:gd name="connsiteY2" fmla="*/ 9842 h 50800"/>
                <a:gd name="connsiteX3" fmla="*/ 72708 w 82550"/>
                <a:gd name="connsiteY3" fmla="*/ 49213 h 50800"/>
                <a:gd name="connsiteX4" fmla="*/ 79058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9058" y="44133"/>
                  </a:moveTo>
                  <a:lnTo>
                    <a:pt x="11113" y="4763"/>
                  </a:lnTo>
                  <a:cubicBezTo>
                    <a:pt x="9208" y="6667"/>
                    <a:pt x="6668" y="7938"/>
                    <a:pt x="4763" y="9842"/>
                  </a:cubicBezTo>
                  <a:lnTo>
                    <a:pt x="72708" y="49213"/>
                  </a:lnTo>
                  <a:cubicBezTo>
                    <a:pt x="75248" y="47942"/>
                    <a:pt x="77153" y="46038"/>
                    <a:pt x="7905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9" name="任意多边形: 形状 10528"/>
            <p:cNvSpPr/>
            <p:nvPr/>
          </p:nvSpPr>
          <p:spPr>
            <a:xfrm>
              <a:off x="6617018" y="1902142"/>
              <a:ext cx="82550" cy="50800"/>
            </a:xfrm>
            <a:custGeom>
              <a:avLst/>
              <a:gdLst>
                <a:gd name="connsiteX0" fmla="*/ 79057 w 82550"/>
                <a:gd name="connsiteY0" fmla="*/ 44133 h 50800"/>
                <a:gd name="connsiteX1" fmla="*/ 11113 w 82550"/>
                <a:gd name="connsiteY1" fmla="*/ 4763 h 50800"/>
                <a:gd name="connsiteX2" fmla="*/ 4763 w 82550"/>
                <a:gd name="connsiteY2" fmla="*/ 10478 h 50800"/>
                <a:gd name="connsiteX3" fmla="*/ 72707 w 82550"/>
                <a:gd name="connsiteY3" fmla="*/ 49848 h 50800"/>
                <a:gd name="connsiteX4" fmla="*/ 79057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9057" y="44133"/>
                  </a:moveTo>
                  <a:lnTo>
                    <a:pt x="11113" y="4763"/>
                  </a:lnTo>
                  <a:cubicBezTo>
                    <a:pt x="9207" y="6668"/>
                    <a:pt x="6667" y="8573"/>
                    <a:pt x="4763" y="10478"/>
                  </a:cubicBezTo>
                  <a:lnTo>
                    <a:pt x="72707" y="49848"/>
                  </a:lnTo>
                  <a:cubicBezTo>
                    <a:pt x="74613" y="47943"/>
                    <a:pt x="76517" y="46038"/>
                    <a:pt x="7905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0" name="任意多边形: 形状 10529"/>
            <p:cNvSpPr/>
            <p:nvPr/>
          </p:nvSpPr>
          <p:spPr>
            <a:xfrm>
              <a:off x="6610668" y="1907858"/>
              <a:ext cx="82550" cy="50800"/>
            </a:xfrm>
            <a:custGeom>
              <a:avLst/>
              <a:gdLst>
                <a:gd name="connsiteX0" fmla="*/ 79057 w 82550"/>
                <a:gd name="connsiteY0" fmla="*/ 44132 h 50800"/>
                <a:gd name="connsiteX1" fmla="*/ 11113 w 82550"/>
                <a:gd name="connsiteY1" fmla="*/ 4763 h 50800"/>
                <a:gd name="connsiteX2" fmla="*/ 4763 w 82550"/>
                <a:gd name="connsiteY2" fmla="*/ 10477 h 50800"/>
                <a:gd name="connsiteX3" fmla="*/ 72707 w 82550"/>
                <a:gd name="connsiteY3" fmla="*/ 49847 h 50800"/>
                <a:gd name="connsiteX4" fmla="*/ 79057 w 8255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9057" y="44132"/>
                  </a:moveTo>
                  <a:lnTo>
                    <a:pt x="11113" y="4763"/>
                  </a:lnTo>
                  <a:cubicBezTo>
                    <a:pt x="9207" y="6667"/>
                    <a:pt x="7302" y="8572"/>
                    <a:pt x="4763" y="10477"/>
                  </a:cubicBezTo>
                  <a:lnTo>
                    <a:pt x="72707" y="49847"/>
                  </a:lnTo>
                  <a:cubicBezTo>
                    <a:pt x="74613" y="47942"/>
                    <a:pt x="77152" y="46038"/>
                    <a:pt x="7905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1" name="任意多边形: 形状 10530"/>
            <p:cNvSpPr/>
            <p:nvPr/>
          </p:nvSpPr>
          <p:spPr>
            <a:xfrm>
              <a:off x="6604953" y="1913573"/>
              <a:ext cx="82550" cy="50800"/>
            </a:xfrm>
            <a:custGeom>
              <a:avLst/>
              <a:gdLst>
                <a:gd name="connsiteX0" fmla="*/ 78422 w 82550"/>
                <a:gd name="connsiteY0" fmla="*/ 44132 h 50800"/>
                <a:gd name="connsiteX1" fmla="*/ 10478 w 82550"/>
                <a:gd name="connsiteY1" fmla="*/ 4763 h 50800"/>
                <a:gd name="connsiteX2" fmla="*/ 4763 w 82550"/>
                <a:gd name="connsiteY2" fmla="*/ 10477 h 50800"/>
                <a:gd name="connsiteX3" fmla="*/ 72707 w 82550"/>
                <a:gd name="connsiteY3" fmla="*/ 49848 h 50800"/>
                <a:gd name="connsiteX4" fmla="*/ 78422 w 8255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2"/>
                  </a:moveTo>
                  <a:lnTo>
                    <a:pt x="10478" y="4763"/>
                  </a:lnTo>
                  <a:cubicBezTo>
                    <a:pt x="8572" y="6667"/>
                    <a:pt x="6667" y="8573"/>
                    <a:pt x="4763" y="10477"/>
                  </a:cubicBezTo>
                  <a:lnTo>
                    <a:pt x="72707" y="49848"/>
                  </a:lnTo>
                  <a:cubicBezTo>
                    <a:pt x="74613" y="47942"/>
                    <a:pt x="76517" y="46038"/>
                    <a:pt x="7842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2" name="任意多边形: 形状 10531"/>
            <p:cNvSpPr/>
            <p:nvPr/>
          </p:nvSpPr>
          <p:spPr>
            <a:xfrm>
              <a:off x="6599238" y="1919288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10477 h 50800"/>
                <a:gd name="connsiteX3" fmla="*/ 72707 w 82550"/>
                <a:gd name="connsiteY3" fmla="*/ 49848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6667"/>
                    <a:pt x="6668" y="8573"/>
                    <a:pt x="4763" y="10477"/>
                  </a:cubicBezTo>
                  <a:lnTo>
                    <a:pt x="72707" y="49848"/>
                  </a:lnTo>
                  <a:cubicBezTo>
                    <a:pt x="74613" y="47942"/>
                    <a:pt x="76518" y="46038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3" name="任意多边形: 形状 10532"/>
            <p:cNvSpPr/>
            <p:nvPr/>
          </p:nvSpPr>
          <p:spPr>
            <a:xfrm>
              <a:off x="6593522" y="1925002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10477 h 50800"/>
                <a:gd name="connsiteX3" fmla="*/ 72708 w 82550"/>
                <a:gd name="connsiteY3" fmla="*/ 49848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6668"/>
                    <a:pt x="6668" y="8573"/>
                    <a:pt x="4763" y="10477"/>
                  </a:cubicBezTo>
                  <a:lnTo>
                    <a:pt x="72708" y="49848"/>
                  </a:lnTo>
                  <a:cubicBezTo>
                    <a:pt x="74613" y="48577"/>
                    <a:pt x="76518" y="46673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4" name="任意多边形: 形状 10533"/>
            <p:cNvSpPr/>
            <p:nvPr/>
          </p:nvSpPr>
          <p:spPr>
            <a:xfrm>
              <a:off x="6588443" y="1931352"/>
              <a:ext cx="82550" cy="50800"/>
            </a:xfrm>
            <a:custGeom>
              <a:avLst/>
              <a:gdLst>
                <a:gd name="connsiteX0" fmla="*/ 77788 w 82550"/>
                <a:gd name="connsiteY0" fmla="*/ 44133 h 50800"/>
                <a:gd name="connsiteX1" fmla="*/ 9842 w 82550"/>
                <a:gd name="connsiteY1" fmla="*/ 4763 h 50800"/>
                <a:gd name="connsiteX2" fmla="*/ 4763 w 82550"/>
                <a:gd name="connsiteY2" fmla="*/ 11113 h 50800"/>
                <a:gd name="connsiteX3" fmla="*/ 72707 w 82550"/>
                <a:gd name="connsiteY3" fmla="*/ 50483 h 50800"/>
                <a:gd name="connsiteX4" fmla="*/ 77788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7788" y="44133"/>
                  </a:moveTo>
                  <a:lnTo>
                    <a:pt x="9842" y="4763"/>
                  </a:lnTo>
                  <a:cubicBezTo>
                    <a:pt x="7938" y="6668"/>
                    <a:pt x="6032" y="8573"/>
                    <a:pt x="4763" y="11113"/>
                  </a:cubicBezTo>
                  <a:lnTo>
                    <a:pt x="72707" y="50483"/>
                  </a:lnTo>
                  <a:cubicBezTo>
                    <a:pt x="74613" y="47943"/>
                    <a:pt x="76517" y="46038"/>
                    <a:pt x="7778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5" name="任意多边形: 形状 10534"/>
            <p:cNvSpPr/>
            <p:nvPr/>
          </p:nvSpPr>
          <p:spPr>
            <a:xfrm>
              <a:off x="6583363" y="1937702"/>
              <a:ext cx="82550" cy="50800"/>
            </a:xfrm>
            <a:custGeom>
              <a:avLst/>
              <a:gdLst>
                <a:gd name="connsiteX0" fmla="*/ 77788 w 82550"/>
                <a:gd name="connsiteY0" fmla="*/ 44133 h 50800"/>
                <a:gd name="connsiteX1" fmla="*/ 9843 w 82550"/>
                <a:gd name="connsiteY1" fmla="*/ 4763 h 50800"/>
                <a:gd name="connsiteX2" fmla="*/ 4763 w 82550"/>
                <a:gd name="connsiteY2" fmla="*/ 11113 h 50800"/>
                <a:gd name="connsiteX3" fmla="*/ 72707 w 82550"/>
                <a:gd name="connsiteY3" fmla="*/ 50483 h 50800"/>
                <a:gd name="connsiteX4" fmla="*/ 77788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7788" y="44133"/>
                  </a:moveTo>
                  <a:lnTo>
                    <a:pt x="9843" y="4763"/>
                  </a:lnTo>
                  <a:cubicBezTo>
                    <a:pt x="7938" y="6668"/>
                    <a:pt x="6032" y="9208"/>
                    <a:pt x="4763" y="11113"/>
                  </a:cubicBezTo>
                  <a:lnTo>
                    <a:pt x="72707" y="50483"/>
                  </a:lnTo>
                  <a:cubicBezTo>
                    <a:pt x="74613" y="47943"/>
                    <a:pt x="75882" y="46038"/>
                    <a:pt x="7778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6" name="任意多边形: 形状 10535"/>
            <p:cNvSpPr/>
            <p:nvPr/>
          </p:nvSpPr>
          <p:spPr>
            <a:xfrm>
              <a:off x="6577647" y="1944052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12383 h 50800"/>
                <a:gd name="connsiteX3" fmla="*/ 72708 w 82550"/>
                <a:gd name="connsiteY3" fmla="*/ 51752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7302"/>
                    <a:pt x="6668" y="9843"/>
                    <a:pt x="4763" y="12383"/>
                  </a:cubicBezTo>
                  <a:lnTo>
                    <a:pt x="72708" y="51752"/>
                  </a:lnTo>
                  <a:cubicBezTo>
                    <a:pt x="74613" y="49213"/>
                    <a:pt x="76518" y="46673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7" name="任意多边形: 形状 10536"/>
            <p:cNvSpPr/>
            <p:nvPr/>
          </p:nvSpPr>
          <p:spPr>
            <a:xfrm>
              <a:off x="6569393" y="1951673"/>
              <a:ext cx="82550" cy="57150"/>
            </a:xfrm>
            <a:custGeom>
              <a:avLst/>
              <a:gdLst>
                <a:gd name="connsiteX0" fmla="*/ 80963 w 82550"/>
                <a:gd name="connsiteY0" fmla="*/ 44132 h 57150"/>
                <a:gd name="connsiteX1" fmla="*/ 13017 w 82550"/>
                <a:gd name="connsiteY1" fmla="*/ 4763 h 57150"/>
                <a:gd name="connsiteX2" fmla="*/ 4763 w 82550"/>
                <a:gd name="connsiteY2" fmla="*/ 16192 h 57150"/>
                <a:gd name="connsiteX3" fmla="*/ 72707 w 82550"/>
                <a:gd name="connsiteY3" fmla="*/ 55563 h 57150"/>
                <a:gd name="connsiteX4" fmla="*/ 80963 w 82550"/>
                <a:gd name="connsiteY4" fmla="*/ 4413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7150">
                  <a:moveTo>
                    <a:pt x="80963" y="44132"/>
                  </a:moveTo>
                  <a:lnTo>
                    <a:pt x="13017" y="4763"/>
                  </a:lnTo>
                  <a:cubicBezTo>
                    <a:pt x="10477" y="8573"/>
                    <a:pt x="7302" y="12382"/>
                    <a:pt x="4763" y="16192"/>
                  </a:cubicBezTo>
                  <a:lnTo>
                    <a:pt x="72707" y="55563"/>
                  </a:lnTo>
                  <a:cubicBezTo>
                    <a:pt x="75247" y="51752"/>
                    <a:pt x="77788" y="47942"/>
                    <a:pt x="8096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8" name="任意多边形: 形状 10537"/>
            <p:cNvSpPr/>
            <p:nvPr/>
          </p:nvSpPr>
          <p:spPr>
            <a:xfrm>
              <a:off x="6558597" y="1963738"/>
              <a:ext cx="82550" cy="63500"/>
            </a:xfrm>
            <a:custGeom>
              <a:avLst/>
              <a:gdLst>
                <a:gd name="connsiteX0" fmla="*/ 83503 w 82550"/>
                <a:gd name="connsiteY0" fmla="*/ 44133 h 63500"/>
                <a:gd name="connsiteX1" fmla="*/ 15558 w 82550"/>
                <a:gd name="connsiteY1" fmla="*/ 4763 h 63500"/>
                <a:gd name="connsiteX2" fmla="*/ 4763 w 82550"/>
                <a:gd name="connsiteY2" fmla="*/ 21908 h 63500"/>
                <a:gd name="connsiteX3" fmla="*/ 72708 w 82550"/>
                <a:gd name="connsiteY3" fmla="*/ 61277 h 63500"/>
                <a:gd name="connsiteX4" fmla="*/ 83503 w 82550"/>
                <a:gd name="connsiteY4" fmla="*/ 44133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63500">
                  <a:moveTo>
                    <a:pt x="83503" y="44133"/>
                  </a:moveTo>
                  <a:lnTo>
                    <a:pt x="15558" y="4763"/>
                  </a:lnTo>
                  <a:cubicBezTo>
                    <a:pt x="11747" y="10477"/>
                    <a:pt x="7938" y="16192"/>
                    <a:pt x="4763" y="21908"/>
                  </a:cubicBezTo>
                  <a:lnTo>
                    <a:pt x="72708" y="61277"/>
                  </a:lnTo>
                  <a:cubicBezTo>
                    <a:pt x="75883" y="54927"/>
                    <a:pt x="79693" y="49213"/>
                    <a:pt x="8350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9" name="任意多边形: 形状 10538"/>
            <p:cNvSpPr/>
            <p:nvPr/>
          </p:nvSpPr>
          <p:spPr>
            <a:xfrm>
              <a:off x="6552247" y="1980883"/>
              <a:ext cx="82550" cy="57150"/>
            </a:xfrm>
            <a:custGeom>
              <a:avLst/>
              <a:gdLst>
                <a:gd name="connsiteX0" fmla="*/ 79058 w 82550"/>
                <a:gd name="connsiteY0" fmla="*/ 44132 h 57150"/>
                <a:gd name="connsiteX1" fmla="*/ 11113 w 82550"/>
                <a:gd name="connsiteY1" fmla="*/ 4763 h 57150"/>
                <a:gd name="connsiteX2" fmla="*/ 4763 w 82550"/>
                <a:gd name="connsiteY2" fmla="*/ 16192 h 57150"/>
                <a:gd name="connsiteX3" fmla="*/ 72708 w 82550"/>
                <a:gd name="connsiteY3" fmla="*/ 55563 h 57150"/>
                <a:gd name="connsiteX4" fmla="*/ 79058 w 82550"/>
                <a:gd name="connsiteY4" fmla="*/ 4413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7150">
                  <a:moveTo>
                    <a:pt x="79058" y="44132"/>
                  </a:moveTo>
                  <a:lnTo>
                    <a:pt x="11113" y="4763"/>
                  </a:lnTo>
                  <a:cubicBezTo>
                    <a:pt x="9208" y="8572"/>
                    <a:pt x="6668" y="12382"/>
                    <a:pt x="4763" y="16192"/>
                  </a:cubicBezTo>
                  <a:lnTo>
                    <a:pt x="72708" y="55563"/>
                  </a:lnTo>
                  <a:cubicBezTo>
                    <a:pt x="74613" y="51752"/>
                    <a:pt x="76518" y="47942"/>
                    <a:pt x="7905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0" name="任意多边形: 形状 10539"/>
            <p:cNvSpPr/>
            <p:nvPr/>
          </p:nvSpPr>
          <p:spPr>
            <a:xfrm>
              <a:off x="6547168" y="1992313"/>
              <a:ext cx="76200" cy="57150"/>
            </a:xfrm>
            <a:custGeom>
              <a:avLst/>
              <a:gdLst>
                <a:gd name="connsiteX0" fmla="*/ 77152 w 76200"/>
                <a:gd name="connsiteY0" fmla="*/ 44133 h 57150"/>
                <a:gd name="connsiteX1" fmla="*/ 9207 w 76200"/>
                <a:gd name="connsiteY1" fmla="*/ 4763 h 57150"/>
                <a:gd name="connsiteX2" fmla="*/ 4763 w 76200"/>
                <a:gd name="connsiteY2" fmla="*/ 13017 h 57150"/>
                <a:gd name="connsiteX3" fmla="*/ 72707 w 76200"/>
                <a:gd name="connsiteY3" fmla="*/ 52388 h 57150"/>
                <a:gd name="connsiteX4" fmla="*/ 77152 w 76200"/>
                <a:gd name="connsiteY4" fmla="*/ 4413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7150">
                  <a:moveTo>
                    <a:pt x="77152" y="44133"/>
                  </a:moveTo>
                  <a:lnTo>
                    <a:pt x="9207" y="4763"/>
                  </a:lnTo>
                  <a:cubicBezTo>
                    <a:pt x="7938" y="7302"/>
                    <a:pt x="6667" y="9842"/>
                    <a:pt x="4763" y="13017"/>
                  </a:cubicBezTo>
                  <a:lnTo>
                    <a:pt x="72707" y="52388"/>
                  </a:lnTo>
                  <a:cubicBezTo>
                    <a:pt x="74613" y="49213"/>
                    <a:pt x="75882" y="46673"/>
                    <a:pt x="7715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1" name="任意多边形: 形状 10540"/>
            <p:cNvSpPr/>
            <p:nvPr/>
          </p:nvSpPr>
          <p:spPr>
            <a:xfrm>
              <a:off x="6544628" y="1999933"/>
              <a:ext cx="76200" cy="50800"/>
            </a:xfrm>
            <a:custGeom>
              <a:avLst/>
              <a:gdLst>
                <a:gd name="connsiteX0" fmla="*/ 75882 w 76200"/>
                <a:gd name="connsiteY0" fmla="*/ 44132 h 50800"/>
                <a:gd name="connsiteX1" fmla="*/ 7938 w 76200"/>
                <a:gd name="connsiteY1" fmla="*/ 4763 h 50800"/>
                <a:gd name="connsiteX2" fmla="*/ 4763 w 76200"/>
                <a:gd name="connsiteY2" fmla="*/ 11747 h 50800"/>
                <a:gd name="connsiteX3" fmla="*/ 72707 w 76200"/>
                <a:gd name="connsiteY3" fmla="*/ 51117 h 50800"/>
                <a:gd name="connsiteX4" fmla="*/ 75882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2" y="44132"/>
                  </a:moveTo>
                  <a:lnTo>
                    <a:pt x="7938" y="4763"/>
                  </a:lnTo>
                  <a:cubicBezTo>
                    <a:pt x="6667" y="6667"/>
                    <a:pt x="6032" y="9207"/>
                    <a:pt x="4763" y="11747"/>
                  </a:cubicBezTo>
                  <a:lnTo>
                    <a:pt x="72707" y="51117"/>
                  </a:lnTo>
                  <a:cubicBezTo>
                    <a:pt x="73342" y="48577"/>
                    <a:pt x="74613" y="46672"/>
                    <a:pt x="7588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2" name="任意多边形: 形状 10541"/>
            <p:cNvSpPr/>
            <p:nvPr/>
          </p:nvSpPr>
          <p:spPr>
            <a:xfrm>
              <a:off x="6541453" y="2006917"/>
              <a:ext cx="76200" cy="50800"/>
            </a:xfrm>
            <a:custGeom>
              <a:avLst/>
              <a:gdLst>
                <a:gd name="connsiteX0" fmla="*/ 75882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11113 h 50800"/>
                <a:gd name="connsiteX3" fmla="*/ 72707 w 76200"/>
                <a:gd name="connsiteY3" fmla="*/ 50483 h 50800"/>
                <a:gd name="connsiteX4" fmla="*/ 7588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2" y="44133"/>
                  </a:moveTo>
                  <a:lnTo>
                    <a:pt x="7938" y="4763"/>
                  </a:lnTo>
                  <a:cubicBezTo>
                    <a:pt x="6667" y="6668"/>
                    <a:pt x="6032" y="9208"/>
                    <a:pt x="4763" y="11113"/>
                  </a:cubicBezTo>
                  <a:lnTo>
                    <a:pt x="72707" y="50483"/>
                  </a:lnTo>
                  <a:cubicBezTo>
                    <a:pt x="73978" y="48578"/>
                    <a:pt x="74613" y="46038"/>
                    <a:pt x="7588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3" name="任意多边形: 形状 10542"/>
            <p:cNvSpPr/>
            <p:nvPr/>
          </p:nvSpPr>
          <p:spPr>
            <a:xfrm>
              <a:off x="6538913" y="2013267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11113 h 50800"/>
                <a:gd name="connsiteX3" fmla="*/ 72707 w 76200"/>
                <a:gd name="connsiteY3" fmla="*/ 50483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6668"/>
                    <a:pt x="5397" y="9208"/>
                    <a:pt x="4763" y="11113"/>
                  </a:cubicBezTo>
                  <a:lnTo>
                    <a:pt x="72707" y="50483"/>
                  </a:lnTo>
                  <a:cubicBezTo>
                    <a:pt x="73343" y="48578"/>
                    <a:pt x="74613" y="4603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4" name="任意多边形: 形状 10543"/>
            <p:cNvSpPr/>
            <p:nvPr/>
          </p:nvSpPr>
          <p:spPr>
            <a:xfrm>
              <a:off x="6536372" y="2019617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11113 h 50800"/>
                <a:gd name="connsiteX3" fmla="*/ 72708 w 76200"/>
                <a:gd name="connsiteY3" fmla="*/ 50483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6668"/>
                    <a:pt x="5397" y="9208"/>
                    <a:pt x="4763" y="11113"/>
                  </a:cubicBezTo>
                  <a:lnTo>
                    <a:pt x="72708" y="50483"/>
                  </a:lnTo>
                  <a:cubicBezTo>
                    <a:pt x="73343" y="47943"/>
                    <a:pt x="74613" y="4603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5" name="任意多边形: 形状 10544"/>
            <p:cNvSpPr/>
            <p:nvPr/>
          </p:nvSpPr>
          <p:spPr>
            <a:xfrm>
              <a:off x="6533832" y="2025967"/>
              <a:ext cx="76200" cy="50800"/>
            </a:xfrm>
            <a:custGeom>
              <a:avLst/>
              <a:gdLst>
                <a:gd name="connsiteX0" fmla="*/ 75248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11113 h 50800"/>
                <a:gd name="connsiteX3" fmla="*/ 72708 w 76200"/>
                <a:gd name="connsiteY3" fmla="*/ 50483 h 50800"/>
                <a:gd name="connsiteX4" fmla="*/ 7524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6668"/>
                    <a:pt x="5398" y="9208"/>
                    <a:pt x="4763" y="11113"/>
                  </a:cubicBezTo>
                  <a:lnTo>
                    <a:pt x="72708" y="50483"/>
                  </a:lnTo>
                  <a:cubicBezTo>
                    <a:pt x="73343" y="47943"/>
                    <a:pt x="74613" y="46038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6" name="任意多边形: 形状 10545"/>
            <p:cNvSpPr/>
            <p:nvPr/>
          </p:nvSpPr>
          <p:spPr>
            <a:xfrm>
              <a:off x="6531293" y="2032317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2 w 76200"/>
                <a:gd name="connsiteY1" fmla="*/ 4763 h 50800"/>
                <a:gd name="connsiteX2" fmla="*/ 4763 w 76200"/>
                <a:gd name="connsiteY2" fmla="*/ 11113 h 50800"/>
                <a:gd name="connsiteX3" fmla="*/ 72707 w 76200"/>
                <a:gd name="connsiteY3" fmla="*/ 50483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6668"/>
                    <a:pt x="6032" y="9208"/>
                    <a:pt x="4763" y="11113"/>
                  </a:cubicBezTo>
                  <a:lnTo>
                    <a:pt x="72707" y="50483"/>
                  </a:lnTo>
                  <a:cubicBezTo>
                    <a:pt x="73977" y="48578"/>
                    <a:pt x="74613" y="4603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7" name="任意多边形: 形状 10546"/>
            <p:cNvSpPr/>
            <p:nvPr/>
          </p:nvSpPr>
          <p:spPr>
            <a:xfrm>
              <a:off x="6530022" y="2038667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8 w 76200"/>
                <a:gd name="connsiteY1" fmla="*/ 4763 h 50800"/>
                <a:gd name="connsiteX2" fmla="*/ 4763 w 76200"/>
                <a:gd name="connsiteY2" fmla="*/ 11748 h 50800"/>
                <a:gd name="connsiteX3" fmla="*/ 72708 w 76200"/>
                <a:gd name="connsiteY3" fmla="*/ 51118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8" y="4763"/>
                  </a:lnTo>
                  <a:cubicBezTo>
                    <a:pt x="6033" y="7303"/>
                    <a:pt x="5397" y="9208"/>
                    <a:pt x="4763" y="11748"/>
                  </a:cubicBezTo>
                  <a:lnTo>
                    <a:pt x="72708" y="51118"/>
                  </a:lnTo>
                  <a:cubicBezTo>
                    <a:pt x="72708" y="48578"/>
                    <a:pt x="73343" y="46673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8" name="任意多边形: 形状 10547"/>
            <p:cNvSpPr/>
            <p:nvPr/>
          </p:nvSpPr>
          <p:spPr>
            <a:xfrm>
              <a:off x="6527482" y="2045652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8 w 76200"/>
                <a:gd name="connsiteY1" fmla="*/ 4763 h 50800"/>
                <a:gd name="connsiteX2" fmla="*/ 4763 w 76200"/>
                <a:gd name="connsiteY2" fmla="*/ 11748 h 50800"/>
                <a:gd name="connsiteX3" fmla="*/ 72708 w 76200"/>
                <a:gd name="connsiteY3" fmla="*/ 51118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8" y="4763"/>
                  </a:lnTo>
                  <a:cubicBezTo>
                    <a:pt x="6033" y="7302"/>
                    <a:pt x="5398" y="9208"/>
                    <a:pt x="4763" y="11748"/>
                  </a:cubicBezTo>
                  <a:lnTo>
                    <a:pt x="72708" y="51118"/>
                  </a:lnTo>
                  <a:cubicBezTo>
                    <a:pt x="73343" y="48577"/>
                    <a:pt x="73978" y="46038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9" name="任意多边形: 形状 10548"/>
            <p:cNvSpPr/>
            <p:nvPr/>
          </p:nvSpPr>
          <p:spPr>
            <a:xfrm>
              <a:off x="6525578" y="2052638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7 w 76200"/>
                <a:gd name="connsiteY1" fmla="*/ 4763 h 50800"/>
                <a:gd name="connsiteX2" fmla="*/ 4763 w 76200"/>
                <a:gd name="connsiteY2" fmla="*/ 11748 h 50800"/>
                <a:gd name="connsiteX3" fmla="*/ 72707 w 76200"/>
                <a:gd name="connsiteY3" fmla="*/ 51117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7" y="4763"/>
                  </a:lnTo>
                  <a:cubicBezTo>
                    <a:pt x="6032" y="7302"/>
                    <a:pt x="5397" y="9208"/>
                    <a:pt x="4763" y="11748"/>
                  </a:cubicBezTo>
                  <a:lnTo>
                    <a:pt x="72707" y="51117"/>
                  </a:lnTo>
                  <a:cubicBezTo>
                    <a:pt x="73342" y="48577"/>
                    <a:pt x="73978" y="46038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0" name="任意多边形: 形状 10549"/>
            <p:cNvSpPr/>
            <p:nvPr/>
          </p:nvSpPr>
          <p:spPr>
            <a:xfrm>
              <a:off x="6524307" y="2058988"/>
              <a:ext cx="76200" cy="50800"/>
            </a:xfrm>
            <a:custGeom>
              <a:avLst/>
              <a:gdLst>
                <a:gd name="connsiteX0" fmla="*/ 73978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397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3"/>
                  </a:moveTo>
                  <a:lnTo>
                    <a:pt x="6033" y="4763"/>
                  </a:lnTo>
                  <a:cubicBezTo>
                    <a:pt x="5398" y="6033"/>
                    <a:pt x="5398" y="7938"/>
                    <a:pt x="4763" y="9208"/>
                  </a:cubicBezTo>
                  <a:lnTo>
                    <a:pt x="72708" y="48577"/>
                  </a:lnTo>
                  <a:cubicBezTo>
                    <a:pt x="73343" y="47308"/>
                    <a:pt x="73978" y="46038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1" name="任意多边形: 形状 10550"/>
            <p:cNvSpPr/>
            <p:nvPr/>
          </p:nvSpPr>
          <p:spPr>
            <a:xfrm>
              <a:off x="6397308" y="2219008"/>
              <a:ext cx="76200" cy="50800"/>
            </a:xfrm>
            <a:custGeom>
              <a:avLst/>
              <a:gdLst>
                <a:gd name="connsiteX0" fmla="*/ 75247 w 76200"/>
                <a:gd name="connsiteY0" fmla="*/ 44132 h 50800"/>
                <a:gd name="connsiteX1" fmla="*/ 7302 w 76200"/>
                <a:gd name="connsiteY1" fmla="*/ 4763 h 50800"/>
                <a:gd name="connsiteX2" fmla="*/ 4763 w 76200"/>
                <a:gd name="connsiteY2" fmla="*/ 6667 h 50800"/>
                <a:gd name="connsiteX3" fmla="*/ 72708 w 76200"/>
                <a:gd name="connsiteY3" fmla="*/ 46038 h 50800"/>
                <a:gd name="connsiteX4" fmla="*/ 7524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2"/>
                  </a:moveTo>
                  <a:lnTo>
                    <a:pt x="7302" y="4763"/>
                  </a:lnTo>
                  <a:cubicBezTo>
                    <a:pt x="6667" y="5397"/>
                    <a:pt x="6033" y="6032"/>
                    <a:pt x="4763" y="6667"/>
                  </a:cubicBezTo>
                  <a:lnTo>
                    <a:pt x="72708" y="46038"/>
                  </a:lnTo>
                  <a:cubicBezTo>
                    <a:pt x="73977" y="45402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2" name="任意多边形: 形状 10551"/>
            <p:cNvSpPr/>
            <p:nvPr/>
          </p:nvSpPr>
          <p:spPr>
            <a:xfrm>
              <a:off x="6393497" y="2220913"/>
              <a:ext cx="76200" cy="50800"/>
            </a:xfrm>
            <a:custGeom>
              <a:avLst/>
              <a:gdLst>
                <a:gd name="connsiteX0" fmla="*/ 77153 w 76200"/>
                <a:gd name="connsiteY0" fmla="*/ 44133 h 50800"/>
                <a:gd name="connsiteX1" fmla="*/ 9208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715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7153" y="44133"/>
                  </a:moveTo>
                  <a:lnTo>
                    <a:pt x="9208" y="4763"/>
                  </a:lnTo>
                  <a:cubicBezTo>
                    <a:pt x="7938" y="6033"/>
                    <a:pt x="6668" y="7302"/>
                    <a:pt x="4763" y="8573"/>
                  </a:cubicBezTo>
                  <a:lnTo>
                    <a:pt x="72708" y="47942"/>
                  </a:lnTo>
                  <a:cubicBezTo>
                    <a:pt x="73978" y="46038"/>
                    <a:pt x="75248" y="45402"/>
                    <a:pt x="7715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3" name="任意多边形: 形状 10552"/>
            <p:cNvSpPr/>
            <p:nvPr/>
          </p:nvSpPr>
          <p:spPr>
            <a:xfrm>
              <a:off x="6389688" y="2224088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2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2" y="4763"/>
                  </a:lnTo>
                  <a:cubicBezTo>
                    <a:pt x="7303" y="6033"/>
                    <a:pt x="6033" y="7302"/>
                    <a:pt x="4763" y="8573"/>
                  </a:cubicBezTo>
                  <a:lnTo>
                    <a:pt x="72708" y="47942"/>
                  </a:lnTo>
                  <a:cubicBezTo>
                    <a:pt x="73978" y="46673"/>
                    <a:pt x="75247" y="45402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4" name="任意多边形: 形状 10553"/>
            <p:cNvSpPr/>
            <p:nvPr/>
          </p:nvSpPr>
          <p:spPr>
            <a:xfrm>
              <a:off x="6385878" y="2227898"/>
              <a:ext cx="76200" cy="50800"/>
            </a:xfrm>
            <a:custGeom>
              <a:avLst/>
              <a:gdLst>
                <a:gd name="connsiteX0" fmla="*/ 76517 w 76200"/>
                <a:gd name="connsiteY0" fmla="*/ 44132 h 50800"/>
                <a:gd name="connsiteX1" fmla="*/ 8572 w 76200"/>
                <a:gd name="connsiteY1" fmla="*/ 4763 h 50800"/>
                <a:gd name="connsiteX2" fmla="*/ 4763 w 76200"/>
                <a:gd name="connsiteY2" fmla="*/ 8573 h 50800"/>
                <a:gd name="connsiteX3" fmla="*/ 72707 w 76200"/>
                <a:gd name="connsiteY3" fmla="*/ 47942 h 50800"/>
                <a:gd name="connsiteX4" fmla="*/ 7651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2"/>
                  </a:moveTo>
                  <a:lnTo>
                    <a:pt x="8572" y="4763"/>
                  </a:lnTo>
                  <a:cubicBezTo>
                    <a:pt x="7302" y="6032"/>
                    <a:pt x="6032" y="7302"/>
                    <a:pt x="4763" y="8573"/>
                  </a:cubicBezTo>
                  <a:lnTo>
                    <a:pt x="72707" y="47942"/>
                  </a:lnTo>
                  <a:cubicBezTo>
                    <a:pt x="73342" y="46673"/>
                    <a:pt x="74613" y="45402"/>
                    <a:pt x="7651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5" name="任意多边形: 形状 10554"/>
            <p:cNvSpPr/>
            <p:nvPr/>
          </p:nvSpPr>
          <p:spPr>
            <a:xfrm>
              <a:off x="6381433" y="2232342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2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2" y="4763"/>
                  </a:lnTo>
                  <a:cubicBezTo>
                    <a:pt x="7302" y="6033"/>
                    <a:pt x="6033" y="7303"/>
                    <a:pt x="4763" y="8573"/>
                  </a:cubicBezTo>
                  <a:lnTo>
                    <a:pt x="72708" y="47943"/>
                  </a:lnTo>
                  <a:cubicBezTo>
                    <a:pt x="73977" y="46673"/>
                    <a:pt x="75247" y="45403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6" name="任意多边形: 形状 10555"/>
            <p:cNvSpPr/>
            <p:nvPr/>
          </p:nvSpPr>
          <p:spPr>
            <a:xfrm>
              <a:off x="6377622" y="2236152"/>
              <a:ext cx="76200" cy="50800"/>
            </a:xfrm>
            <a:custGeom>
              <a:avLst/>
              <a:gdLst>
                <a:gd name="connsiteX0" fmla="*/ 76518 w 76200"/>
                <a:gd name="connsiteY0" fmla="*/ 44133 h 50800"/>
                <a:gd name="connsiteX1" fmla="*/ 857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651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8" y="44133"/>
                  </a:moveTo>
                  <a:lnTo>
                    <a:pt x="8573" y="4763"/>
                  </a:lnTo>
                  <a:cubicBezTo>
                    <a:pt x="7303" y="6033"/>
                    <a:pt x="6033" y="7302"/>
                    <a:pt x="4763" y="8573"/>
                  </a:cubicBezTo>
                  <a:lnTo>
                    <a:pt x="72708" y="47943"/>
                  </a:lnTo>
                  <a:cubicBezTo>
                    <a:pt x="74613" y="46673"/>
                    <a:pt x="75248" y="45402"/>
                    <a:pt x="7651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7" name="任意多边形: 形状 10556"/>
            <p:cNvSpPr/>
            <p:nvPr/>
          </p:nvSpPr>
          <p:spPr>
            <a:xfrm>
              <a:off x="6374447" y="2239963"/>
              <a:ext cx="76200" cy="50800"/>
            </a:xfrm>
            <a:custGeom>
              <a:avLst/>
              <a:gdLst>
                <a:gd name="connsiteX0" fmla="*/ 76518 w 76200"/>
                <a:gd name="connsiteY0" fmla="*/ 44133 h 50800"/>
                <a:gd name="connsiteX1" fmla="*/ 8573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651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8" y="44133"/>
                  </a:moveTo>
                  <a:lnTo>
                    <a:pt x="8573" y="4763"/>
                  </a:lnTo>
                  <a:cubicBezTo>
                    <a:pt x="7303" y="6033"/>
                    <a:pt x="6033" y="7302"/>
                    <a:pt x="4763" y="9208"/>
                  </a:cubicBezTo>
                  <a:lnTo>
                    <a:pt x="72708" y="48577"/>
                  </a:lnTo>
                  <a:cubicBezTo>
                    <a:pt x="73978" y="46673"/>
                    <a:pt x="75248" y="45402"/>
                    <a:pt x="7651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8" name="任意多边形: 形状 10557"/>
            <p:cNvSpPr/>
            <p:nvPr/>
          </p:nvSpPr>
          <p:spPr>
            <a:xfrm>
              <a:off x="6370638" y="2244408"/>
              <a:ext cx="76200" cy="50800"/>
            </a:xfrm>
            <a:custGeom>
              <a:avLst/>
              <a:gdLst>
                <a:gd name="connsiteX0" fmla="*/ 76517 w 76200"/>
                <a:gd name="connsiteY0" fmla="*/ 44132 h 50800"/>
                <a:gd name="connsiteX1" fmla="*/ 8572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651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2"/>
                  </a:moveTo>
                  <a:lnTo>
                    <a:pt x="8572" y="4763"/>
                  </a:lnTo>
                  <a:cubicBezTo>
                    <a:pt x="7303" y="6032"/>
                    <a:pt x="6033" y="7938"/>
                    <a:pt x="4763" y="9207"/>
                  </a:cubicBezTo>
                  <a:lnTo>
                    <a:pt x="72708" y="48577"/>
                  </a:lnTo>
                  <a:cubicBezTo>
                    <a:pt x="73978" y="46672"/>
                    <a:pt x="75247" y="45402"/>
                    <a:pt x="7651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9" name="任意多边形: 形状 10558"/>
            <p:cNvSpPr/>
            <p:nvPr/>
          </p:nvSpPr>
          <p:spPr>
            <a:xfrm>
              <a:off x="6366828" y="2248852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2 w 76200"/>
                <a:gd name="connsiteY1" fmla="*/ 4763 h 50800"/>
                <a:gd name="connsiteX2" fmla="*/ 4763 w 76200"/>
                <a:gd name="connsiteY2" fmla="*/ 9843 h 50800"/>
                <a:gd name="connsiteX3" fmla="*/ 72707 w 76200"/>
                <a:gd name="connsiteY3" fmla="*/ 49213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2" y="4763"/>
                  </a:lnTo>
                  <a:cubicBezTo>
                    <a:pt x="7302" y="6668"/>
                    <a:pt x="6032" y="7938"/>
                    <a:pt x="4763" y="9843"/>
                  </a:cubicBezTo>
                  <a:lnTo>
                    <a:pt x="72707" y="49213"/>
                  </a:lnTo>
                  <a:cubicBezTo>
                    <a:pt x="73977" y="47308"/>
                    <a:pt x="75247" y="45402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0" name="任意多边形: 形状 10559"/>
            <p:cNvSpPr/>
            <p:nvPr/>
          </p:nvSpPr>
          <p:spPr>
            <a:xfrm>
              <a:off x="6361747" y="2253933"/>
              <a:ext cx="82550" cy="50800"/>
            </a:xfrm>
            <a:custGeom>
              <a:avLst/>
              <a:gdLst>
                <a:gd name="connsiteX0" fmla="*/ 77788 w 82550"/>
                <a:gd name="connsiteY0" fmla="*/ 44132 h 50800"/>
                <a:gd name="connsiteX1" fmla="*/ 9843 w 82550"/>
                <a:gd name="connsiteY1" fmla="*/ 4763 h 50800"/>
                <a:gd name="connsiteX2" fmla="*/ 4763 w 82550"/>
                <a:gd name="connsiteY2" fmla="*/ 12382 h 50800"/>
                <a:gd name="connsiteX3" fmla="*/ 72708 w 82550"/>
                <a:gd name="connsiteY3" fmla="*/ 51752 h 50800"/>
                <a:gd name="connsiteX4" fmla="*/ 77788 w 8255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7788" y="44132"/>
                  </a:moveTo>
                  <a:lnTo>
                    <a:pt x="9843" y="4763"/>
                  </a:lnTo>
                  <a:cubicBezTo>
                    <a:pt x="7938" y="7302"/>
                    <a:pt x="6033" y="9842"/>
                    <a:pt x="4763" y="12382"/>
                  </a:cubicBezTo>
                  <a:lnTo>
                    <a:pt x="72708" y="51752"/>
                  </a:lnTo>
                  <a:cubicBezTo>
                    <a:pt x="74613" y="48577"/>
                    <a:pt x="76518" y="46038"/>
                    <a:pt x="7778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1" name="任意多边形: 形状 10560"/>
            <p:cNvSpPr/>
            <p:nvPr/>
          </p:nvSpPr>
          <p:spPr>
            <a:xfrm>
              <a:off x="6354128" y="2260917"/>
              <a:ext cx="82550" cy="57150"/>
            </a:xfrm>
            <a:custGeom>
              <a:avLst/>
              <a:gdLst>
                <a:gd name="connsiteX0" fmla="*/ 80327 w 82550"/>
                <a:gd name="connsiteY0" fmla="*/ 44133 h 57150"/>
                <a:gd name="connsiteX1" fmla="*/ 12382 w 82550"/>
                <a:gd name="connsiteY1" fmla="*/ 4763 h 57150"/>
                <a:gd name="connsiteX2" fmla="*/ 4763 w 82550"/>
                <a:gd name="connsiteY2" fmla="*/ 16193 h 57150"/>
                <a:gd name="connsiteX3" fmla="*/ 72707 w 82550"/>
                <a:gd name="connsiteY3" fmla="*/ 55563 h 57150"/>
                <a:gd name="connsiteX4" fmla="*/ 80327 w 82550"/>
                <a:gd name="connsiteY4" fmla="*/ 4413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7150">
                  <a:moveTo>
                    <a:pt x="80327" y="44133"/>
                  </a:moveTo>
                  <a:lnTo>
                    <a:pt x="12382" y="4763"/>
                  </a:lnTo>
                  <a:cubicBezTo>
                    <a:pt x="9842" y="8573"/>
                    <a:pt x="7302" y="12383"/>
                    <a:pt x="4763" y="16193"/>
                  </a:cubicBezTo>
                  <a:lnTo>
                    <a:pt x="72707" y="55563"/>
                  </a:lnTo>
                  <a:cubicBezTo>
                    <a:pt x="75247" y="51753"/>
                    <a:pt x="77788" y="47943"/>
                    <a:pt x="8032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2" name="任意多边形: 形状 10561"/>
            <p:cNvSpPr/>
            <p:nvPr/>
          </p:nvSpPr>
          <p:spPr>
            <a:xfrm>
              <a:off x="6349683" y="2272983"/>
              <a:ext cx="76200" cy="57150"/>
            </a:xfrm>
            <a:custGeom>
              <a:avLst/>
              <a:gdLst>
                <a:gd name="connsiteX0" fmla="*/ 77152 w 76200"/>
                <a:gd name="connsiteY0" fmla="*/ 44132 h 57150"/>
                <a:gd name="connsiteX1" fmla="*/ 9208 w 76200"/>
                <a:gd name="connsiteY1" fmla="*/ 4763 h 57150"/>
                <a:gd name="connsiteX2" fmla="*/ 4763 w 76200"/>
                <a:gd name="connsiteY2" fmla="*/ 13017 h 57150"/>
                <a:gd name="connsiteX3" fmla="*/ 72708 w 76200"/>
                <a:gd name="connsiteY3" fmla="*/ 52388 h 57150"/>
                <a:gd name="connsiteX4" fmla="*/ 77152 w 76200"/>
                <a:gd name="connsiteY4" fmla="*/ 4413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7150">
                  <a:moveTo>
                    <a:pt x="77152" y="44132"/>
                  </a:moveTo>
                  <a:lnTo>
                    <a:pt x="9208" y="4763"/>
                  </a:lnTo>
                  <a:cubicBezTo>
                    <a:pt x="7938" y="7302"/>
                    <a:pt x="6033" y="9842"/>
                    <a:pt x="4763" y="13017"/>
                  </a:cubicBezTo>
                  <a:lnTo>
                    <a:pt x="72708" y="52388"/>
                  </a:lnTo>
                  <a:cubicBezTo>
                    <a:pt x="74613" y="49213"/>
                    <a:pt x="75883" y="46672"/>
                    <a:pt x="7715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3" name="任意多边形: 形状 10562"/>
            <p:cNvSpPr/>
            <p:nvPr/>
          </p:nvSpPr>
          <p:spPr>
            <a:xfrm>
              <a:off x="6347142" y="2280602"/>
              <a:ext cx="76200" cy="50800"/>
            </a:xfrm>
            <a:custGeom>
              <a:avLst/>
              <a:gdLst>
                <a:gd name="connsiteX0" fmla="*/ 75248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9843 h 50800"/>
                <a:gd name="connsiteX3" fmla="*/ 72708 w 76200"/>
                <a:gd name="connsiteY3" fmla="*/ 49213 h 50800"/>
                <a:gd name="connsiteX4" fmla="*/ 7524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8" y="44133"/>
                  </a:moveTo>
                  <a:lnTo>
                    <a:pt x="7303" y="4763"/>
                  </a:lnTo>
                  <a:cubicBezTo>
                    <a:pt x="6667" y="6668"/>
                    <a:pt x="5398" y="8573"/>
                    <a:pt x="4763" y="9843"/>
                  </a:cubicBezTo>
                  <a:lnTo>
                    <a:pt x="72708" y="49213"/>
                  </a:lnTo>
                  <a:cubicBezTo>
                    <a:pt x="73342" y="47943"/>
                    <a:pt x="74613" y="46038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4" name="任意多边形: 形状 10563"/>
            <p:cNvSpPr/>
            <p:nvPr/>
          </p:nvSpPr>
          <p:spPr>
            <a:xfrm>
              <a:off x="6344603" y="2286317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2 w 76200"/>
                <a:gd name="connsiteY1" fmla="*/ 4763 h 50800"/>
                <a:gd name="connsiteX2" fmla="*/ 4763 w 76200"/>
                <a:gd name="connsiteY2" fmla="*/ 9208 h 50800"/>
                <a:gd name="connsiteX3" fmla="*/ 72707 w 76200"/>
                <a:gd name="connsiteY3" fmla="*/ 48578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6033"/>
                    <a:pt x="6032" y="7938"/>
                    <a:pt x="4763" y="9208"/>
                  </a:cubicBezTo>
                  <a:lnTo>
                    <a:pt x="72707" y="48578"/>
                  </a:lnTo>
                  <a:cubicBezTo>
                    <a:pt x="73977" y="47308"/>
                    <a:pt x="74613" y="4540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5" name="任意多边形: 形状 10564"/>
            <p:cNvSpPr/>
            <p:nvPr/>
          </p:nvSpPr>
          <p:spPr>
            <a:xfrm>
              <a:off x="6342697" y="2290763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8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8" y="4763"/>
                  </a:lnTo>
                  <a:cubicBezTo>
                    <a:pt x="6033" y="6033"/>
                    <a:pt x="5398" y="7302"/>
                    <a:pt x="4763" y="9208"/>
                  </a:cubicBezTo>
                  <a:lnTo>
                    <a:pt x="72708" y="48577"/>
                  </a:lnTo>
                  <a:cubicBezTo>
                    <a:pt x="73343" y="47308"/>
                    <a:pt x="73978" y="45402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6" name="任意多边形: 形状 10565"/>
            <p:cNvSpPr/>
            <p:nvPr/>
          </p:nvSpPr>
          <p:spPr>
            <a:xfrm>
              <a:off x="6340792" y="2295208"/>
              <a:ext cx="76200" cy="50800"/>
            </a:xfrm>
            <a:custGeom>
              <a:avLst/>
              <a:gdLst>
                <a:gd name="connsiteX0" fmla="*/ 74613 w 76200"/>
                <a:gd name="connsiteY0" fmla="*/ 44132 h 50800"/>
                <a:gd name="connsiteX1" fmla="*/ 6667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461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2"/>
                  </a:moveTo>
                  <a:lnTo>
                    <a:pt x="6667" y="4763"/>
                  </a:lnTo>
                  <a:cubicBezTo>
                    <a:pt x="6033" y="6032"/>
                    <a:pt x="5398" y="7302"/>
                    <a:pt x="4763" y="9207"/>
                  </a:cubicBezTo>
                  <a:lnTo>
                    <a:pt x="72708" y="48577"/>
                  </a:lnTo>
                  <a:cubicBezTo>
                    <a:pt x="73978" y="46672"/>
                    <a:pt x="73978" y="45402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7" name="任意多边形: 形状 10566"/>
            <p:cNvSpPr/>
            <p:nvPr/>
          </p:nvSpPr>
          <p:spPr>
            <a:xfrm>
              <a:off x="6339522" y="2299017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8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8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8" y="4763"/>
                  </a:lnTo>
                  <a:cubicBezTo>
                    <a:pt x="6033" y="6033"/>
                    <a:pt x="5398" y="7303"/>
                    <a:pt x="4763" y="9208"/>
                  </a:cubicBezTo>
                  <a:lnTo>
                    <a:pt x="72708" y="48578"/>
                  </a:lnTo>
                  <a:cubicBezTo>
                    <a:pt x="73343" y="47308"/>
                    <a:pt x="73978" y="46038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8" name="任意多边形: 形状 10567"/>
            <p:cNvSpPr/>
            <p:nvPr/>
          </p:nvSpPr>
          <p:spPr>
            <a:xfrm>
              <a:off x="6337617" y="2303463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7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7" y="4763"/>
                  </a:lnTo>
                  <a:cubicBezTo>
                    <a:pt x="6033" y="6033"/>
                    <a:pt x="5398" y="7302"/>
                    <a:pt x="4763" y="9208"/>
                  </a:cubicBezTo>
                  <a:lnTo>
                    <a:pt x="72708" y="48577"/>
                  </a:lnTo>
                  <a:cubicBezTo>
                    <a:pt x="73342" y="46673"/>
                    <a:pt x="73978" y="45402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9" name="任意多边形: 形状 10568"/>
            <p:cNvSpPr/>
            <p:nvPr/>
          </p:nvSpPr>
          <p:spPr>
            <a:xfrm>
              <a:off x="6336347" y="2307908"/>
              <a:ext cx="76200" cy="50800"/>
            </a:xfrm>
            <a:custGeom>
              <a:avLst/>
              <a:gdLst>
                <a:gd name="connsiteX0" fmla="*/ 73978 w 76200"/>
                <a:gd name="connsiteY0" fmla="*/ 44132 h 50800"/>
                <a:gd name="connsiteX1" fmla="*/ 6033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397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2"/>
                  </a:moveTo>
                  <a:lnTo>
                    <a:pt x="6033" y="4763"/>
                  </a:lnTo>
                  <a:cubicBezTo>
                    <a:pt x="5398" y="6032"/>
                    <a:pt x="4763" y="7938"/>
                    <a:pt x="4763" y="9207"/>
                  </a:cubicBezTo>
                  <a:lnTo>
                    <a:pt x="72708" y="48577"/>
                  </a:lnTo>
                  <a:cubicBezTo>
                    <a:pt x="73343" y="46672"/>
                    <a:pt x="73978" y="45402"/>
                    <a:pt x="7397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0" name="任意多边形: 形状 10569"/>
            <p:cNvSpPr/>
            <p:nvPr/>
          </p:nvSpPr>
          <p:spPr>
            <a:xfrm>
              <a:off x="6335078" y="2312352"/>
              <a:ext cx="76200" cy="50800"/>
            </a:xfrm>
            <a:custGeom>
              <a:avLst/>
              <a:gdLst>
                <a:gd name="connsiteX0" fmla="*/ 73977 w 76200"/>
                <a:gd name="connsiteY0" fmla="*/ 44133 h 50800"/>
                <a:gd name="connsiteX1" fmla="*/ 6032 w 76200"/>
                <a:gd name="connsiteY1" fmla="*/ 4763 h 50800"/>
                <a:gd name="connsiteX2" fmla="*/ 4763 w 76200"/>
                <a:gd name="connsiteY2" fmla="*/ 9208 h 50800"/>
                <a:gd name="connsiteX3" fmla="*/ 72707 w 76200"/>
                <a:gd name="connsiteY3" fmla="*/ 48577 h 50800"/>
                <a:gd name="connsiteX4" fmla="*/ 7397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7" y="44133"/>
                  </a:moveTo>
                  <a:lnTo>
                    <a:pt x="6032" y="4763"/>
                  </a:lnTo>
                  <a:cubicBezTo>
                    <a:pt x="5397" y="6033"/>
                    <a:pt x="4763" y="7938"/>
                    <a:pt x="4763" y="9208"/>
                  </a:cubicBezTo>
                  <a:lnTo>
                    <a:pt x="72707" y="48577"/>
                  </a:lnTo>
                  <a:cubicBezTo>
                    <a:pt x="72707" y="46673"/>
                    <a:pt x="73342" y="45402"/>
                    <a:pt x="7397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1" name="任意多边形: 形状 10570"/>
            <p:cNvSpPr/>
            <p:nvPr/>
          </p:nvSpPr>
          <p:spPr>
            <a:xfrm>
              <a:off x="6333808" y="2316798"/>
              <a:ext cx="76200" cy="50800"/>
            </a:xfrm>
            <a:custGeom>
              <a:avLst/>
              <a:gdLst>
                <a:gd name="connsiteX0" fmla="*/ 73977 w 76200"/>
                <a:gd name="connsiteY0" fmla="*/ 44132 h 50800"/>
                <a:gd name="connsiteX1" fmla="*/ 6033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397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7" y="44132"/>
                  </a:moveTo>
                  <a:lnTo>
                    <a:pt x="6033" y="4763"/>
                  </a:lnTo>
                  <a:cubicBezTo>
                    <a:pt x="5397" y="6032"/>
                    <a:pt x="5397" y="7938"/>
                    <a:pt x="4763" y="9207"/>
                  </a:cubicBezTo>
                  <a:lnTo>
                    <a:pt x="72708" y="48577"/>
                  </a:lnTo>
                  <a:cubicBezTo>
                    <a:pt x="72708" y="47307"/>
                    <a:pt x="73342" y="45402"/>
                    <a:pt x="7397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2" name="任意多边形: 形状 10571"/>
            <p:cNvSpPr/>
            <p:nvPr/>
          </p:nvSpPr>
          <p:spPr>
            <a:xfrm>
              <a:off x="6332538" y="2321242"/>
              <a:ext cx="76200" cy="50800"/>
            </a:xfrm>
            <a:custGeom>
              <a:avLst/>
              <a:gdLst>
                <a:gd name="connsiteX0" fmla="*/ 73978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8 h 50800"/>
                <a:gd name="connsiteX4" fmla="*/ 7397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3"/>
                  </a:moveTo>
                  <a:lnTo>
                    <a:pt x="6033" y="4763"/>
                  </a:lnTo>
                  <a:cubicBezTo>
                    <a:pt x="5397" y="6033"/>
                    <a:pt x="5397" y="7938"/>
                    <a:pt x="4763" y="9208"/>
                  </a:cubicBezTo>
                  <a:lnTo>
                    <a:pt x="72708" y="48578"/>
                  </a:lnTo>
                  <a:cubicBezTo>
                    <a:pt x="72708" y="47308"/>
                    <a:pt x="73342" y="45403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3" name="任意多边形: 形状 10572"/>
            <p:cNvSpPr/>
            <p:nvPr/>
          </p:nvSpPr>
          <p:spPr>
            <a:xfrm>
              <a:off x="6331267" y="2325688"/>
              <a:ext cx="76200" cy="50800"/>
            </a:xfrm>
            <a:custGeom>
              <a:avLst/>
              <a:gdLst>
                <a:gd name="connsiteX0" fmla="*/ 73978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397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3"/>
                  </a:moveTo>
                  <a:lnTo>
                    <a:pt x="6033" y="4763"/>
                  </a:lnTo>
                  <a:cubicBezTo>
                    <a:pt x="5398" y="6033"/>
                    <a:pt x="5398" y="7938"/>
                    <a:pt x="4763" y="9208"/>
                  </a:cubicBezTo>
                  <a:lnTo>
                    <a:pt x="72708" y="48577"/>
                  </a:lnTo>
                  <a:cubicBezTo>
                    <a:pt x="73342" y="47308"/>
                    <a:pt x="73342" y="46038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4" name="任意多边形: 形状 10573"/>
            <p:cNvSpPr/>
            <p:nvPr/>
          </p:nvSpPr>
          <p:spPr>
            <a:xfrm>
              <a:off x="6330633" y="2330133"/>
              <a:ext cx="76200" cy="50800"/>
            </a:xfrm>
            <a:custGeom>
              <a:avLst/>
              <a:gdLst>
                <a:gd name="connsiteX0" fmla="*/ 73342 w 76200"/>
                <a:gd name="connsiteY0" fmla="*/ 44132 h 50800"/>
                <a:gd name="connsiteX1" fmla="*/ 5397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3342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2"/>
                  </a:moveTo>
                  <a:lnTo>
                    <a:pt x="5397" y="4763"/>
                  </a:lnTo>
                  <a:cubicBezTo>
                    <a:pt x="4763" y="6032"/>
                    <a:pt x="4763" y="7938"/>
                    <a:pt x="4763" y="9207"/>
                  </a:cubicBezTo>
                  <a:lnTo>
                    <a:pt x="72708" y="48577"/>
                  </a:lnTo>
                  <a:cubicBezTo>
                    <a:pt x="72708" y="47307"/>
                    <a:pt x="73342" y="46038"/>
                    <a:pt x="7334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5" name="任意多边形: 形状 10574"/>
            <p:cNvSpPr/>
            <p:nvPr/>
          </p:nvSpPr>
          <p:spPr>
            <a:xfrm>
              <a:off x="6329997" y="2334577"/>
              <a:ext cx="76200" cy="50800"/>
            </a:xfrm>
            <a:custGeom>
              <a:avLst/>
              <a:gdLst>
                <a:gd name="connsiteX0" fmla="*/ 73343 w 76200"/>
                <a:gd name="connsiteY0" fmla="*/ 44133 h 50800"/>
                <a:gd name="connsiteX1" fmla="*/ 5398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334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3" y="44133"/>
                  </a:moveTo>
                  <a:lnTo>
                    <a:pt x="5398" y="4763"/>
                  </a:lnTo>
                  <a:cubicBezTo>
                    <a:pt x="5398" y="6033"/>
                    <a:pt x="4763" y="7938"/>
                    <a:pt x="4763" y="9208"/>
                  </a:cubicBezTo>
                  <a:lnTo>
                    <a:pt x="72708" y="48577"/>
                  </a:lnTo>
                  <a:cubicBezTo>
                    <a:pt x="72708" y="47308"/>
                    <a:pt x="72708" y="46038"/>
                    <a:pt x="7334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6" name="任意多边形: 形状 10575"/>
            <p:cNvSpPr/>
            <p:nvPr/>
          </p:nvSpPr>
          <p:spPr>
            <a:xfrm>
              <a:off x="6328728" y="2339023"/>
              <a:ext cx="76200" cy="50800"/>
            </a:xfrm>
            <a:custGeom>
              <a:avLst/>
              <a:gdLst>
                <a:gd name="connsiteX0" fmla="*/ 73342 w 76200"/>
                <a:gd name="connsiteY0" fmla="*/ 44132 h 50800"/>
                <a:gd name="connsiteX1" fmla="*/ 5397 w 76200"/>
                <a:gd name="connsiteY1" fmla="*/ 4763 h 50800"/>
                <a:gd name="connsiteX2" fmla="*/ 4763 w 76200"/>
                <a:gd name="connsiteY2" fmla="*/ 9207 h 50800"/>
                <a:gd name="connsiteX3" fmla="*/ 72707 w 76200"/>
                <a:gd name="connsiteY3" fmla="*/ 48577 h 50800"/>
                <a:gd name="connsiteX4" fmla="*/ 73342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2"/>
                  </a:moveTo>
                  <a:lnTo>
                    <a:pt x="5397" y="4763"/>
                  </a:lnTo>
                  <a:cubicBezTo>
                    <a:pt x="5397" y="6032"/>
                    <a:pt x="4763" y="7302"/>
                    <a:pt x="4763" y="9207"/>
                  </a:cubicBezTo>
                  <a:lnTo>
                    <a:pt x="72707" y="48577"/>
                  </a:lnTo>
                  <a:cubicBezTo>
                    <a:pt x="73342" y="47307"/>
                    <a:pt x="73342" y="45402"/>
                    <a:pt x="7334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7" name="任意多边形: 形状 10576"/>
            <p:cNvSpPr/>
            <p:nvPr/>
          </p:nvSpPr>
          <p:spPr>
            <a:xfrm>
              <a:off x="6328092" y="2343467"/>
              <a:ext cx="76200" cy="50800"/>
            </a:xfrm>
            <a:custGeom>
              <a:avLst/>
              <a:gdLst>
                <a:gd name="connsiteX0" fmla="*/ 73342 w 76200"/>
                <a:gd name="connsiteY0" fmla="*/ 44133 h 50800"/>
                <a:gd name="connsiteX1" fmla="*/ 5398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8 h 50800"/>
                <a:gd name="connsiteX4" fmla="*/ 7334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3"/>
                  </a:moveTo>
                  <a:lnTo>
                    <a:pt x="5398" y="4763"/>
                  </a:lnTo>
                  <a:cubicBezTo>
                    <a:pt x="5398" y="6033"/>
                    <a:pt x="4763" y="7303"/>
                    <a:pt x="4763" y="9208"/>
                  </a:cubicBezTo>
                  <a:lnTo>
                    <a:pt x="72708" y="48578"/>
                  </a:lnTo>
                  <a:cubicBezTo>
                    <a:pt x="73342" y="46673"/>
                    <a:pt x="73342" y="45403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8" name="任意多边形: 形状 10577"/>
            <p:cNvSpPr/>
            <p:nvPr/>
          </p:nvSpPr>
          <p:spPr>
            <a:xfrm>
              <a:off x="6328092" y="2347277"/>
              <a:ext cx="76200" cy="50800"/>
            </a:xfrm>
            <a:custGeom>
              <a:avLst/>
              <a:gdLst>
                <a:gd name="connsiteX0" fmla="*/ 73342 w 76200"/>
                <a:gd name="connsiteY0" fmla="*/ 44133 h 50800"/>
                <a:gd name="connsiteX1" fmla="*/ 5398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334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3"/>
                  </a:moveTo>
                  <a:lnTo>
                    <a:pt x="5398" y="4763"/>
                  </a:lnTo>
                  <a:cubicBezTo>
                    <a:pt x="5398" y="6033"/>
                    <a:pt x="5398" y="7302"/>
                    <a:pt x="4763" y="9208"/>
                  </a:cubicBezTo>
                  <a:lnTo>
                    <a:pt x="72708" y="48577"/>
                  </a:lnTo>
                  <a:cubicBezTo>
                    <a:pt x="72708" y="47308"/>
                    <a:pt x="73342" y="46038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9" name="任意多边形: 形状 10578"/>
            <p:cNvSpPr/>
            <p:nvPr/>
          </p:nvSpPr>
          <p:spPr>
            <a:xfrm>
              <a:off x="6328092" y="2351723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7302"/>
                    <a:pt x="4763" y="8573"/>
                  </a:cubicBezTo>
                  <a:lnTo>
                    <a:pt x="72708" y="47942"/>
                  </a:lnTo>
                  <a:cubicBezTo>
                    <a:pt x="72708" y="46673"/>
                    <a:pt x="72708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0" name="任意多边形: 形状 10579"/>
            <p:cNvSpPr/>
            <p:nvPr/>
          </p:nvSpPr>
          <p:spPr>
            <a:xfrm>
              <a:off x="6328092" y="2356167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4763 w 76200"/>
                <a:gd name="connsiteY2" fmla="*/ 8573 h 50800"/>
                <a:gd name="connsiteX3" fmla="*/ 4763 w 76200"/>
                <a:gd name="connsiteY3" fmla="*/ 8573 h 50800"/>
                <a:gd name="connsiteX4" fmla="*/ 72708 w 76200"/>
                <a:gd name="connsiteY4" fmla="*/ 47943 h 50800"/>
                <a:gd name="connsiteX5" fmla="*/ 72708 w 76200"/>
                <a:gd name="connsiteY5" fmla="*/ 47943 h 50800"/>
                <a:gd name="connsiteX6" fmla="*/ 72708 w 76200"/>
                <a:gd name="connsiteY6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4763" y="6033"/>
                    <a:pt x="4763" y="7303"/>
                    <a:pt x="4763" y="8573"/>
                  </a:cubicBezTo>
                  <a:cubicBezTo>
                    <a:pt x="4763" y="8573"/>
                    <a:pt x="4763" y="8573"/>
                    <a:pt x="4763" y="8573"/>
                  </a:cubicBezTo>
                  <a:lnTo>
                    <a:pt x="72708" y="47943"/>
                  </a:lnTo>
                  <a:cubicBezTo>
                    <a:pt x="72708" y="47943"/>
                    <a:pt x="72708" y="47943"/>
                    <a:pt x="72708" y="47943"/>
                  </a:cubicBezTo>
                  <a:cubicBezTo>
                    <a:pt x="72708" y="46673"/>
                    <a:pt x="72708" y="45403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1" name="任意多边形: 形状 10580"/>
            <p:cNvSpPr/>
            <p:nvPr/>
          </p:nvSpPr>
          <p:spPr>
            <a:xfrm>
              <a:off x="6328092" y="2359977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270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4763" y="6033"/>
                    <a:pt x="4763" y="7302"/>
                    <a:pt x="4763" y="8573"/>
                  </a:cubicBezTo>
                  <a:lnTo>
                    <a:pt x="72708" y="47943"/>
                  </a:lnTo>
                  <a:cubicBezTo>
                    <a:pt x="72708" y="46673"/>
                    <a:pt x="72708" y="45402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2" name="任意多边形: 形状 10581"/>
            <p:cNvSpPr/>
            <p:nvPr/>
          </p:nvSpPr>
          <p:spPr>
            <a:xfrm>
              <a:off x="6328092" y="2363788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270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4763" y="6033"/>
                    <a:pt x="4763" y="7302"/>
                    <a:pt x="4763" y="8573"/>
                  </a:cubicBezTo>
                  <a:lnTo>
                    <a:pt x="72708" y="47942"/>
                  </a:lnTo>
                  <a:cubicBezTo>
                    <a:pt x="72708" y="47308"/>
                    <a:pt x="72708" y="46038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3" name="任意多边形: 形状 10582"/>
            <p:cNvSpPr/>
            <p:nvPr/>
          </p:nvSpPr>
          <p:spPr>
            <a:xfrm>
              <a:off x="6328092" y="2368233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5398 w 76200"/>
                <a:gd name="connsiteY2" fmla="*/ 8572 h 50800"/>
                <a:gd name="connsiteX3" fmla="*/ 73342 w 76200"/>
                <a:gd name="connsiteY3" fmla="*/ 47942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7302"/>
                    <a:pt x="5398" y="8572"/>
                  </a:cubicBezTo>
                  <a:lnTo>
                    <a:pt x="73342" y="47942"/>
                  </a:lnTo>
                  <a:cubicBezTo>
                    <a:pt x="73342" y="46672"/>
                    <a:pt x="73342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4" name="任意多边形: 形状 10583"/>
            <p:cNvSpPr/>
            <p:nvPr/>
          </p:nvSpPr>
          <p:spPr>
            <a:xfrm>
              <a:off x="6328728" y="2372042"/>
              <a:ext cx="76200" cy="50800"/>
            </a:xfrm>
            <a:custGeom>
              <a:avLst/>
              <a:gdLst>
                <a:gd name="connsiteX0" fmla="*/ 72707 w 76200"/>
                <a:gd name="connsiteY0" fmla="*/ 44133 h 50800"/>
                <a:gd name="connsiteX1" fmla="*/ 4763 w 76200"/>
                <a:gd name="connsiteY1" fmla="*/ 4763 h 50800"/>
                <a:gd name="connsiteX2" fmla="*/ 5397 w 76200"/>
                <a:gd name="connsiteY2" fmla="*/ 8573 h 50800"/>
                <a:gd name="connsiteX3" fmla="*/ 73342 w 76200"/>
                <a:gd name="connsiteY3" fmla="*/ 47943 h 50800"/>
                <a:gd name="connsiteX4" fmla="*/ 7270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7" y="44133"/>
                  </a:moveTo>
                  <a:lnTo>
                    <a:pt x="4763" y="4763"/>
                  </a:lnTo>
                  <a:cubicBezTo>
                    <a:pt x="4763" y="6033"/>
                    <a:pt x="5397" y="7303"/>
                    <a:pt x="5397" y="8573"/>
                  </a:cubicBezTo>
                  <a:lnTo>
                    <a:pt x="73342" y="47943"/>
                  </a:lnTo>
                  <a:cubicBezTo>
                    <a:pt x="73342" y="47308"/>
                    <a:pt x="72707" y="45403"/>
                    <a:pt x="7270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5" name="任意多边形: 形状 10584"/>
            <p:cNvSpPr/>
            <p:nvPr/>
          </p:nvSpPr>
          <p:spPr>
            <a:xfrm>
              <a:off x="6329363" y="2376488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5397 w 76200"/>
                <a:gd name="connsiteY2" fmla="*/ 8573 h 50800"/>
                <a:gd name="connsiteX3" fmla="*/ 73342 w 76200"/>
                <a:gd name="connsiteY3" fmla="*/ 47942 h 50800"/>
                <a:gd name="connsiteX4" fmla="*/ 7270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4763" y="6033"/>
                    <a:pt x="5397" y="7302"/>
                    <a:pt x="5397" y="8573"/>
                  </a:cubicBezTo>
                  <a:lnTo>
                    <a:pt x="73342" y="47942"/>
                  </a:lnTo>
                  <a:cubicBezTo>
                    <a:pt x="73342" y="46673"/>
                    <a:pt x="72708" y="45402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6" name="任意多边形: 形状 10585"/>
            <p:cNvSpPr/>
            <p:nvPr/>
          </p:nvSpPr>
          <p:spPr>
            <a:xfrm>
              <a:off x="6329997" y="2380298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6033 w 76200"/>
                <a:gd name="connsiteY2" fmla="*/ 9207 h 50800"/>
                <a:gd name="connsiteX3" fmla="*/ 73978 w 76200"/>
                <a:gd name="connsiteY3" fmla="*/ 48577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5398" y="6032"/>
                    <a:pt x="5398" y="7938"/>
                    <a:pt x="6033" y="9207"/>
                  </a:cubicBezTo>
                  <a:lnTo>
                    <a:pt x="73978" y="48577"/>
                  </a:lnTo>
                  <a:cubicBezTo>
                    <a:pt x="73343" y="47307"/>
                    <a:pt x="73343" y="46038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7" name="任意多边形: 形状 10586"/>
            <p:cNvSpPr/>
            <p:nvPr/>
          </p:nvSpPr>
          <p:spPr>
            <a:xfrm>
              <a:off x="6331267" y="2384742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6033 w 76200"/>
                <a:gd name="connsiteY2" fmla="*/ 9208 h 50800"/>
                <a:gd name="connsiteX3" fmla="*/ 73978 w 76200"/>
                <a:gd name="connsiteY3" fmla="*/ 48578 h 50800"/>
                <a:gd name="connsiteX4" fmla="*/ 7270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5398" y="6033"/>
                    <a:pt x="6033" y="7938"/>
                    <a:pt x="6033" y="9208"/>
                  </a:cubicBezTo>
                  <a:lnTo>
                    <a:pt x="73978" y="48578"/>
                  </a:lnTo>
                  <a:cubicBezTo>
                    <a:pt x="73978" y="47308"/>
                    <a:pt x="73342" y="46038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8" name="任意多边形: 形状 10587"/>
            <p:cNvSpPr/>
            <p:nvPr/>
          </p:nvSpPr>
          <p:spPr>
            <a:xfrm>
              <a:off x="6332538" y="2389188"/>
              <a:ext cx="76200" cy="50800"/>
            </a:xfrm>
            <a:custGeom>
              <a:avLst/>
              <a:gdLst>
                <a:gd name="connsiteX0" fmla="*/ 73342 w 76200"/>
                <a:gd name="connsiteY0" fmla="*/ 44133 h 50800"/>
                <a:gd name="connsiteX1" fmla="*/ 4763 w 76200"/>
                <a:gd name="connsiteY1" fmla="*/ 4763 h 50800"/>
                <a:gd name="connsiteX2" fmla="*/ 6667 w 76200"/>
                <a:gd name="connsiteY2" fmla="*/ 9842 h 50800"/>
                <a:gd name="connsiteX3" fmla="*/ 74613 w 76200"/>
                <a:gd name="connsiteY3" fmla="*/ 49213 h 50800"/>
                <a:gd name="connsiteX4" fmla="*/ 7334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3"/>
                  </a:moveTo>
                  <a:lnTo>
                    <a:pt x="4763" y="4763"/>
                  </a:lnTo>
                  <a:cubicBezTo>
                    <a:pt x="5397" y="6667"/>
                    <a:pt x="6033" y="7938"/>
                    <a:pt x="6667" y="9842"/>
                  </a:cubicBezTo>
                  <a:lnTo>
                    <a:pt x="74613" y="49213"/>
                  </a:lnTo>
                  <a:cubicBezTo>
                    <a:pt x="74613" y="47942"/>
                    <a:pt x="73978" y="46038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9" name="任意多边形: 形状 10588"/>
            <p:cNvSpPr/>
            <p:nvPr/>
          </p:nvSpPr>
          <p:spPr>
            <a:xfrm>
              <a:off x="6335078" y="2394267"/>
              <a:ext cx="76200" cy="50800"/>
            </a:xfrm>
            <a:custGeom>
              <a:avLst/>
              <a:gdLst>
                <a:gd name="connsiteX0" fmla="*/ 72707 w 76200"/>
                <a:gd name="connsiteY0" fmla="*/ 44133 h 50800"/>
                <a:gd name="connsiteX1" fmla="*/ 4763 w 76200"/>
                <a:gd name="connsiteY1" fmla="*/ 4763 h 50800"/>
                <a:gd name="connsiteX2" fmla="*/ 7938 w 76200"/>
                <a:gd name="connsiteY2" fmla="*/ 10478 h 50800"/>
                <a:gd name="connsiteX3" fmla="*/ 75882 w 76200"/>
                <a:gd name="connsiteY3" fmla="*/ 49848 h 50800"/>
                <a:gd name="connsiteX4" fmla="*/ 7270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7" y="44133"/>
                  </a:moveTo>
                  <a:lnTo>
                    <a:pt x="4763" y="4763"/>
                  </a:lnTo>
                  <a:cubicBezTo>
                    <a:pt x="6032" y="6668"/>
                    <a:pt x="6667" y="8573"/>
                    <a:pt x="7938" y="10478"/>
                  </a:cubicBezTo>
                  <a:lnTo>
                    <a:pt x="75882" y="49848"/>
                  </a:lnTo>
                  <a:cubicBezTo>
                    <a:pt x="74613" y="48578"/>
                    <a:pt x="73342" y="46038"/>
                    <a:pt x="7270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0" name="任意多边形: 形状 10589"/>
            <p:cNvSpPr/>
            <p:nvPr/>
          </p:nvSpPr>
          <p:spPr>
            <a:xfrm>
              <a:off x="6338253" y="2399983"/>
              <a:ext cx="88900" cy="63500"/>
            </a:xfrm>
            <a:custGeom>
              <a:avLst/>
              <a:gdLst>
                <a:gd name="connsiteX0" fmla="*/ 72707 w 88900"/>
                <a:gd name="connsiteY0" fmla="*/ 44132 h 63500"/>
                <a:gd name="connsiteX1" fmla="*/ 4763 w 88900"/>
                <a:gd name="connsiteY1" fmla="*/ 4763 h 63500"/>
                <a:gd name="connsiteX2" fmla="*/ 20002 w 88900"/>
                <a:gd name="connsiteY2" fmla="*/ 19367 h 63500"/>
                <a:gd name="connsiteX3" fmla="*/ 87947 w 88900"/>
                <a:gd name="connsiteY3" fmla="*/ 58738 h 63500"/>
                <a:gd name="connsiteX4" fmla="*/ 72707 w 88900"/>
                <a:gd name="connsiteY4" fmla="*/ 44132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900" h="63500">
                  <a:moveTo>
                    <a:pt x="72707" y="44132"/>
                  </a:moveTo>
                  <a:lnTo>
                    <a:pt x="4763" y="4763"/>
                  </a:lnTo>
                  <a:cubicBezTo>
                    <a:pt x="8572" y="11113"/>
                    <a:pt x="14288" y="16192"/>
                    <a:pt x="20002" y="19367"/>
                  </a:cubicBezTo>
                  <a:lnTo>
                    <a:pt x="87947" y="58738"/>
                  </a:lnTo>
                  <a:cubicBezTo>
                    <a:pt x="81597" y="55563"/>
                    <a:pt x="76517" y="50482"/>
                    <a:pt x="7270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1" name="任意多边形: 形状 10590"/>
            <p:cNvSpPr/>
            <p:nvPr/>
          </p:nvSpPr>
          <p:spPr>
            <a:xfrm>
              <a:off x="6522403" y="2063433"/>
              <a:ext cx="76200" cy="44450"/>
            </a:xfrm>
            <a:custGeom>
              <a:avLst/>
              <a:gdLst>
                <a:gd name="connsiteX0" fmla="*/ 74613 w 76200"/>
                <a:gd name="connsiteY0" fmla="*/ 44767 h 44450"/>
                <a:gd name="connsiteX1" fmla="*/ 6667 w 76200"/>
                <a:gd name="connsiteY1" fmla="*/ 5397 h 44450"/>
                <a:gd name="connsiteX2" fmla="*/ 4763 w 76200"/>
                <a:gd name="connsiteY2" fmla="*/ 4763 h 44450"/>
                <a:gd name="connsiteX3" fmla="*/ 72707 w 76200"/>
                <a:gd name="connsiteY3" fmla="*/ 44132 h 44450"/>
                <a:gd name="connsiteX4" fmla="*/ 74613 w 76200"/>
                <a:gd name="connsiteY4" fmla="*/ 4476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767"/>
                  </a:moveTo>
                  <a:lnTo>
                    <a:pt x="6667" y="5397"/>
                  </a:lnTo>
                  <a:cubicBezTo>
                    <a:pt x="6032" y="5397"/>
                    <a:pt x="5397" y="4763"/>
                    <a:pt x="4763" y="4763"/>
                  </a:cubicBezTo>
                  <a:lnTo>
                    <a:pt x="72707" y="44132"/>
                  </a:lnTo>
                  <a:cubicBezTo>
                    <a:pt x="73342" y="44132"/>
                    <a:pt x="73978" y="44132"/>
                    <a:pt x="74613" y="4476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2" name="任意多边形: 形状 10591"/>
            <p:cNvSpPr/>
            <p:nvPr/>
          </p:nvSpPr>
          <p:spPr>
            <a:xfrm>
              <a:off x="6517957" y="2062798"/>
              <a:ext cx="76200" cy="44450"/>
            </a:xfrm>
            <a:custGeom>
              <a:avLst/>
              <a:gdLst>
                <a:gd name="connsiteX0" fmla="*/ 77153 w 76200"/>
                <a:gd name="connsiteY0" fmla="*/ 44767 h 44450"/>
                <a:gd name="connsiteX1" fmla="*/ 9208 w 76200"/>
                <a:gd name="connsiteY1" fmla="*/ 5398 h 44450"/>
                <a:gd name="connsiteX2" fmla="*/ 4763 w 76200"/>
                <a:gd name="connsiteY2" fmla="*/ 4763 h 44450"/>
                <a:gd name="connsiteX3" fmla="*/ 72708 w 76200"/>
                <a:gd name="connsiteY3" fmla="*/ 44132 h 44450"/>
                <a:gd name="connsiteX4" fmla="*/ 77153 w 76200"/>
                <a:gd name="connsiteY4" fmla="*/ 4476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7153" y="44767"/>
                  </a:moveTo>
                  <a:lnTo>
                    <a:pt x="9208" y="5398"/>
                  </a:lnTo>
                  <a:cubicBezTo>
                    <a:pt x="7938" y="5398"/>
                    <a:pt x="6033" y="4763"/>
                    <a:pt x="4763" y="4763"/>
                  </a:cubicBezTo>
                  <a:lnTo>
                    <a:pt x="72708" y="44132"/>
                  </a:lnTo>
                  <a:cubicBezTo>
                    <a:pt x="73978" y="44132"/>
                    <a:pt x="75883" y="44767"/>
                    <a:pt x="77153" y="4476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3" name="任意多边形: 形状 10592"/>
            <p:cNvSpPr/>
            <p:nvPr/>
          </p:nvSpPr>
          <p:spPr>
            <a:xfrm>
              <a:off x="6514147" y="2062798"/>
              <a:ext cx="76200" cy="44450"/>
            </a:xfrm>
            <a:custGeom>
              <a:avLst/>
              <a:gdLst>
                <a:gd name="connsiteX0" fmla="*/ 76518 w 76200"/>
                <a:gd name="connsiteY0" fmla="*/ 44132 h 44450"/>
                <a:gd name="connsiteX1" fmla="*/ 8572 w 76200"/>
                <a:gd name="connsiteY1" fmla="*/ 4763 h 44450"/>
                <a:gd name="connsiteX2" fmla="*/ 4763 w 76200"/>
                <a:gd name="connsiteY2" fmla="*/ 4763 h 44450"/>
                <a:gd name="connsiteX3" fmla="*/ 72708 w 76200"/>
                <a:gd name="connsiteY3" fmla="*/ 44132 h 44450"/>
                <a:gd name="connsiteX4" fmla="*/ 76518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6518" y="44132"/>
                  </a:moveTo>
                  <a:lnTo>
                    <a:pt x="8572" y="4763"/>
                  </a:lnTo>
                  <a:cubicBezTo>
                    <a:pt x="7303" y="4763"/>
                    <a:pt x="6033" y="4763"/>
                    <a:pt x="4763" y="4763"/>
                  </a:cubicBezTo>
                  <a:lnTo>
                    <a:pt x="72708" y="44132"/>
                  </a:lnTo>
                  <a:cubicBezTo>
                    <a:pt x="73978" y="44132"/>
                    <a:pt x="75247" y="44132"/>
                    <a:pt x="7651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4" name="任意多边形: 形状 10593"/>
            <p:cNvSpPr/>
            <p:nvPr/>
          </p:nvSpPr>
          <p:spPr>
            <a:xfrm>
              <a:off x="6510338" y="2062798"/>
              <a:ext cx="76200" cy="44450"/>
            </a:xfrm>
            <a:custGeom>
              <a:avLst/>
              <a:gdLst>
                <a:gd name="connsiteX0" fmla="*/ 76518 w 76200"/>
                <a:gd name="connsiteY0" fmla="*/ 44132 h 44450"/>
                <a:gd name="connsiteX1" fmla="*/ 8572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2 h 44450"/>
                <a:gd name="connsiteX4" fmla="*/ 76518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6518" y="44132"/>
                  </a:moveTo>
                  <a:lnTo>
                    <a:pt x="8572" y="4763"/>
                  </a:lnTo>
                  <a:cubicBezTo>
                    <a:pt x="7303" y="4763"/>
                    <a:pt x="6032" y="4763"/>
                    <a:pt x="4763" y="4763"/>
                  </a:cubicBezTo>
                  <a:lnTo>
                    <a:pt x="72707" y="44132"/>
                  </a:lnTo>
                  <a:cubicBezTo>
                    <a:pt x="73978" y="44132"/>
                    <a:pt x="75247" y="44132"/>
                    <a:pt x="7651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5" name="任意多边形: 形状 10594"/>
            <p:cNvSpPr/>
            <p:nvPr/>
          </p:nvSpPr>
          <p:spPr>
            <a:xfrm>
              <a:off x="6506528" y="2062798"/>
              <a:ext cx="76200" cy="44450"/>
            </a:xfrm>
            <a:custGeom>
              <a:avLst/>
              <a:gdLst>
                <a:gd name="connsiteX0" fmla="*/ 76517 w 76200"/>
                <a:gd name="connsiteY0" fmla="*/ 44132 h 44450"/>
                <a:gd name="connsiteX1" fmla="*/ 8572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7 h 44450"/>
                <a:gd name="connsiteX4" fmla="*/ 7651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6517" y="44132"/>
                  </a:moveTo>
                  <a:lnTo>
                    <a:pt x="8572" y="4763"/>
                  </a:lnTo>
                  <a:cubicBezTo>
                    <a:pt x="7303" y="4763"/>
                    <a:pt x="6032" y="4763"/>
                    <a:pt x="4763" y="5398"/>
                  </a:cubicBezTo>
                  <a:lnTo>
                    <a:pt x="72707" y="44767"/>
                  </a:lnTo>
                  <a:cubicBezTo>
                    <a:pt x="73978" y="44132"/>
                    <a:pt x="75247" y="44132"/>
                    <a:pt x="7651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6" name="任意多边形: 形状 10595"/>
            <p:cNvSpPr/>
            <p:nvPr/>
          </p:nvSpPr>
          <p:spPr>
            <a:xfrm>
              <a:off x="6503353" y="2062798"/>
              <a:ext cx="76200" cy="44450"/>
            </a:xfrm>
            <a:custGeom>
              <a:avLst/>
              <a:gdLst>
                <a:gd name="connsiteX0" fmla="*/ 75882 w 76200"/>
                <a:gd name="connsiteY0" fmla="*/ 44132 h 44450"/>
                <a:gd name="connsiteX1" fmla="*/ 7938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7 h 44450"/>
                <a:gd name="connsiteX4" fmla="*/ 75882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2" y="44132"/>
                  </a:moveTo>
                  <a:lnTo>
                    <a:pt x="7938" y="4763"/>
                  </a:lnTo>
                  <a:cubicBezTo>
                    <a:pt x="6667" y="4763"/>
                    <a:pt x="5397" y="5398"/>
                    <a:pt x="4763" y="5398"/>
                  </a:cubicBezTo>
                  <a:lnTo>
                    <a:pt x="72707" y="44767"/>
                  </a:lnTo>
                  <a:cubicBezTo>
                    <a:pt x="73342" y="44767"/>
                    <a:pt x="74613" y="44767"/>
                    <a:pt x="7588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7" name="任意多边形: 形状 10596"/>
            <p:cNvSpPr/>
            <p:nvPr/>
          </p:nvSpPr>
          <p:spPr>
            <a:xfrm>
              <a:off x="6499543" y="2063433"/>
              <a:ext cx="76200" cy="44450"/>
            </a:xfrm>
            <a:custGeom>
              <a:avLst/>
              <a:gdLst>
                <a:gd name="connsiteX0" fmla="*/ 75882 w 76200"/>
                <a:gd name="connsiteY0" fmla="*/ 44132 h 44450"/>
                <a:gd name="connsiteX1" fmla="*/ 7938 w 76200"/>
                <a:gd name="connsiteY1" fmla="*/ 4763 h 44450"/>
                <a:gd name="connsiteX2" fmla="*/ 4763 w 76200"/>
                <a:gd name="connsiteY2" fmla="*/ 5397 h 44450"/>
                <a:gd name="connsiteX3" fmla="*/ 72707 w 76200"/>
                <a:gd name="connsiteY3" fmla="*/ 44767 h 44450"/>
                <a:gd name="connsiteX4" fmla="*/ 75882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2" y="44132"/>
                  </a:moveTo>
                  <a:lnTo>
                    <a:pt x="7938" y="4763"/>
                  </a:lnTo>
                  <a:cubicBezTo>
                    <a:pt x="6667" y="4763"/>
                    <a:pt x="6032" y="5397"/>
                    <a:pt x="4763" y="5397"/>
                  </a:cubicBezTo>
                  <a:lnTo>
                    <a:pt x="72707" y="44767"/>
                  </a:lnTo>
                  <a:cubicBezTo>
                    <a:pt x="73977" y="44767"/>
                    <a:pt x="75247" y="44767"/>
                    <a:pt x="7588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8" name="任意多边形: 形状 10597"/>
            <p:cNvSpPr/>
            <p:nvPr/>
          </p:nvSpPr>
          <p:spPr>
            <a:xfrm>
              <a:off x="6496367" y="2064702"/>
              <a:ext cx="76200" cy="44450"/>
            </a:xfrm>
            <a:custGeom>
              <a:avLst/>
              <a:gdLst>
                <a:gd name="connsiteX0" fmla="*/ 75883 w 76200"/>
                <a:gd name="connsiteY0" fmla="*/ 44133 h 44450"/>
                <a:gd name="connsiteX1" fmla="*/ 7938 w 76200"/>
                <a:gd name="connsiteY1" fmla="*/ 4763 h 44450"/>
                <a:gd name="connsiteX2" fmla="*/ 4763 w 76200"/>
                <a:gd name="connsiteY2" fmla="*/ 5398 h 44450"/>
                <a:gd name="connsiteX3" fmla="*/ 72708 w 76200"/>
                <a:gd name="connsiteY3" fmla="*/ 44768 h 44450"/>
                <a:gd name="connsiteX4" fmla="*/ 75883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4763"/>
                    <a:pt x="6033" y="5398"/>
                    <a:pt x="4763" y="5398"/>
                  </a:cubicBezTo>
                  <a:lnTo>
                    <a:pt x="72708" y="44768"/>
                  </a:lnTo>
                  <a:cubicBezTo>
                    <a:pt x="73977" y="44133"/>
                    <a:pt x="74613" y="44133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9" name="任意多边形: 形状 10598"/>
            <p:cNvSpPr/>
            <p:nvPr/>
          </p:nvSpPr>
          <p:spPr>
            <a:xfrm>
              <a:off x="6493192" y="2065338"/>
              <a:ext cx="76200" cy="44450"/>
            </a:xfrm>
            <a:custGeom>
              <a:avLst/>
              <a:gdLst>
                <a:gd name="connsiteX0" fmla="*/ 75883 w 76200"/>
                <a:gd name="connsiteY0" fmla="*/ 44133 h 44450"/>
                <a:gd name="connsiteX1" fmla="*/ 7938 w 76200"/>
                <a:gd name="connsiteY1" fmla="*/ 4763 h 44450"/>
                <a:gd name="connsiteX2" fmla="*/ 4763 w 76200"/>
                <a:gd name="connsiteY2" fmla="*/ 6033 h 44450"/>
                <a:gd name="connsiteX3" fmla="*/ 72708 w 76200"/>
                <a:gd name="connsiteY3" fmla="*/ 45402 h 44450"/>
                <a:gd name="connsiteX4" fmla="*/ 75883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5398"/>
                    <a:pt x="6033" y="5398"/>
                    <a:pt x="4763" y="6033"/>
                  </a:cubicBezTo>
                  <a:lnTo>
                    <a:pt x="72708" y="45402"/>
                  </a:lnTo>
                  <a:cubicBezTo>
                    <a:pt x="73977" y="44767"/>
                    <a:pt x="74613" y="44133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0" name="任意多边形: 形状 10599"/>
            <p:cNvSpPr/>
            <p:nvPr/>
          </p:nvSpPr>
          <p:spPr>
            <a:xfrm>
              <a:off x="6490017" y="2066608"/>
              <a:ext cx="76200" cy="44450"/>
            </a:xfrm>
            <a:custGeom>
              <a:avLst/>
              <a:gdLst>
                <a:gd name="connsiteX0" fmla="*/ 75883 w 76200"/>
                <a:gd name="connsiteY0" fmla="*/ 44132 h 44450"/>
                <a:gd name="connsiteX1" fmla="*/ 7938 w 76200"/>
                <a:gd name="connsiteY1" fmla="*/ 4763 h 44450"/>
                <a:gd name="connsiteX2" fmla="*/ 4763 w 76200"/>
                <a:gd name="connsiteY2" fmla="*/ 6032 h 44450"/>
                <a:gd name="connsiteX3" fmla="*/ 72708 w 76200"/>
                <a:gd name="connsiteY3" fmla="*/ 45402 h 44450"/>
                <a:gd name="connsiteX4" fmla="*/ 7588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132"/>
                  </a:moveTo>
                  <a:lnTo>
                    <a:pt x="7938" y="4763"/>
                  </a:lnTo>
                  <a:cubicBezTo>
                    <a:pt x="6667" y="5397"/>
                    <a:pt x="6033" y="5397"/>
                    <a:pt x="4763" y="6032"/>
                  </a:cubicBezTo>
                  <a:lnTo>
                    <a:pt x="72708" y="45402"/>
                  </a:lnTo>
                  <a:cubicBezTo>
                    <a:pt x="73977" y="44767"/>
                    <a:pt x="74613" y="44132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1" name="任意多边形: 形状 10600"/>
            <p:cNvSpPr/>
            <p:nvPr/>
          </p:nvSpPr>
          <p:spPr>
            <a:xfrm>
              <a:off x="6486842" y="2067877"/>
              <a:ext cx="76200" cy="44450"/>
            </a:xfrm>
            <a:custGeom>
              <a:avLst/>
              <a:gdLst>
                <a:gd name="connsiteX0" fmla="*/ 75883 w 76200"/>
                <a:gd name="connsiteY0" fmla="*/ 44133 h 44450"/>
                <a:gd name="connsiteX1" fmla="*/ 7938 w 76200"/>
                <a:gd name="connsiteY1" fmla="*/ 4763 h 44450"/>
                <a:gd name="connsiteX2" fmla="*/ 4763 w 76200"/>
                <a:gd name="connsiteY2" fmla="*/ 6033 h 44450"/>
                <a:gd name="connsiteX3" fmla="*/ 72708 w 76200"/>
                <a:gd name="connsiteY3" fmla="*/ 45402 h 44450"/>
                <a:gd name="connsiteX4" fmla="*/ 75883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5398"/>
                    <a:pt x="6033" y="5398"/>
                    <a:pt x="4763" y="6033"/>
                  </a:cubicBezTo>
                  <a:lnTo>
                    <a:pt x="72708" y="45402"/>
                  </a:lnTo>
                  <a:cubicBezTo>
                    <a:pt x="73342" y="44768"/>
                    <a:pt x="74613" y="44133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2" name="任意多边形: 形状 10601"/>
            <p:cNvSpPr/>
            <p:nvPr/>
          </p:nvSpPr>
          <p:spPr>
            <a:xfrm>
              <a:off x="6483667" y="2069148"/>
              <a:ext cx="76200" cy="44450"/>
            </a:xfrm>
            <a:custGeom>
              <a:avLst/>
              <a:gdLst>
                <a:gd name="connsiteX0" fmla="*/ 75883 w 76200"/>
                <a:gd name="connsiteY0" fmla="*/ 44132 h 44450"/>
                <a:gd name="connsiteX1" fmla="*/ 7938 w 76200"/>
                <a:gd name="connsiteY1" fmla="*/ 4763 h 44450"/>
                <a:gd name="connsiteX2" fmla="*/ 4763 w 76200"/>
                <a:gd name="connsiteY2" fmla="*/ 6032 h 44450"/>
                <a:gd name="connsiteX3" fmla="*/ 72708 w 76200"/>
                <a:gd name="connsiteY3" fmla="*/ 45402 h 44450"/>
                <a:gd name="connsiteX4" fmla="*/ 7588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132"/>
                  </a:moveTo>
                  <a:lnTo>
                    <a:pt x="7938" y="4763"/>
                  </a:lnTo>
                  <a:cubicBezTo>
                    <a:pt x="6667" y="5398"/>
                    <a:pt x="6033" y="6032"/>
                    <a:pt x="4763" y="6032"/>
                  </a:cubicBezTo>
                  <a:lnTo>
                    <a:pt x="72708" y="45402"/>
                  </a:lnTo>
                  <a:cubicBezTo>
                    <a:pt x="73342" y="44767"/>
                    <a:pt x="74613" y="44132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3" name="任意多边形: 形状 10602"/>
            <p:cNvSpPr/>
            <p:nvPr/>
          </p:nvSpPr>
          <p:spPr>
            <a:xfrm>
              <a:off x="6480492" y="2070417"/>
              <a:ext cx="76200" cy="50800"/>
            </a:xfrm>
            <a:custGeom>
              <a:avLst/>
              <a:gdLst>
                <a:gd name="connsiteX0" fmla="*/ 75883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6668 h 50800"/>
                <a:gd name="connsiteX3" fmla="*/ 72708 w 76200"/>
                <a:gd name="connsiteY3" fmla="*/ 46038 h 50800"/>
                <a:gd name="connsiteX4" fmla="*/ 7588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5398"/>
                    <a:pt x="6033" y="6033"/>
                    <a:pt x="4763" y="6668"/>
                  </a:cubicBezTo>
                  <a:lnTo>
                    <a:pt x="72708" y="46038"/>
                  </a:lnTo>
                  <a:cubicBezTo>
                    <a:pt x="73342" y="45403"/>
                    <a:pt x="74613" y="44768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4" name="任意多边形: 形状 10603"/>
            <p:cNvSpPr/>
            <p:nvPr/>
          </p:nvSpPr>
          <p:spPr>
            <a:xfrm>
              <a:off x="6476683" y="2072323"/>
              <a:ext cx="76200" cy="50800"/>
            </a:xfrm>
            <a:custGeom>
              <a:avLst/>
              <a:gdLst>
                <a:gd name="connsiteX0" fmla="*/ 75883 w 76200"/>
                <a:gd name="connsiteY0" fmla="*/ 44132 h 50800"/>
                <a:gd name="connsiteX1" fmla="*/ 7938 w 76200"/>
                <a:gd name="connsiteY1" fmla="*/ 4763 h 50800"/>
                <a:gd name="connsiteX2" fmla="*/ 5397 w 76200"/>
                <a:gd name="connsiteY2" fmla="*/ 6032 h 50800"/>
                <a:gd name="connsiteX3" fmla="*/ 4763 w 76200"/>
                <a:gd name="connsiteY3" fmla="*/ 6667 h 50800"/>
                <a:gd name="connsiteX4" fmla="*/ 72708 w 76200"/>
                <a:gd name="connsiteY4" fmla="*/ 46038 h 50800"/>
                <a:gd name="connsiteX5" fmla="*/ 73342 w 76200"/>
                <a:gd name="connsiteY5" fmla="*/ 45402 h 50800"/>
                <a:gd name="connsiteX6" fmla="*/ 75883 w 76200"/>
                <a:gd name="connsiteY6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50800">
                  <a:moveTo>
                    <a:pt x="75883" y="44132"/>
                  </a:moveTo>
                  <a:lnTo>
                    <a:pt x="7938" y="4763"/>
                  </a:lnTo>
                  <a:cubicBezTo>
                    <a:pt x="7302" y="5398"/>
                    <a:pt x="6033" y="5398"/>
                    <a:pt x="5397" y="6032"/>
                  </a:cubicBezTo>
                  <a:cubicBezTo>
                    <a:pt x="5397" y="6032"/>
                    <a:pt x="4763" y="6032"/>
                    <a:pt x="4763" y="6667"/>
                  </a:cubicBezTo>
                  <a:lnTo>
                    <a:pt x="72708" y="46038"/>
                  </a:lnTo>
                  <a:cubicBezTo>
                    <a:pt x="72708" y="46038"/>
                    <a:pt x="73342" y="46038"/>
                    <a:pt x="73342" y="45402"/>
                  </a:cubicBezTo>
                  <a:cubicBezTo>
                    <a:pt x="74612" y="44767"/>
                    <a:pt x="75248" y="44767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5" name="任意多边形: 形状 10604"/>
            <p:cNvSpPr/>
            <p:nvPr/>
          </p:nvSpPr>
          <p:spPr>
            <a:xfrm>
              <a:off x="6473508" y="2074227"/>
              <a:ext cx="76200" cy="50800"/>
            </a:xfrm>
            <a:custGeom>
              <a:avLst/>
              <a:gdLst>
                <a:gd name="connsiteX0" fmla="*/ 75883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6668 h 50800"/>
                <a:gd name="connsiteX3" fmla="*/ 72708 w 76200"/>
                <a:gd name="connsiteY3" fmla="*/ 46038 h 50800"/>
                <a:gd name="connsiteX4" fmla="*/ 7588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5398"/>
                    <a:pt x="5397" y="6033"/>
                    <a:pt x="4763" y="6668"/>
                  </a:cubicBezTo>
                  <a:lnTo>
                    <a:pt x="72708" y="46038"/>
                  </a:lnTo>
                  <a:cubicBezTo>
                    <a:pt x="73977" y="45402"/>
                    <a:pt x="74612" y="44768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6" name="任意多边形: 形状 10605"/>
            <p:cNvSpPr/>
            <p:nvPr/>
          </p:nvSpPr>
          <p:spPr>
            <a:xfrm>
              <a:off x="6470333" y="2076133"/>
              <a:ext cx="76200" cy="50800"/>
            </a:xfrm>
            <a:custGeom>
              <a:avLst/>
              <a:gdLst>
                <a:gd name="connsiteX0" fmla="*/ 75883 w 76200"/>
                <a:gd name="connsiteY0" fmla="*/ 44132 h 50800"/>
                <a:gd name="connsiteX1" fmla="*/ 7938 w 76200"/>
                <a:gd name="connsiteY1" fmla="*/ 4763 h 50800"/>
                <a:gd name="connsiteX2" fmla="*/ 4763 w 76200"/>
                <a:gd name="connsiteY2" fmla="*/ 7302 h 50800"/>
                <a:gd name="connsiteX3" fmla="*/ 72708 w 76200"/>
                <a:gd name="connsiteY3" fmla="*/ 46672 h 50800"/>
                <a:gd name="connsiteX4" fmla="*/ 7588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2"/>
                  </a:moveTo>
                  <a:lnTo>
                    <a:pt x="7938" y="4763"/>
                  </a:lnTo>
                  <a:cubicBezTo>
                    <a:pt x="6667" y="5397"/>
                    <a:pt x="5397" y="6032"/>
                    <a:pt x="4763" y="7302"/>
                  </a:cubicBezTo>
                  <a:lnTo>
                    <a:pt x="72708" y="46672"/>
                  </a:lnTo>
                  <a:cubicBezTo>
                    <a:pt x="73342" y="45402"/>
                    <a:pt x="74612" y="44767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7" name="任意多边形: 形状 10606"/>
            <p:cNvSpPr/>
            <p:nvPr/>
          </p:nvSpPr>
          <p:spPr>
            <a:xfrm>
              <a:off x="6465888" y="2078673"/>
              <a:ext cx="76200" cy="50800"/>
            </a:xfrm>
            <a:custGeom>
              <a:avLst/>
              <a:gdLst>
                <a:gd name="connsiteX0" fmla="*/ 76518 w 76200"/>
                <a:gd name="connsiteY0" fmla="*/ 44132 h 50800"/>
                <a:gd name="connsiteX1" fmla="*/ 8572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651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8" y="44132"/>
                  </a:moveTo>
                  <a:lnTo>
                    <a:pt x="8572" y="4763"/>
                  </a:lnTo>
                  <a:cubicBezTo>
                    <a:pt x="7303" y="5398"/>
                    <a:pt x="6033" y="6667"/>
                    <a:pt x="4763" y="7302"/>
                  </a:cubicBezTo>
                  <a:lnTo>
                    <a:pt x="72707" y="46673"/>
                  </a:lnTo>
                  <a:cubicBezTo>
                    <a:pt x="74613" y="45402"/>
                    <a:pt x="75247" y="44767"/>
                    <a:pt x="7651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8" name="任意多边形: 形状 10607"/>
            <p:cNvSpPr/>
            <p:nvPr/>
          </p:nvSpPr>
          <p:spPr>
            <a:xfrm>
              <a:off x="6462713" y="2081213"/>
              <a:ext cx="76200" cy="50800"/>
            </a:xfrm>
            <a:custGeom>
              <a:avLst/>
              <a:gdLst>
                <a:gd name="connsiteX0" fmla="*/ 76518 w 76200"/>
                <a:gd name="connsiteY0" fmla="*/ 44133 h 50800"/>
                <a:gd name="connsiteX1" fmla="*/ 8572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651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8" y="44133"/>
                  </a:moveTo>
                  <a:lnTo>
                    <a:pt x="8572" y="4763"/>
                  </a:lnTo>
                  <a:cubicBezTo>
                    <a:pt x="7303" y="5398"/>
                    <a:pt x="6033" y="6667"/>
                    <a:pt x="4763" y="7302"/>
                  </a:cubicBezTo>
                  <a:lnTo>
                    <a:pt x="72707" y="46673"/>
                  </a:lnTo>
                  <a:cubicBezTo>
                    <a:pt x="73978" y="45402"/>
                    <a:pt x="75247" y="44767"/>
                    <a:pt x="7651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9" name="任意多边形: 形状 10608"/>
            <p:cNvSpPr/>
            <p:nvPr/>
          </p:nvSpPr>
          <p:spPr>
            <a:xfrm>
              <a:off x="6458903" y="2083752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2 w 76200"/>
                <a:gd name="connsiteY1" fmla="*/ 4763 h 50800"/>
                <a:gd name="connsiteX2" fmla="*/ 4763 w 76200"/>
                <a:gd name="connsiteY2" fmla="*/ 7938 h 50800"/>
                <a:gd name="connsiteX3" fmla="*/ 72707 w 76200"/>
                <a:gd name="connsiteY3" fmla="*/ 47308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2" y="4763"/>
                  </a:lnTo>
                  <a:cubicBezTo>
                    <a:pt x="7302" y="6033"/>
                    <a:pt x="6032" y="6668"/>
                    <a:pt x="4763" y="7938"/>
                  </a:cubicBezTo>
                  <a:lnTo>
                    <a:pt x="72707" y="47308"/>
                  </a:lnTo>
                  <a:cubicBezTo>
                    <a:pt x="73978" y="46038"/>
                    <a:pt x="75247" y="44768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0" name="任意多边形: 形状 10609"/>
            <p:cNvSpPr/>
            <p:nvPr/>
          </p:nvSpPr>
          <p:spPr>
            <a:xfrm>
              <a:off x="6455092" y="2086927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3 w 76200"/>
                <a:gd name="connsiteY1" fmla="*/ 4763 h 50800"/>
                <a:gd name="connsiteX2" fmla="*/ 4763 w 76200"/>
                <a:gd name="connsiteY2" fmla="*/ 7938 h 50800"/>
                <a:gd name="connsiteX3" fmla="*/ 72708 w 76200"/>
                <a:gd name="connsiteY3" fmla="*/ 47308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3" y="4763"/>
                  </a:lnTo>
                  <a:cubicBezTo>
                    <a:pt x="7303" y="6033"/>
                    <a:pt x="6033" y="6668"/>
                    <a:pt x="4763" y="7938"/>
                  </a:cubicBezTo>
                  <a:lnTo>
                    <a:pt x="72708" y="47308"/>
                  </a:lnTo>
                  <a:cubicBezTo>
                    <a:pt x="74613" y="46038"/>
                    <a:pt x="75248" y="44768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1" name="任意多边形: 形状 10610"/>
            <p:cNvSpPr/>
            <p:nvPr/>
          </p:nvSpPr>
          <p:spPr>
            <a:xfrm>
              <a:off x="6451917" y="2090102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3 w 76200"/>
                <a:gd name="connsiteY1" fmla="*/ 4763 h 50800"/>
                <a:gd name="connsiteX2" fmla="*/ 4763 w 76200"/>
                <a:gd name="connsiteY2" fmla="*/ 7938 h 50800"/>
                <a:gd name="connsiteX3" fmla="*/ 72708 w 76200"/>
                <a:gd name="connsiteY3" fmla="*/ 47308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3" y="4763"/>
                  </a:lnTo>
                  <a:cubicBezTo>
                    <a:pt x="7303" y="6033"/>
                    <a:pt x="6033" y="6668"/>
                    <a:pt x="4763" y="7938"/>
                  </a:cubicBezTo>
                  <a:lnTo>
                    <a:pt x="72708" y="47308"/>
                  </a:lnTo>
                  <a:cubicBezTo>
                    <a:pt x="73977" y="46038"/>
                    <a:pt x="75248" y="44768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2" name="任意多边形: 形状 10611"/>
            <p:cNvSpPr/>
            <p:nvPr/>
          </p:nvSpPr>
          <p:spPr>
            <a:xfrm>
              <a:off x="6448742" y="2093277"/>
              <a:ext cx="76200" cy="50800"/>
            </a:xfrm>
            <a:custGeom>
              <a:avLst/>
              <a:gdLst>
                <a:gd name="connsiteX0" fmla="*/ 75883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7938 h 50800"/>
                <a:gd name="connsiteX3" fmla="*/ 72708 w 76200"/>
                <a:gd name="connsiteY3" fmla="*/ 47308 h 50800"/>
                <a:gd name="connsiteX4" fmla="*/ 7588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6033"/>
                    <a:pt x="5398" y="7302"/>
                    <a:pt x="4763" y="7938"/>
                  </a:cubicBezTo>
                  <a:lnTo>
                    <a:pt x="72708" y="47308"/>
                  </a:lnTo>
                  <a:cubicBezTo>
                    <a:pt x="73977" y="46038"/>
                    <a:pt x="74613" y="44768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3" name="任意多边形: 形状 10612"/>
            <p:cNvSpPr/>
            <p:nvPr/>
          </p:nvSpPr>
          <p:spPr>
            <a:xfrm>
              <a:off x="6445567" y="2096452"/>
              <a:ext cx="76200" cy="50800"/>
            </a:xfrm>
            <a:custGeom>
              <a:avLst/>
              <a:gdLst>
                <a:gd name="connsiteX0" fmla="*/ 75883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7938 h 50800"/>
                <a:gd name="connsiteX3" fmla="*/ 72708 w 76200"/>
                <a:gd name="connsiteY3" fmla="*/ 47308 h 50800"/>
                <a:gd name="connsiteX4" fmla="*/ 7588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6033"/>
                    <a:pt x="6033" y="7302"/>
                    <a:pt x="4763" y="7938"/>
                  </a:cubicBezTo>
                  <a:lnTo>
                    <a:pt x="72708" y="47308"/>
                  </a:lnTo>
                  <a:cubicBezTo>
                    <a:pt x="73342" y="46673"/>
                    <a:pt x="74613" y="45402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4" name="任意多边形: 形状 10613"/>
            <p:cNvSpPr/>
            <p:nvPr/>
          </p:nvSpPr>
          <p:spPr>
            <a:xfrm>
              <a:off x="6442392" y="2099627"/>
              <a:ext cx="76200" cy="50800"/>
            </a:xfrm>
            <a:custGeom>
              <a:avLst/>
              <a:gdLst>
                <a:gd name="connsiteX0" fmla="*/ 75883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7938 h 50800"/>
                <a:gd name="connsiteX3" fmla="*/ 72708 w 76200"/>
                <a:gd name="connsiteY3" fmla="*/ 47308 h 50800"/>
                <a:gd name="connsiteX4" fmla="*/ 7588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6033"/>
                    <a:pt x="6033" y="7302"/>
                    <a:pt x="4763" y="7938"/>
                  </a:cubicBezTo>
                  <a:lnTo>
                    <a:pt x="72708" y="47308"/>
                  </a:lnTo>
                  <a:cubicBezTo>
                    <a:pt x="73342" y="46673"/>
                    <a:pt x="74613" y="45402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5" name="任意多边形: 形状 10614"/>
            <p:cNvSpPr/>
            <p:nvPr/>
          </p:nvSpPr>
          <p:spPr>
            <a:xfrm>
              <a:off x="6439217" y="2103438"/>
              <a:ext cx="76200" cy="50800"/>
            </a:xfrm>
            <a:custGeom>
              <a:avLst/>
              <a:gdLst>
                <a:gd name="connsiteX0" fmla="*/ 75883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588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6033"/>
                    <a:pt x="6033" y="7302"/>
                    <a:pt x="4763" y="8573"/>
                  </a:cubicBezTo>
                  <a:lnTo>
                    <a:pt x="72708" y="47942"/>
                  </a:lnTo>
                  <a:cubicBezTo>
                    <a:pt x="73342" y="46673"/>
                    <a:pt x="74613" y="45402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6" name="任意多边形: 形状 10615"/>
            <p:cNvSpPr/>
            <p:nvPr/>
          </p:nvSpPr>
          <p:spPr>
            <a:xfrm>
              <a:off x="6436042" y="2107248"/>
              <a:ext cx="76200" cy="50800"/>
            </a:xfrm>
            <a:custGeom>
              <a:avLst/>
              <a:gdLst>
                <a:gd name="connsiteX0" fmla="*/ 75883 w 76200"/>
                <a:gd name="connsiteY0" fmla="*/ 44132 h 50800"/>
                <a:gd name="connsiteX1" fmla="*/ 7938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588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2"/>
                  </a:moveTo>
                  <a:lnTo>
                    <a:pt x="7938" y="4763"/>
                  </a:lnTo>
                  <a:cubicBezTo>
                    <a:pt x="6667" y="6032"/>
                    <a:pt x="6033" y="7302"/>
                    <a:pt x="4763" y="8573"/>
                  </a:cubicBezTo>
                  <a:lnTo>
                    <a:pt x="72708" y="47942"/>
                  </a:lnTo>
                  <a:cubicBezTo>
                    <a:pt x="73977" y="46038"/>
                    <a:pt x="74613" y="44767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7" name="任意多边形: 形状 10616"/>
            <p:cNvSpPr/>
            <p:nvPr/>
          </p:nvSpPr>
          <p:spPr>
            <a:xfrm>
              <a:off x="6432867" y="2110423"/>
              <a:ext cx="76200" cy="50800"/>
            </a:xfrm>
            <a:custGeom>
              <a:avLst/>
              <a:gdLst>
                <a:gd name="connsiteX0" fmla="*/ 75883 w 76200"/>
                <a:gd name="connsiteY0" fmla="*/ 44132 h 50800"/>
                <a:gd name="connsiteX1" fmla="*/ 7938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588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2"/>
                  </a:moveTo>
                  <a:lnTo>
                    <a:pt x="7938" y="4763"/>
                  </a:lnTo>
                  <a:cubicBezTo>
                    <a:pt x="6667" y="6032"/>
                    <a:pt x="5398" y="7938"/>
                    <a:pt x="4763" y="9207"/>
                  </a:cubicBezTo>
                  <a:lnTo>
                    <a:pt x="72708" y="48577"/>
                  </a:lnTo>
                  <a:cubicBezTo>
                    <a:pt x="73342" y="47307"/>
                    <a:pt x="74613" y="46038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8" name="任意多边形: 形状 10617"/>
            <p:cNvSpPr/>
            <p:nvPr/>
          </p:nvSpPr>
          <p:spPr>
            <a:xfrm>
              <a:off x="6427788" y="2115502"/>
              <a:ext cx="82550" cy="50800"/>
            </a:xfrm>
            <a:custGeom>
              <a:avLst/>
              <a:gdLst>
                <a:gd name="connsiteX0" fmla="*/ 77788 w 82550"/>
                <a:gd name="connsiteY0" fmla="*/ 44133 h 50800"/>
                <a:gd name="connsiteX1" fmla="*/ 9842 w 82550"/>
                <a:gd name="connsiteY1" fmla="*/ 4763 h 50800"/>
                <a:gd name="connsiteX2" fmla="*/ 4763 w 82550"/>
                <a:gd name="connsiteY2" fmla="*/ 11748 h 50800"/>
                <a:gd name="connsiteX3" fmla="*/ 72708 w 82550"/>
                <a:gd name="connsiteY3" fmla="*/ 51118 h 50800"/>
                <a:gd name="connsiteX4" fmla="*/ 77788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7788" y="44133"/>
                  </a:moveTo>
                  <a:lnTo>
                    <a:pt x="9842" y="4763"/>
                  </a:lnTo>
                  <a:cubicBezTo>
                    <a:pt x="7938" y="7302"/>
                    <a:pt x="6667" y="9208"/>
                    <a:pt x="4763" y="11748"/>
                  </a:cubicBezTo>
                  <a:lnTo>
                    <a:pt x="72708" y="51118"/>
                  </a:lnTo>
                  <a:cubicBezTo>
                    <a:pt x="73978" y="48577"/>
                    <a:pt x="75882" y="46038"/>
                    <a:pt x="7778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9" name="任意多边形: 形状 10618"/>
            <p:cNvSpPr/>
            <p:nvPr/>
          </p:nvSpPr>
          <p:spPr>
            <a:xfrm>
              <a:off x="6421438" y="2121852"/>
              <a:ext cx="82550" cy="57150"/>
            </a:xfrm>
            <a:custGeom>
              <a:avLst/>
              <a:gdLst>
                <a:gd name="connsiteX0" fmla="*/ 79058 w 82550"/>
                <a:gd name="connsiteY0" fmla="*/ 44133 h 57150"/>
                <a:gd name="connsiteX1" fmla="*/ 11113 w 82550"/>
                <a:gd name="connsiteY1" fmla="*/ 4763 h 57150"/>
                <a:gd name="connsiteX2" fmla="*/ 4763 w 82550"/>
                <a:gd name="connsiteY2" fmla="*/ 14923 h 57150"/>
                <a:gd name="connsiteX3" fmla="*/ 72708 w 82550"/>
                <a:gd name="connsiteY3" fmla="*/ 54293 h 57150"/>
                <a:gd name="connsiteX4" fmla="*/ 79058 w 82550"/>
                <a:gd name="connsiteY4" fmla="*/ 4413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7150">
                  <a:moveTo>
                    <a:pt x="79058" y="44133"/>
                  </a:moveTo>
                  <a:lnTo>
                    <a:pt x="11113" y="4763"/>
                  </a:lnTo>
                  <a:cubicBezTo>
                    <a:pt x="9208" y="7938"/>
                    <a:pt x="6667" y="11113"/>
                    <a:pt x="4763" y="14923"/>
                  </a:cubicBezTo>
                  <a:lnTo>
                    <a:pt x="72708" y="54293"/>
                  </a:lnTo>
                  <a:cubicBezTo>
                    <a:pt x="74613" y="51118"/>
                    <a:pt x="77153" y="47943"/>
                    <a:pt x="7905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0" name="任意多边形: 形状 10619"/>
            <p:cNvSpPr/>
            <p:nvPr/>
          </p:nvSpPr>
          <p:spPr>
            <a:xfrm>
              <a:off x="6417628" y="2132013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2 w 76200"/>
                <a:gd name="connsiteY1" fmla="*/ 4763 h 50800"/>
                <a:gd name="connsiteX2" fmla="*/ 4763 w 76200"/>
                <a:gd name="connsiteY2" fmla="*/ 11748 h 50800"/>
                <a:gd name="connsiteX3" fmla="*/ 72707 w 76200"/>
                <a:gd name="connsiteY3" fmla="*/ 51117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2" y="4763"/>
                  </a:lnTo>
                  <a:cubicBezTo>
                    <a:pt x="7302" y="6667"/>
                    <a:pt x="6032" y="9208"/>
                    <a:pt x="4763" y="11748"/>
                  </a:cubicBezTo>
                  <a:lnTo>
                    <a:pt x="72707" y="51117"/>
                  </a:lnTo>
                  <a:cubicBezTo>
                    <a:pt x="73977" y="48577"/>
                    <a:pt x="75247" y="46673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1" name="任意多边形: 形状 10620"/>
            <p:cNvSpPr/>
            <p:nvPr/>
          </p:nvSpPr>
          <p:spPr>
            <a:xfrm>
              <a:off x="6415722" y="2138998"/>
              <a:ext cx="76200" cy="50800"/>
            </a:xfrm>
            <a:custGeom>
              <a:avLst/>
              <a:gdLst>
                <a:gd name="connsiteX0" fmla="*/ 74613 w 76200"/>
                <a:gd name="connsiteY0" fmla="*/ 44132 h 50800"/>
                <a:gd name="connsiteX1" fmla="*/ 6668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461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2"/>
                  </a:moveTo>
                  <a:lnTo>
                    <a:pt x="6668" y="4763"/>
                  </a:lnTo>
                  <a:cubicBezTo>
                    <a:pt x="6033" y="6032"/>
                    <a:pt x="5398" y="7302"/>
                    <a:pt x="4763" y="9207"/>
                  </a:cubicBezTo>
                  <a:lnTo>
                    <a:pt x="72708" y="48577"/>
                  </a:lnTo>
                  <a:cubicBezTo>
                    <a:pt x="73343" y="46673"/>
                    <a:pt x="73978" y="45402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2" name="任意多边形: 形状 10621"/>
            <p:cNvSpPr/>
            <p:nvPr/>
          </p:nvSpPr>
          <p:spPr>
            <a:xfrm>
              <a:off x="6413817" y="2142808"/>
              <a:ext cx="76200" cy="50800"/>
            </a:xfrm>
            <a:custGeom>
              <a:avLst/>
              <a:gdLst>
                <a:gd name="connsiteX0" fmla="*/ 74613 w 76200"/>
                <a:gd name="connsiteY0" fmla="*/ 44132 h 50800"/>
                <a:gd name="connsiteX1" fmla="*/ 6667 w 76200"/>
                <a:gd name="connsiteY1" fmla="*/ 4763 h 50800"/>
                <a:gd name="connsiteX2" fmla="*/ 4763 w 76200"/>
                <a:gd name="connsiteY2" fmla="*/ 8572 h 50800"/>
                <a:gd name="connsiteX3" fmla="*/ 72708 w 76200"/>
                <a:gd name="connsiteY3" fmla="*/ 47942 h 50800"/>
                <a:gd name="connsiteX4" fmla="*/ 7461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2"/>
                  </a:moveTo>
                  <a:lnTo>
                    <a:pt x="6667" y="4763"/>
                  </a:lnTo>
                  <a:cubicBezTo>
                    <a:pt x="6033" y="6032"/>
                    <a:pt x="5398" y="7302"/>
                    <a:pt x="4763" y="8572"/>
                  </a:cubicBezTo>
                  <a:lnTo>
                    <a:pt x="72708" y="47942"/>
                  </a:lnTo>
                  <a:cubicBezTo>
                    <a:pt x="73342" y="47307"/>
                    <a:pt x="73978" y="45402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3" name="任意多边形: 形状 10622"/>
            <p:cNvSpPr/>
            <p:nvPr/>
          </p:nvSpPr>
          <p:spPr>
            <a:xfrm>
              <a:off x="6411913" y="2147252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7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7" y="4763"/>
                  </a:lnTo>
                  <a:cubicBezTo>
                    <a:pt x="6033" y="6033"/>
                    <a:pt x="5397" y="7302"/>
                    <a:pt x="4763" y="8573"/>
                  </a:cubicBezTo>
                  <a:lnTo>
                    <a:pt x="72708" y="47943"/>
                  </a:lnTo>
                  <a:cubicBezTo>
                    <a:pt x="73342" y="46673"/>
                    <a:pt x="73978" y="45402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4" name="任意多边形: 形状 10623"/>
            <p:cNvSpPr/>
            <p:nvPr/>
          </p:nvSpPr>
          <p:spPr>
            <a:xfrm>
              <a:off x="6410642" y="2150427"/>
              <a:ext cx="76200" cy="50800"/>
            </a:xfrm>
            <a:custGeom>
              <a:avLst/>
              <a:gdLst>
                <a:gd name="connsiteX0" fmla="*/ 73978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397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3"/>
                  </a:moveTo>
                  <a:lnTo>
                    <a:pt x="6033" y="4763"/>
                  </a:lnTo>
                  <a:cubicBezTo>
                    <a:pt x="5398" y="6033"/>
                    <a:pt x="4763" y="7302"/>
                    <a:pt x="4763" y="8573"/>
                  </a:cubicBezTo>
                  <a:lnTo>
                    <a:pt x="72708" y="47943"/>
                  </a:lnTo>
                  <a:cubicBezTo>
                    <a:pt x="72708" y="46673"/>
                    <a:pt x="73342" y="45402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5" name="任意多边形: 形状 10624"/>
            <p:cNvSpPr/>
            <p:nvPr/>
          </p:nvSpPr>
          <p:spPr>
            <a:xfrm>
              <a:off x="6409372" y="2154238"/>
              <a:ext cx="76200" cy="50800"/>
            </a:xfrm>
            <a:custGeom>
              <a:avLst/>
              <a:gdLst>
                <a:gd name="connsiteX0" fmla="*/ 73978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397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3"/>
                  </a:moveTo>
                  <a:lnTo>
                    <a:pt x="6033" y="4763"/>
                  </a:lnTo>
                  <a:cubicBezTo>
                    <a:pt x="5398" y="6033"/>
                    <a:pt x="4763" y="7302"/>
                    <a:pt x="4763" y="8573"/>
                  </a:cubicBezTo>
                  <a:lnTo>
                    <a:pt x="72708" y="47942"/>
                  </a:lnTo>
                  <a:cubicBezTo>
                    <a:pt x="72708" y="46673"/>
                    <a:pt x="73343" y="45402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6" name="任意多边形: 形状 10625"/>
            <p:cNvSpPr/>
            <p:nvPr/>
          </p:nvSpPr>
          <p:spPr>
            <a:xfrm>
              <a:off x="6407467" y="2158048"/>
              <a:ext cx="76200" cy="50800"/>
            </a:xfrm>
            <a:custGeom>
              <a:avLst/>
              <a:gdLst>
                <a:gd name="connsiteX0" fmla="*/ 73978 w 76200"/>
                <a:gd name="connsiteY0" fmla="*/ 44132 h 50800"/>
                <a:gd name="connsiteX1" fmla="*/ 603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397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2"/>
                  </a:moveTo>
                  <a:lnTo>
                    <a:pt x="6033" y="4763"/>
                  </a:lnTo>
                  <a:cubicBezTo>
                    <a:pt x="5398" y="6032"/>
                    <a:pt x="5398" y="7302"/>
                    <a:pt x="4763" y="8573"/>
                  </a:cubicBezTo>
                  <a:lnTo>
                    <a:pt x="72708" y="47942"/>
                  </a:lnTo>
                  <a:cubicBezTo>
                    <a:pt x="73342" y="46673"/>
                    <a:pt x="73978" y="45402"/>
                    <a:pt x="7397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7" name="任意多边形: 形状 10626"/>
            <p:cNvSpPr/>
            <p:nvPr/>
          </p:nvSpPr>
          <p:spPr>
            <a:xfrm>
              <a:off x="6406197" y="2161858"/>
              <a:ext cx="76200" cy="50800"/>
            </a:xfrm>
            <a:custGeom>
              <a:avLst/>
              <a:gdLst>
                <a:gd name="connsiteX0" fmla="*/ 73978 w 76200"/>
                <a:gd name="connsiteY0" fmla="*/ 44132 h 50800"/>
                <a:gd name="connsiteX1" fmla="*/ 6033 w 76200"/>
                <a:gd name="connsiteY1" fmla="*/ 4763 h 50800"/>
                <a:gd name="connsiteX2" fmla="*/ 4763 w 76200"/>
                <a:gd name="connsiteY2" fmla="*/ 8572 h 50800"/>
                <a:gd name="connsiteX3" fmla="*/ 72708 w 76200"/>
                <a:gd name="connsiteY3" fmla="*/ 47942 h 50800"/>
                <a:gd name="connsiteX4" fmla="*/ 7397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2"/>
                  </a:moveTo>
                  <a:lnTo>
                    <a:pt x="6033" y="4763"/>
                  </a:lnTo>
                  <a:cubicBezTo>
                    <a:pt x="5398" y="6032"/>
                    <a:pt x="5398" y="7302"/>
                    <a:pt x="4763" y="8572"/>
                  </a:cubicBezTo>
                  <a:lnTo>
                    <a:pt x="72708" y="47942"/>
                  </a:lnTo>
                  <a:cubicBezTo>
                    <a:pt x="73343" y="46672"/>
                    <a:pt x="73343" y="45402"/>
                    <a:pt x="7397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8" name="任意多边形: 形状 10627"/>
            <p:cNvSpPr/>
            <p:nvPr/>
          </p:nvSpPr>
          <p:spPr>
            <a:xfrm>
              <a:off x="6404928" y="2165667"/>
              <a:ext cx="76200" cy="50800"/>
            </a:xfrm>
            <a:custGeom>
              <a:avLst/>
              <a:gdLst>
                <a:gd name="connsiteX0" fmla="*/ 73977 w 76200"/>
                <a:gd name="connsiteY0" fmla="*/ 44133 h 50800"/>
                <a:gd name="connsiteX1" fmla="*/ 6032 w 76200"/>
                <a:gd name="connsiteY1" fmla="*/ 4763 h 50800"/>
                <a:gd name="connsiteX2" fmla="*/ 4763 w 76200"/>
                <a:gd name="connsiteY2" fmla="*/ 8573 h 50800"/>
                <a:gd name="connsiteX3" fmla="*/ 72707 w 76200"/>
                <a:gd name="connsiteY3" fmla="*/ 47943 h 50800"/>
                <a:gd name="connsiteX4" fmla="*/ 7397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7" y="44133"/>
                  </a:moveTo>
                  <a:lnTo>
                    <a:pt x="6032" y="4763"/>
                  </a:lnTo>
                  <a:cubicBezTo>
                    <a:pt x="5397" y="6033"/>
                    <a:pt x="5397" y="7303"/>
                    <a:pt x="4763" y="8573"/>
                  </a:cubicBezTo>
                  <a:lnTo>
                    <a:pt x="72707" y="47943"/>
                  </a:lnTo>
                  <a:cubicBezTo>
                    <a:pt x="73342" y="46673"/>
                    <a:pt x="73342" y="45403"/>
                    <a:pt x="7397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9" name="任意多边形: 形状 10628"/>
            <p:cNvSpPr/>
            <p:nvPr/>
          </p:nvSpPr>
          <p:spPr>
            <a:xfrm>
              <a:off x="6403658" y="2169477"/>
              <a:ext cx="76200" cy="50800"/>
            </a:xfrm>
            <a:custGeom>
              <a:avLst/>
              <a:gdLst>
                <a:gd name="connsiteX0" fmla="*/ 73977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397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7" y="44133"/>
                  </a:moveTo>
                  <a:lnTo>
                    <a:pt x="6033" y="4763"/>
                  </a:lnTo>
                  <a:cubicBezTo>
                    <a:pt x="5397" y="6033"/>
                    <a:pt x="5397" y="7302"/>
                    <a:pt x="4763" y="8573"/>
                  </a:cubicBezTo>
                  <a:lnTo>
                    <a:pt x="72708" y="47943"/>
                  </a:lnTo>
                  <a:cubicBezTo>
                    <a:pt x="73342" y="46673"/>
                    <a:pt x="73977" y="45402"/>
                    <a:pt x="7397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0" name="任意多边形: 形状 10629"/>
            <p:cNvSpPr/>
            <p:nvPr/>
          </p:nvSpPr>
          <p:spPr>
            <a:xfrm>
              <a:off x="6402388" y="2173288"/>
              <a:ext cx="76200" cy="50800"/>
            </a:xfrm>
            <a:custGeom>
              <a:avLst/>
              <a:gdLst>
                <a:gd name="connsiteX0" fmla="*/ 73978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397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3"/>
                  </a:moveTo>
                  <a:lnTo>
                    <a:pt x="6033" y="4763"/>
                  </a:lnTo>
                  <a:cubicBezTo>
                    <a:pt x="5397" y="6033"/>
                    <a:pt x="5397" y="7302"/>
                    <a:pt x="4763" y="8573"/>
                  </a:cubicBezTo>
                  <a:lnTo>
                    <a:pt x="72708" y="47942"/>
                  </a:lnTo>
                  <a:cubicBezTo>
                    <a:pt x="73342" y="46673"/>
                    <a:pt x="73978" y="45402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1" name="任意多边形: 形状 10630"/>
            <p:cNvSpPr/>
            <p:nvPr/>
          </p:nvSpPr>
          <p:spPr>
            <a:xfrm>
              <a:off x="6402388" y="2177098"/>
              <a:ext cx="76200" cy="50800"/>
            </a:xfrm>
            <a:custGeom>
              <a:avLst/>
              <a:gdLst>
                <a:gd name="connsiteX0" fmla="*/ 73342 w 76200"/>
                <a:gd name="connsiteY0" fmla="*/ 44132 h 50800"/>
                <a:gd name="connsiteX1" fmla="*/ 5397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3342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2"/>
                  </a:moveTo>
                  <a:lnTo>
                    <a:pt x="5397" y="4763"/>
                  </a:lnTo>
                  <a:cubicBezTo>
                    <a:pt x="4763" y="6032"/>
                    <a:pt x="4763" y="7302"/>
                    <a:pt x="4763" y="8573"/>
                  </a:cubicBezTo>
                  <a:lnTo>
                    <a:pt x="72708" y="47942"/>
                  </a:lnTo>
                  <a:cubicBezTo>
                    <a:pt x="72708" y="46673"/>
                    <a:pt x="72708" y="45402"/>
                    <a:pt x="7334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2" name="任意多边形: 形状 10631"/>
            <p:cNvSpPr/>
            <p:nvPr/>
          </p:nvSpPr>
          <p:spPr>
            <a:xfrm>
              <a:off x="6401117" y="2180908"/>
              <a:ext cx="76200" cy="50800"/>
            </a:xfrm>
            <a:custGeom>
              <a:avLst/>
              <a:gdLst>
                <a:gd name="connsiteX0" fmla="*/ 73342 w 76200"/>
                <a:gd name="connsiteY0" fmla="*/ 44132 h 50800"/>
                <a:gd name="connsiteX1" fmla="*/ 5398 w 76200"/>
                <a:gd name="connsiteY1" fmla="*/ 4763 h 50800"/>
                <a:gd name="connsiteX2" fmla="*/ 4763 w 76200"/>
                <a:gd name="connsiteY2" fmla="*/ 8572 h 50800"/>
                <a:gd name="connsiteX3" fmla="*/ 72708 w 76200"/>
                <a:gd name="connsiteY3" fmla="*/ 47942 h 50800"/>
                <a:gd name="connsiteX4" fmla="*/ 73342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2"/>
                  </a:moveTo>
                  <a:lnTo>
                    <a:pt x="5398" y="4763"/>
                  </a:lnTo>
                  <a:cubicBezTo>
                    <a:pt x="5398" y="6032"/>
                    <a:pt x="4763" y="7302"/>
                    <a:pt x="4763" y="8572"/>
                  </a:cubicBezTo>
                  <a:lnTo>
                    <a:pt x="72708" y="47942"/>
                  </a:lnTo>
                  <a:cubicBezTo>
                    <a:pt x="72708" y="46672"/>
                    <a:pt x="73342" y="45402"/>
                    <a:pt x="7334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3" name="任意多边形: 形状 10632"/>
            <p:cNvSpPr/>
            <p:nvPr/>
          </p:nvSpPr>
          <p:spPr>
            <a:xfrm>
              <a:off x="6400483" y="2184717"/>
              <a:ext cx="76200" cy="50800"/>
            </a:xfrm>
            <a:custGeom>
              <a:avLst/>
              <a:gdLst>
                <a:gd name="connsiteX0" fmla="*/ 73342 w 76200"/>
                <a:gd name="connsiteY0" fmla="*/ 44133 h 50800"/>
                <a:gd name="connsiteX1" fmla="*/ 5397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334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3"/>
                  </a:moveTo>
                  <a:lnTo>
                    <a:pt x="5397" y="4763"/>
                  </a:lnTo>
                  <a:cubicBezTo>
                    <a:pt x="5397" y="6033"/>
                    <a:pt x="4763" y="7303"/>
                    <a:pt x="4763" y="8573"/>
                  </a:cubicBezTo>
                  <a:lnTo>
                    <a:pt x="72708" y="47943"/>
                  </a:lnTo>
                  <a:cubicBezTo>
                    <a:pt x="72708" y="46673"/>
                    <a:pt x="73342" y="45403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4" name="任意多边形: 形状 10633"/>
            <p:cNvSpPr/>
            <p:nvPr/>
          </p:nvSpPr>
          <p:spPr>
            <a:xfrm>
              <a:off x="6399847" y="2188527"/>
              <a:ext cx="76200" cy="50800"/>
            </a:xfrm>
            <a:custGeom>
              <a:avLst/>
              <a:gdLst>
                <a:gd name="connsiteX0" fmla="*/ 73343 w 76200"/>
                <a:gd name="connsiteY0" fmla="*/ 44133 h 50800"/>
                <a:gd name="connsiteX1" fmla="*/ 5398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334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3" y="44133"/>
                  </a:moveTo>
                  <a:lnTo>
                    <a:pt x="5398" y="4763"/>
                  </a:lnTo>
                  <a:cubicBezTo>
                    <a:pt x="5398" y="6033"/>
                    <a:pt x="4763" y="7302"/>
                    <a:pt x="4763" y="8573"/>
                  </a:cubicBezTo>
                  <a:lnTo>
                    <a:pt x="72708" y="47943"/>
                  </a:lnTo>
                  <a:cubicBezTo>
                    <a:pt x="72708" y="46673"/>
                    <a:pt x="73343" y="45402"/>
                    <a:pt x="7334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5" name="任意多边形: 形状 10634"/>
            <p:cNvSpPr/>
            <p:nvPr/>
          </p:nvSpPr>
          <p:spPr>
            <a:xfrm>
              <a:off x="6399213" y="2192338"/>
              <a:ext cx="76200" cy="50800"/>
            </a:xfrm>
            <a:custGeom>
              <a:avLst/>
              <a:gdLst>
                <a:gd name="connsiteX0" fmla="*/ 73342 w 76200"/>
                <a:gd name="connsiteY0" fmla="*/ 44133 h 50800"/>
                <a:gd name="connsiteX1" fmla="*/ 5397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334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3"/>
                  </a:moveTo>
                  <a:lnTo>
                    <a:pt x="5397" y="4763"/>
                  </a:lnTo>
                  <a:cubicBezTo>
                    <a:pt x="5397" y="6033"/>
                    <a:pt x="5397" y="7302"/>
                    <a:pt x="4763" y="8573"/>
                  </a:cubicBezTo>
                  <a:lnTo>
                    <a:pt x="72708" y="47942"/>
                  </a:lnTo>
                  <a:cubicBezTo>
                    <a:pt x="73342" y="46673"/>
                    <a:pt x="73342" y="45402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6" name="任意多边形: 形状 10635"/>
            <p:cNvSpPr/>
            <p:nvPr/>
          </p:nvSpPr>
          <p:spPr>
            <a:xfrm>
              <a:off x="6399847" y="2196148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7302"/>
                    <a:pt x="4763" y="8573"/>
                  </a:cubicBezTo>
                  <a:lnTo>
                    <a:pt x="72708" y="47942"/>
                  </a:lnTo>
                  <a:cubicBezTo>
                    <a:pt x="72073" y="46673"/>
                    <a:pt x="72073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7" name="任意多边形: 形状 10636"/>
            <p:cNvSpPr/>
            <p:nvPr/>
          </p:nvSpPr>
          <p:spPr>
            <a:xfrm>
              <a:off x="6399213" y="2199323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7302"/>
                    <a:pt x="4763" y="8573"/>
                  </a:cubicBezTo>
                  <a:lnTo>
                    <a:pt x="72708" y="47942"/>
                  </a:lnTo>
                  <a:cubicBezTo>
                    <a:pt x="72708" y="46673"/>
                    <a:pt x="72708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8" name="任意多边形: 形状 10637"/>
            <p:cNvSpPr/>
            <p:nvPr/>
          </p:nvSpPr>
          <p:spPr>
            <a:xfrm>
              <a:off x="6399213" y="2203133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4763 w 76200"/>
                <a:gd name="connsiteY2" fmla="*/ 7938 h 50800"/>
                <a:gd name="connsiteX3" fmla="*/ 4763 w 76200"/>
                <a:gd name="connsiteY3" fmla="*/ 7938 h 50800"/>
                <a:gd name="connsiteX4" fmla="*/ 72708 w 76200"/>
                <a:gd name="connsiteY4" fmla="*/ 47307 h 50800"/>
                <a:gd name="connsiteX5" fmla="*/ 72708 w 76200"/>
                <a:gd name="connsiteY5" fmla="*/ 47307 h 50800"/>
                <a:gd name="connsiteX6" fmla="*/ 72708 w 76200"/>
                <a:gd name="connsiteY6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6667"/>
                    <a:pt x="4763" y="7938"/>
                  </a:cubicBezTo>
                  <a:cubicBezTo>
                    <a:pt x="4763" y="7938"/>
                    <a:pt x="4763" y="7938"/>
                    <a:pt x="4763" y="7938"/>
                  </a:cubicBezTo>
                  <a:lnTo>
                    <a:pt x="72708" y="47307"/>
                  </a:lnTo>
                  <a:cubicBezTo>
                    <a:pt x="72708" y="47307"/>
                    <a:pt x="72708" y="47307"/>
                    <a:pt x="72708" y="47307"/>
                  </a:cubicBezTo>
                  <a:cubicBezTo>
                    <a:pt x="72708" y="46672"/>
                    <a:pt x="72708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9" name="任意多边形: 形状 10638"/>
            <p:cNvSpPr/>
            <p:nvPr/>
          </p:nvSpPr>
          <p:spPr>
            <a:xfrm>
              <a:off x="6399213" y="2206942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4763 w 76200"/>
                <a:gd name="connsiteY2" fmla="*/ 7303 h 50800"/>
                <a:gd name="connsiteX3" fmla="*/ 72708 w 76200"/>
                <a:gd name="connsiteY3" fmla="*/ 46673 h 50800"/>
                <a:gd name="connsiteX4" fmla="*/ 7270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4763" y="6033"/>
                    <a:pt x="4763" y="6668"/>
                    <a:pt x="4763" y="7303"/>
                  </a:cubicBezTo>
                  <a:lnTo>
                    <a:pt x="72708" y="46673"/>
                  </a:lnTo>
                  <a:cubicBezTo>
                    <a:pt x="72708" y="46038"/>
                    <a:pt x="72708" y="44768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0" name="任意多边形: 形状 10639"/>
            <p:cNvSpPr/>
            <p:nvPr/>
          </p:nvSpPr>
          <p:spPr>
            <a:xfrm>
              <a:off x="6399213" y="2209483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4763 w 76200"/>
                <a:gd name="connsiteY2" fmla="*/ 7938 h 50800"/>
                <a:gd name="connsiteX3" fmla="*/ 72708 w 76200"/>
                <a:gd name="connsiteY3" fmla="*/ 47307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6667"/>
                    <a:pt x="4763" y="7938"/>
                  </a:cubicBezTo>
                  <a:lnTo>
                    <a:pt x="72708" y="47307"/>
                  </a:lnTo>
                  <a:cubicBezTo>
                    <a:pt x="72708" y="46038"/>
                    <a:pt x="72708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1" name="任意多边形: 形状 10640"/>
            <p:cNvSpPr/>
            <p:nvPr/>
          </p:nvSpPr>
          <p:spPr>
            <a:xfrm>
              <a:off x="6399213" y="2212658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5397 w 76200"/>
                <a:gd name="connsiteY2" fmla="*/ 8572 h 50800"/>
                <a:gd name="connsiteX3" fmla="*/ 73342 w 76200"/>
                <a:gd name="connsiteY3" fmla="*/ 47942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7302"/>
                    <a:pt x="5397" y="8572"/>
                  </a:cubicBezTo>
                  <a:lnTo>
                    <a:pt x="73342" y="47942"/>
                  </a:lnTo>
                  <a:cubicBezTo>
                    <a:pt x="73342" y="46672"/>
                    <a:pt x="72708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2" name="任意多边形: 形状 10641"/>
            <p:cNvSpPr/>
            <p:nvPr/>
          </p:nvSpPr>
          <p:spPr>
            <a:xfrm>
              <a:off x="6399847" y="2216467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4763 w 76200"/>
                <a:gd name="connsiteY2" fmla="*/ 6668 h 50800"/>
                <a:gd name="connsiteX3" fmla="*/ 72708 w 76200"/>
                <a:gd name="connsiteY3" fmla="*/ 46038 h 50800"/>
                <a:gd name="connsiteX4" fmla="*/ 7270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6668"/>
                  </a:cubicBezTo>
                  <a:lnTo>
                    <a:pt x="72708" y="46038"/>
                  </a:lnTo>
                  <a:cubicBezTo>
                    <a:pt x="72708" y="45403"/>
                    <a:pt x="72708" y="44768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3" name="任意多边形: 形状 10642"/>
            <p:cNvSpPr/>
            <p:nvPr/>
          </p:nvSpPr>
          <p:spPr>
            <a:xfrm>
              <a:off x="6396663" y="1899914"/>
              <a:ext cx="673100" cy="565150"/>
            </a:xfrm>
            <a:custGeom>
              <a:avLst/>
              <a:gdLst>
                <a:gd name="connsiteX0" fmla="*/ 331162 w 673100"/>
                <a:gd name="connsiteY0" fmla="*/ 24136 h 565150"/>
                <a:gd name="connsiteX1" fmla="*/ 200987 w 673100"/>
                <a:gd name="connsiteY1" fmla="*/ 208286 h 565150"/>
                <a:gd name="connsiteX2" fmla="*/ 153997 w 673100"/>
                <a:gd name="connsiteY2" fmla="*/ 217811 h 565150"/>
                <a:gd name="connsiteX3" fmla="*/ 75257 w 673100"/>
                <a:gd name="connsiteY3" fmla="*/ 350526 h 565150"/>
                <a:gd name="connsiteX4" fmla="*/ 76527 w 673100"/>
                <a:gd name="connsiteY4" fmla="*/ 362591 h 565150"/>
                <a:gd name="connsiteX5" fmla="*/ 4772 w 673100"/>
                <a:gd name="connsiteY5" fmla="*/ 503561 h 565150"/>
                <a:gd name="connsiteX6" fmla="*/ 80972 w 673100"/>
                <a:gd name="connsiteY6" fmla="*/ 559441 h 565150"/>
                <a:gd name="connsiteX7" fmla="*/ 609293 w 673100"/>
                <a:gd name="connsiteY7" fmla="*/ 255911 h 565150"/>
                <a:gd name="connsiteX8" fmla="*/ 620087 w 673100"/>
                <a:gd name="connsiteY8" fmla="*/ 249561 h 565150"/>
                <a:gd name="connsiteX9" fmla="*/ 672793 w 673100"/>
                <a:gd name="connsiteY9" fmla="*/ 160661 h 565150"/>
                <a:gd name="connsiteX10" fmla="*/ 627707 w 673100"/>
                <a:gd name="connsiteY10" fmla="*/ 128911 h 565150"/>
                <a:gd name="connsiteX11" fmla="*/ 630247 w 673100"/>
                <a:gd name="connsiteY11" fmla="*/ 109861 h 565150"/>
                <a:gd name="connsiteX12" fmla="*/ 577543 w 673100"/>
                <a:gd name="connsiteY12" fmla="*/ 81921 h 565150"/>
                <a:gd name="connsiteX13" fmla="*/ 550237 w 673100"/>
                <a:gd name="connsiteY13" fmla="*/ 106686 h 565150"/>
                <a:gd name="connsiteX14" fmla="*/ 493087 w 673100"/>
                <a:gd name="connsiteY14" fmla="*/ 78111 h 565150"/>
                <a:gd name="connsiteX15" fmla="*/ 469593 w 673100"/>
                <a:gd name="connsiteY15" fmla="*/ 97796 h 565150"/>
                <a:gd name="connsiteX16" fmla="*/ 331162 w 673100"/>
                <a:gd name="connsiteY16" fmla="*/ 24136 h 56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73100" h="565150">
                  <a:moveTo>
                    <a:pt x="331162" y="24136"/>
                  </a:moveTo>
                  <a:cubicBezTo>
                    <a:pt x="269568" y="59696"/>
                    <a:pt x="217497" y="135896"/>
                    <a:pt x="200987" y="208286"/>
                  </a:cubicBezTo>
                  <a:cubicBezTo>
                    <a:pt x="187652" y="205111"/>
                    <a:pt x="171777" y="207651"/>
                    <a:pt x="153997" y="217811"/>
                  </a:cubicBezTo>
                  <a:cubicBezTo>
                    <a:pt x="110182" y="243211"/>
                    <a:pt x="75257" y="302266"/>
                    <a:pt x="75257" y="350526"/>
                  </a:cubicBezTo>
                  <a:cubicBezTo>
                    <a:pt x="75257" y="354971"/>
                    <a:pt x="75892" y="358781"/>
                    <a:pt x="76527" y="362591"/>
                  </a:cubicBezTo>
                  <a:cubicBezTo>
                    <a:pt x="35252" y="396246"/>
                    <a:pt x="4137" y="454666"/>
                    <a:pt x="4772" y="503561"/>
                  </a:cubicBezTo>
                  <a:cubicBezTo>
                    <a:pt x="4772" y="553726"/>
                    <a:pt x="37792" y="576586"/>
                    <a:pt x="80972" y="559441"/>
                  </a:cubicBezTo>
                  <a:lnTo>
                    <a:pt x="609293" y="255911"/>
                  </a:lnTo>
                  <a:cubicBezTo>
                    <a:pt x="612468" y="253371"/>
                    <a:pt x="616277" y="252101"/>
                    <a:pt x="620087" y="249561"/>
                  </a:cubicBezTo>
                  <a:cubicBezTo>
                    <a:pt x="649297" y="233051"/>
                    <a:pt x="672793" y="193046"/>
                    <a:pt x="672793" y="160661"/>
                  </a:cubicBezTo>
                  <a:cubicBezTo>
                    <a:pt x="672793" y="131451"/>
                    <a:pt x="653107" y="118116"/>
                    <a:pt x="627707" y="128911"/>
                  </a:cubicBezTo>
                  <a:cubicBezTo>
                    <a:pt x="629612" y="122561"/>
                    <a:pt x="630247" y="115576"/>
                    <a:pt x="630247" y="109861"/>
                  </a:cubicBezTo>
                  <a:cubicBezTo>
                    <a:pt x="630247" y="77476"/>
                    <a:pt x="606752" y="64776"/>
                    <a:pt x="577543" y="81921"/>
                  </a:cubicBezTo>
                  <a:cubicBezTo>
                    <a:pt x="567382" y="87636"/>
                    <a:pt x="557857" y="96526"/>
                    <a:pt x="550237" y="106686"/>
                  </a:cubicBezTo>
                  <a:cubicBezTo>
                    <a:pt x="548968" y="73031"/>
                    <a:pt x="524202" y="60331"/>
                    <a:pt x="493087" y="78111"/>
                  </a:cubicBezTo>
                  <a:cubicBezTo>
                    <a:pt x="484832" y="83191"/>
                    <a:pt x="476577" y="89541"/>
                    <a:pt x="469593" y="97796"/>
                  </a:cubicBezTo>
                  <a:cubicBezTo>
                    <a:pt x="467687" y="13341"/>
                    <a:pt x="406093" y="-19679"/>
                    <a:pt x="331162" y="24136"/>
                  </a:cubicBezTo>
                  <a:close/>
                </a:path>
              </a:pathLst>
            </a:custGeom>
            <a:solidFill>
              <a:srgbClr val="D9E1F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803275" y="3158190"/>
            <a:ext cx="5426075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803275" y="1895305"/>
            <a:ext cx="5426075" cy="1262885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03275" y="4568798"/>
            <a:ext cx="2625725" cy="37464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03275" y="5051516"/>
            <a:ext cx="262572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2" name="组合 881"/>
          <p:cNvGrpSpPr/>
          <p:nvPr userDrawn="1"/>
        </p:nvGrpSpPr>
        <p:grpSpPr>
          <a:xfrm>
            <a:off x="745426" y="1568742"/>
            <a:ext cx="4769662" cy="4183104"/>
            <a:chOff x="5397183" y="1077277"/>
            <a:chExt cx="6160135" cy="5402581"/>
          </a:xfrm>
        </p:grpSpPr>
        <p:sp>
          <p:nvSpPr>
            <p:cNvPr id="883" name="任意多边形: 形状 882"/>
            <p:cNvSpPr/>
            <p:nvPr/>
          </p:nvSpPr>
          <p:spPr>
            <a:xfrm>
              <a:off x="5748972" y="3690303"/>
              <a:ext cx="44450" cy="31750"/>
            </a:xfrm>
            <a:custGeom>
              <a:avLst/>
              <a:gdLst>
                <a:gd name="connsiteX0" fmla="*/ 44133 w 44450"/>
                <a:gd name="connsiteY0" fmla="*/ 27622 h 31750"/>
                <a:gd name="connsiteX1" fmla="*/ 7303 w 44450"/>
                <a:gd name="connsiteY1" fmla="*/ 6032 h 31750"/>
                <a:gd name="connsiteX2" fmla="*/ 4763 w 44450"/>
                <a:gd name="connsiteY2" fmla="*/ 4763 h 31750"/>
                <a:gd name="connsiteX3" fmla="*/ 41593 w 44450"/>
                <a:gd name="connsiteY3" fmla="*/ 26352 h 31750"/>
                <a:gd name="connsiteX4" fmla="*/ 44133 w 44450"/>
                <a:gd name="connsiteY4" fmla="*/ 2762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7622"/>
                  </a:moveTo>
                  <a:lnTo>
                    <a:pt x="7303" y="6032"/>
                  </a:lnTo>
                  <a:cubicBezTo>
                    <a:pt x="6668" y="5397"/>
                    <a:pt x="6033" y="5397"/>
                    <a:pt x="4763" y="4763"/>
                  </a:cubicBezTo>
                  <a:lnTo>
                    <a:pt x="41593" y="26352"/>
                  </a:lnTo>
                  <a:cubicBezTo>
                    <a:pt x="42228" y="26988"/>
                    <a:pt x="42863" y="26988"/>
                    <a:pt x="44133" y="2762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4" name="任意多边形: 形状 883"/>
            <p:cNvSpPr/>
            <p:nvPr/>
          </p:nvSpPr>
          <p:spPr>
            <a:xfrm>
              <a:off x="5747067" y="3689667"/>
              <a:ext cx="44450" cy="31750"/>
            </a:xfrm>
            <a:custGeom>
              <a:avLst/>
              <a:gdLst>
                <a:gd name="connsiteX0" fmla="*/ 43498 w 44450"/>
                <a:gd name="connsiteY0" fmla="*/ 26988 h 31750"/>
                <a:gd name="connsiteX1" fmla="*/ 6667 w 44450"/>
                <a:gd name="connsiteY1" fmla="*/ 5398 h 31750"/>
                <a:gd name="connsiteX2" fmla="*/ 4763 w 44450"/>
                <a:gd name="connsiteY2" fmla="*/ 4763 h 31750"/>
                <a:gd name="connsiteX3" fmla="*/ 41592 w 44450"/>
                <a:gd name="connsiteY3" fmla="*/ 26353 h 31750"/>
                <a:gd name="connsiteX4" fmla="*/ 43498 w 44450"/>
                <a:gd name="connsiteY4" fmla="*/ 26988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988"/>
                  </a:moveTo>
                  <a:lnTo>
                    <a:pt x="6667" y="5398"/>
                  </a:lnTo>
                  <a:cubicBezTo>
                    <a:pt x="6033" y="5398"/>
                    <a:pt x="5398" y="4763"/>
                    <a:pt x="4763" y="4763"/>
                  </a:cubicBezTo>
                  <a:lnTo>
                    <a:pt x="41592" y="26353"/>
                  </a:lnTo>
                  <a:cubicBezTo>
                    <a:pt x="42228" y="26988"/>
                    <a:pt x="42863" y="26988"/>
                    <a:pt x="43498" y="2698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5" name="任意多边形: 形状 884"/>
            <p:cNvSpPr/>
            <p:nvPr/>
          </p:nvSpPr>
          <p:spPr>
            <a:xfrm>
              <a:off x="5745163" y="3690303"/>
              <a:ext cx="44450" cy="25400"/>
            </a:xfrm>
            <a:custGeom>
              <a:avLst/>
              <a:gdLst>
                <a:gd name="connsiteX0" fmla="*/ 43497 w 44450"/>
                <a:gd name="connsiteY0" fmla="*/ 26352 h 25400"/>
                <a:gd name="connsiteX1" fmla="*/ 6667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3497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7" y="26352"/>
                  </a:moveTo>
                  <a:lnTo>
                    <a:pt x="6667" y="4763"/>
                  </a:lnTo>
                  <a:cubicBezTo>
                    <a:pt x="6033" y="4763"/>
                    <a:pt x="5397" y="4763"/>
                    <a:pt x="4763" y="4763"/>
                  </a:cubicBezTo>
                  <a:lnTo>
                    <a:pt x="41592" y="26352"/>
                  </a:lnTo>
                  <a:cubicBezTo>
                    <a:pt x="42228" y="25717"/>
                    <a:pt x="42863" y="25717"/>
                    <a:pt x="4349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6" name="任意多边形: 形状 885"/>
            <p:cNvSpPr/>
            <p:nvPr/>
          </p:nvSpPr>
          <p:spPr>
            <a:xfrm>
              <a:off x="5743892" y="3689667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4763" y="4763"/>
                    <a:pt x="4763" y="4763"/>
                  </a:cubicBezTo>
                  <a:lnTo>
                    <a:pt x="41592" y="26353"/>
                  </a:lnTo>
                  <a:cubicBezTo>
                    <a:pt x="42228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7" name="任意多边形: 形状 886"/>
            <p:cNvSpPr/>
            <p:nvPr/>
          </p:nvSpPr>
          <p:spPr>
            <a:xfrm>
              <a:off x="5742622" y="3689667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3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4763"/>
                  </a:cubicBezTo>
                  <a:lnTo>
                    <a:pt x="41593" y="26353"/>
                  </a:lnTo>
                  <a:cubicBezTo>
                    <a:pt x="41593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8" name="任意多边形: 形状 887"/>
            <p:cNvSpPr/>
            <p:nvPr/>
          </p:nvSpPr>
          <p:spPr>
            <a:xfrm>
              <a:off x="5741353" y="3689667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2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3"/>
                  </a:lnTo>
                  <a:cubicBezTo>
                    <a:pt x="41592" y="26353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9" name="任意多边形: 形状 888"/>
            <p:cNvSpPr/>
            <p:nvPr/>
          </p:nvSpPr>
          <p:spPr>
            <a:xfrm>
              <a:off x="5740083" y="3689667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3"/>
                  </a:lnTo>
                  <a:cubicBezTo>
                    <a:pt x="41592" y="26988"/>
                    <a:pt x="42227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0" name="任意多边形: 形状 889"/>
            <p:cNvSpPr/>
            <p:nvPr/>
          </p:nvSpPr>
          <p:spPr>
            <a:xfrm>
              <a:off x="5738813" y="3690303"/>
              <a:ext cx="44450" cy="25400"/>
            </a:xfrm>
            <a:custGeom>
              <a:avLst/>
              <a:gdLst>
                <a:gd name="connsiteX0" fmla="*/ 42863 w 44450"/>
                <a:gd name="connsiteY0" fmla="*/ 26352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2863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2"/>
                  </a:lnTo>
                  <a:cubicBezTo>
                    <a:pt x="41592" y="26352"/>
                    <a:pt x="42228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1" name="任意多边形: 形状 890"/>
            <p:cNvSpPr/>
            <p:nvPr/>
          </p:nvSpPr>
          <p:spPr>
            <a:xfrm>
              <a:off x="5737542" y="369030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5397"/>
                  </a:cubicBezTo>
                  <a:lnTo>
                    <a:pt x="41592" y="26988"/>
                  </a:lnTo>
                  <a:cubicBezTo>
                    <a:pt x="41592" y="26988"/>
                    <a:pt x="42228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2" name="任意多边形: 形状 891"/>
            <p:cNvSpPr/>
            <p:nvPr/>
          </p:nvSpPr>
          <p:spPr>
            <a:xfrm>
              <a:off x="5736272" y="3690938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3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5397"/>
                  </a:cubicBezTo>
                  <a:lnTo>
                    <a:pt x="41593" y="26988"/>
                  </a:lnTo>
                  <a:cubicBezTo>
                    <a:pt x="42228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3" name="任意多边形: 形状 892"/>
            <p:cNvSpPr/>
            <p:nvPr/>
          </p:nvSpPr>
          <p:spPr>
            <a:xfrm>
              <a:off x="5735003" y="3690938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2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5397" y="4763"/>
                    <a:pt x="4763" y="5397"/>
                  </a:cubicBezTo>
                  <a:lnTo>
                    <a:pt x="41592" y="26988"/>
                  </a:lnTo>
                  <a:cubicBezTo>
                    <a:pt x="42227" y="26988"/>
                    <a:pt x="42227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4" name="任意多边形: 形状 893"/>
            <p:cNvSpPr/>
            <p:nvPr/>
          </p:nvSpPr>
          <p:spPr>
            <a:xfrm>
              <a:off x="5734367" y="3691572"/>
              <a:ext cx="44450" cy="25400"/>
            </a:xfrm>
            <a:custGeom>
              <a:avLst/>
              <a:gdLst>
                <a:gd name="connsiteX0" fmla="*/ 42228 w 44450"/>
                <a:gd name="connsiteY0" fmla="*/ 26353 h 25400"/>
                <a:gd name="connsiteX1" fmla="*/ 5398 w 44450"/>
                <a:gd name="connsiteY1" fmla="*/ 4763 h 25400"/>
                <a:gd name="connsiteX2" fmla="*/ 4763 w 44450"/>
                <a:gd name="connsiteY2" fmla="*/ 4763 h 25400"/>
                <a:gd name="connsiteX3" fmla="*/ 42228 w 44450"/>
                <a:gd name="connsiteY3" fmla="*/ 26353 h 25400"/>
                <a:gd name="connsiteX4" fmla="*/ 42228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4763"/>
                    <a:pt x="5398" y="4763"/>
                    <a:pt x="4763" y="4763"/>
                  </a:cubicBezTo>
                  <a:lnTo>
                    <a:pt x="42228" y="26353"/>
                  </a:lnTo>
                  <a:cubicBezTo>
                    <a:pt x="42228" y="26353"/>
                    <a:pt x="42228" y="26353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5" name="任意多边形: 形状 894"/>
            <p:cNvSpPr/>
            <p:nvPr/>
          </p:nvSpPr>
          <p:spPr>
            <a:xfrm>
              <a:off x="5725478" y="3662363"/>
              <a:ext cx="44450" cy="31750"/>
            </a:xfrm>
            <a:custGeom>
              <a:avLst/>
              <a:gdLst>
                <a:gd name="connsiteX0" fmla="*/ 44132 w 44450"/>
                <a:gd name="connsiteY0" fmla="*/ 27622 h 31750"/>
                <a:gd name="connsiteX1" fmla="*/ 7302 w 44450"/>
                <a:gd name="connsiteY1" fmla="*/ 6033 h 31750"/>
                <a:gd name="connsiteX2" fmla="*/ 4763 w 44450"/>
                <a:gd name="connsiteY2" fmla="*/ 4763 h 31750"/>
                <a:gd name="connsiteX3" fmla="*/ 41592 w 44450"/>
                <a:gd name="connsiteY3" fmla="*/ 26353 h 31750"/>
                <a:gd name="connsiteX4" fmla="*/ 44132 w 44450"/>
                <a:gd name="connsiteY4" fmla="*/ 2762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2" y="27622"/>
                  </a:moveTo>
                  <a:lnTo>
                    <a:pt x="7302" y="6033"/>
                  </a:lnTo>
                  <a:cubicBezTo>
                    <a:pt x="6667" y="5397"/>
                    <a:pt x="6032" y="5397"/>
                    <a:pt x="4763" y="4763"/>
                  </a:cubicBezTo>
                  <a:lnTo>
                    <a:pt x="41592" y="26353"/>
                  </a:lnTo>
                  <a:cubicBezTo>
                    <a:pt x="42863" y="26988"/>
                    <a:pt x="43497" y="27622"/>
                    <a:pt x="44132" y="2762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6" name="任意多边形: 形状 895"/>
            <p:cNvSpPr/>
            <p:nvPr/>
          </p:nvSpPr>
          <p:spPr>
            <a:xfrm>
              <a:off x="5723572" y="3662363"/>
              <a:ext cx="44450" cy="31750"/>
            </a:xfrm>
            <a:custGeom>
              <a:avLst/>
              <a:gdLst>
                <a:gd name="connsiteX0" fmla="*/ 43498 w 44450"/>
                <a:gd name="connsiteY0" fmla="*/ 26988 h 31750"/>
                <a:gd name="connsiteX1" fmla="*/ 6668 w 44450"/>
                <a:gd name="connsiteY1" fmla="*/ 5397 h 31750"/>
                <a:gd name="connsiteX2" fmla="*/ 4763 w 44450"/>
                <a:gd name="connsiteY2" fmla="*/ 4763 h 31750"/>
                <a:gd name="connsiteX3" fmla="*/ 41593 w 44450"/>
                <a:gd name="connsiteY3" fmla="*/ 26353 h 31750"/>
                <a:gd name="connsiteX4" fmla="*/ 43498 w 44450"/>
                <a:gd name="connsiteY4" fmla="*/ 26988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988"/>
                  </a:moveTo>
                  <a:lnTo>
                    <a:pt x="6668" y="5397"/>
                  </a:lnTo>
                  <a:cubicBezTo>
                    <a:pt x="6033" y="5397"/>
                    <a:pt x="5398" y="4763"/>
                    <a:pt x="4763" y="4763"/>
                  </a:cubicBezTo>
                  <a:lnTo>
                    <a:pt x="41593" y="26353"/>
                  </a:lnTo>
                  <a:cubicBezTo>
                    <a:pt x="42228" y="26353"/>
                    <a:pt x="42863" y="26353"/>
                    <a:pt x="43498" y="2698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7" name="任意多边形: 形状 896"/>
            <p:cNvSpPr/>
            <p:nvPr/>
          </p:nvSpPr>
          <p:spPr>
            <a:xfrm>
              <a:off x="5721667" y="3662363"/>
              <a:ext cx="44450" cy="25400"/>
            </a:xfrm>
            <a:custGeom>
              <a:avLst/>
              <a:gdLst>
                <a:gd name="connsiteX0" fmla="*/ 43498 w 44450"/>
                <a:gd name="connsiteY0" fmla="*/ 26353 h 25400"/>
                <a:gd name="connsiteX1" fmla="*/ 6667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3498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8" y="26353"/>
                  </a:moveTo>
                  <a:lnTo>
                    <a:pt x="6667" y="4763"/>
                  </a:lnTo>
                  <a:cubicBezTo>
                    <a:pt x="6033" y="4763"/>
                    <a:pt x="5398" y="4763"/>
                    <a:pt x="4763" y="4763"/>
                  </a:cubicBezTo>
                  <a:lnTo>
                    <a:pt x="41592" y="26353"/>
                  </a:lnTo>
                  <a:cubicBezTo>
                    <a:pt x="42863" y="26353"/>
                    <a:pt x="42863" y="26353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8" name="任意多边形: 形状 897"/>
            <p:cNvSpPr/>
            <p:nvPr/>
          </p:nvSpPr>
          <p:spPr>
            <a:xfrm>
              <a:off x="5721033" y="3661728"/>
              <a:ext cx="44450" cy="25400"/>
            </a:xfrm>
            <a:custGeom>
              <a:avLst/>
              <a:gdLst>
                <a:gd name="connsiteX0" fmla="*/ 42863 w 44450"/>
                <a:gd name="connsiteY0" fmla="*/ 26352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2863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4763"/>
                    <a:pt x="4763" y="4763"/>
                    <a:pt x="4763" y="4763"/>
                  </a:cubicBezTo>
                  <a:lnTo>
                    <a:pt x="41592" y="26352"/>
                  </a:lnTo>
                  <a:cubicBezTo>
                    <a:pt x="41592" y="26352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9" name="任意多边形: 形状 898"/>
            <p:cNvSpPr/>
            <p:nvPr/>
          </p:nvSpPr>
          <p:spPr>
            <a:xfrm>
              <a:off x="5719128" y="3661728"/>
              <a:ext cx="44450" cy="25400"/>
            </a:xfrm>
            <a:custGeom>
              <a:avLst/>
              <a:gdLst>
                <a:gd name="connsiteX0" fmla="*/ 42863 w 44450"/>
                <a:gd name="connsiteY0" fmla="*/ 26352 h 25400"/>
                <a:gd name="connsiteX1" fmla="*/ 6032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2863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2"/>
                  </a:moveTo>
                  <a:lnTo>
                    <a:pt x="6032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2"/>
                  </a:lnTo>
                  <a:cubicBezTo>
                    <a:pt x="42227" y="26352"/>
                    <a:pt x="42863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0" name="任意多边形: 形状 899"/>
            <p:cNvSpPr/>
            <p:nvPr/>
          </p:nvSpPr>
          <p:spPr>
            <a:xfrm>
              <a:off x="5717858" y="3661728"/>
              <a:ext cx="44450" cy="25400"/>
            </a:xfrm>
            <a:custGeom>
              <a:avLst/>
              <a:gdLst>
                <a:gd name="connsiteX0" fmla="*/ 42863 w 44450"/>
                <a:gd name="connsiteY0" fmla="*/ 26352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2863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2"/>
                  </a:lnTo>
                  <a:cubicBezTo>
                    <a:pt x="42227" y="26988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1" name="任意多边形: 形状 900"/>
            <p:cNvSpPr/>
            <p:nvPr/>
          </p:nvSpPr>
          <p:spPr>
            <a:xfrm>
              <a:off x="5716588" y="3662363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3"/>
                  </a:lnTo>
                  <a:cubicBezTo>
                    <a:pt x="42228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2" name="任意多边形: 形状 901"/>
            <p:cNvSpPr/>
            <p:nvPr/>
          </p:nvSpPr>
          <p:spPr>
            <a:xfrm>
              <a:off x="5715317" y="3662363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4763"/>
                  </a:cubicBezTo>
                  <a:lnTo>
                    <a:pt x="41592" y="26353"/>
                  </a:lnTo>
                  <a:cubicBezTo>
                    <a:pt x="42228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3" name="任意多边形: 形状 902"/>
            <p:cNvSpPr/>
            <p:nvPr/>
          </p:nvSpPr>
          <p:spPr>
            <a:xfrm>
              <a:off x="5714047" y="3662363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3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5397"/>
                  </a:cubicBezTo>
                  <a:lnTo>
                    <a:pt x="41593" y="26988"/>
                  </a:lnTo>
                  <a:cubicBezTo>
                    <a:pt x="42228" y="26988"/>
                    <a:pt x="42863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4" name="任意多边形: 形状 903"/>
            <p:cNvSpPr/>
            <p:nvPr/>
          </p:nvSpPr>
          <p:spPr>
            <a:xfrm>
              <a:off x="5712778" y="366299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2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5397" y="4763"/>
                    <a:pt x="4763" y="5398"/>
                  </a:cubicBezTo>
                  <a:lnTo>
                    <a:pt x="41592" y="26988"/>
                  </a:lnTo>
                  <a:cubicBezTo>
                    <a:pt x="42227" y="26353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5" name="任意多边形: 形状 904"/>
            <p:cNvSpPr/>
            <p:nvPr/>
          </p:nvSpPr>
          <p:spPr>
            <a:xfrm>
              <a:off x="5711508" y="366299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5398"/>
                  </a:cubicBezTo>
                  <a:lnTo>
                    <a:pt x="41592" y="26988"/>
                  </a:lnTo>
                  <a:cubicBezTo>
                    <a:pt x="42227" y="26988"/>
                    <a:pt x="42863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6" name="任意多边形: 形状 905"/>
            <p:cNvSpPr/>
            <p:nvPr/>
          </p:nvSpPr>
          <p:spPr>
            <a:xfrm>
              <a:off x="5710872" y="366363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3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4763"/>
                    <a:pt x="5398" y="5397"/>
                    <a:pt x="4763" y="5397"/>
                  </a:cubicBezTo>
                  <a:lnTo>
                    <a:pt x="41593" y="26988"/>
                  </a:lnTo>
                  <a:cubicBezTo>
                    <a:pt x="41593" y="26988"/>
                    <a:pt x="42228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7" name="任意多边形: 形状 906"/>
            <p:cNvSpPr/>
            <p:nvPr/>
          </p:nvSpPr>
          <p:spPr>
            <a:xfrm>
              <a:off x="5709603" y="366426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2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5397" y="5398"/>
                    <a:pt x="4763" y="5398"/>
                  </a:cubicBezTo>
                  <a:lnTo>
                    <a:pt x="41592" y="26988"/>
                  </a:lnTo>
                  <a:cubicBezTo>
                    <a:pt x="41592" y="26988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8" name="任意多边形: 形状 907"/>
            <p:cNvSpPr/>
            <p:nvPr/>
          </p:nvSpPr>
          <p:spPr>
            <a:xfrm>
              <a:off x="5708333" y="366490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4763"/>
                    <a:pt x="5397" y="5397"/>
                    <a:pt x="4763" y="5397"/>
                  </a:cubicBezTo>
                  <a:lnTo>
                    <a:pt x="41592" y="26988"/>
                  </a:lnTo>
                  <a:cubicBezTo>
                    <a:pt x="42227" y="26988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9" name="任意多边形: 形状 908"/>
            <p:cNvSpPr/>
            <p:nvPr/>
          </p:nvSpPr>
          <p:spPr>
            <a:xfrm>
              <a:off x="5707697" y="3665538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5397 h 31750"/>
                <a:gd name="connsiteX3" fmla="*/ 4763 w 44450"/>
                <a:gd name="connsiteY3" fmla="*/ 5397 h 31750"/>
                <a:gd name="connsiteX4" fmla="*/ 41593 w 44450"/>
                <a:gd name="connsiteY4" fmla="*/ 26988 h 31750"/>
                <a:gd name="connsiteX5" fmla="*/ 41593 w 44450"/>
                <a:gd name="connsiteY5" fmla="*/ 26988 h 31750"/>
                <a:gd name="connsiteX6" fmla="*/ 42228 w 44450"/>
                <a:gd name="connsiteY6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4763"/>
                    <a:pt x="4763" y="5397"/>
                    <a:pt x="4763" y="5397"/>
                  </a:cubicBezTo>
                  <a:cubicBezTo>
                    <a:pt x="4763" y="5397"/>
                    <a:pt x="4763" y="5397"/>
                    <a:pt x="4763" y="5397"/>
                  </a:cubicBezTo>
                  <a:lnTo>
                    <a:pt x="41593" y="26988"/>
                  </a:lnTo>
                  <a:cubicBezTo>
                    <a:pt x="41593" y="26988"/>
                    <a:pt x="41593" y="26988"/>
                    <a:pt x="41593" y="26988"/>
                  </a:cubicBezTo>
                  <a:cubicBezTo>
                    <a:pt x="41593" y="26353"/>
                    <a:pt x="41593" y="26353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0" name="任意多边形: 形状 909"/>
            <p:cNvSpPr/>
            <p:nvPr/>
          </p:nvSpPr>
          <p:spPr>
            <a:xfrm>
              <a:off x="5705792" y="366617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5398"/>
                    <a:pt x="4763" y="5398"/>
                  </a:cubicBezTo>
                  <a:lnTo>
                    <a:pt x="41592" y="26988"/>
                  </a:lnTo>
                  <a:cubicBezTo>
                    <a:pt x="42228" y="26988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1" name="任意多边形: 形状 910"/>
            <p:cNvSpPr/>
            <p:nvPr/>
          </p:nvSpPr>
          <p:spPr>
            <a:xfrm>
              <a:off x="5704522" y="366680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3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4763"/>
                    <a:pt x="5398" y="5397"/>
                    <a:pt x="4763" y="5397"/>
                  </a:cubicBezTo>
                  <a:lnTo>
                    <a:pt x="41593" y="26988"/>
                  </a:lnTo>
                  <a:cubicBezTo>
                    <a:pt x="42228" y="26988"/>
                    <a:pt x="42228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2" name="任意多边形: 形状 911"/>
            <p:cNvSpPr/>
            <p:nvPr/>
          </p:nvSpPr>
          <p:spPr>
            <a:xfrm>
              <a:off x="5703253" y="366744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2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5397" y="5398"/>
                    <a:pt x="4763" y="5398"/>
                  </a:cubicBezTo>
                  <a:lnTo>
                    <a:pt x="41592" y="26988"/>
                  </a:lnTo>
                  <a:cubicBezTo>
                    <a:pt x="42227" y="26988"/>
                    <a:pt x="42227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3" name="任意多边形: 形状 912"/>
            <p:cNvSpPr/>
            <p:nvPr/>
          </p:nvSpPr>
          <p:spPr>
            <a:xfrm>
              <a:off x="5701983" y="3668713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5397"/>
                    <a:pt x="4763" y="6033"/>
                  </a:cubicBezTo>
                  <a:lnTo>
                    <a:pt x="41592" y="27622"/>
                  </a:lnTo>
                  <a:cubicBezTo>
                    <a:pt x="42227" y="26988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4" name="任意多边形: 形状 913"/>
            <p:cNvSpPr/>
            <p:nvPr/>
          </p:nvSpPr>
          <p:spPr>
            <a:xfrm>
              <a:off x="5700713" y="366934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8"/>
                    <a:pt x="5397" y="5398"/>
                    <a:pt x="4763" y="6033"/>
                  </a:cubicBezTo>
                  <a:lnTo>
                    <a:pt x="41592" y="27623"/>
                  </a:lnTo>
                  <a:cubicBezTo>
                    <a:pt x="42228" y="26988"/>
                    <a:pt x="42228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5" name="任意多边形: 形状 914"/>
            <p:cNvSpPr/>
            <p:nvPr/>
          </p:nvSpPr>
          <p:spPr>
            <a:xfrm>
              <a:off x="5699442" y="367061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5398"/>
                    <a:pt x="5398" y="5398"/>
                    <a:pt x="4763" y="6033"/>
                  </a:cubicBezTo>
                  <a:lnTo>
                    <a:pt x="41592" y="27623"/>
                  </a:lnTo>
                  <a:cubicBezTo>
                    <a:pt x="42228" y="26988"/>
                    <a:pt x="42228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6" name="任意多边形: 形状 915"/>
            <p:cNvSpPr/>
            <p:nvPr/>
          </p:nvSpPr>
          <p:spPr>
            <a:xfrm>
              <a:off x="5698172" y="3671888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3 w 44450"/>
                <a:gd name="connsiteY3" fmla="*/ 27622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5397"/>
                    <a:pt x="5398" y="5397"/>
                    <a:pt x="4763" y="6033"/>
                  </a:cubicBezTo>
                  <a:lnTo>
                    <a:pt x="41593" y="27622"/>
                  </a:lnTo>
                  <a:cubicBezTo>
                    <a:pt x="42228" y="26988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7" name="任意多边形: 形状 916"/>
            <p:cNvSpPr/>
            <p:nvPr/>
          </p:nvSpPr>
          <p:spPr>
            <a:xfrm>
              <a:off x="5696903" y="367315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2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2" y="4763"/>
                  </a:lnTo>
                  <a:cubicBezTo>
                    <a:pt x="5397" y="5397"/>
                    <a:pt x="5397" y="5397"/>
                    <a:pt x="4763" y="6033"/>
                  </a:cubicBezTo>
                  <a:lnTo>
                    <a:pt x="41592" y="27622"/>
                  </a:lnTo>
                  <a:cubicBezTo>
                    <a:pt x="42227" y="26988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8" name="任意多边形: 形状 917"/>
            <p:cNvSpPr/>
            <p:nvPr/>
          </p:nvSpPr>
          <p:spPr>
            <a:xfrm>
              <a:off x="5695633" y="367442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6032 h 31750"/>
                <a:gd name="connsiteX3" fmla="*/ 41592 w 44450"/>
                <a:gd name="connsiteY3" fmla="*/ 2762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5397"/>
                    <a:pt x="5397" y="5397"/>
                    <a:pt x="4763" y="6032"/>
                  </a:cubicBezTo>
                  <a:lnTo>
                    <a:pt x="41592" y="27622"/>
                  </a:lnTo>
                  <a:cubicBezTo>
                    <a:pt x="42227" y="26988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9" name="任意多边形: 形状 918"/>
            <p:cNvSpPr/>
            <p:nvPr/>
          </p:nvSpPr>
          <p:spPr>
            <a:xfrm>
              <a:off x="5694363" y="367569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8"/>
                    <a:pt x="5397" y="5398"/>
                    <a:pt x="4763" y="6033"/>
                  </a:cubicBezTo>
                  <a:lnTo>
                    <a:pt x="41592" y="27623"/>
                  </a:lnTo>
                  <a:cubicBezTo>
                    <a:pt x="42228" y="26988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0" name="任意多边形: 形状 919"/>
            <p:cNvSpPr/>
            <p:nvPr/>
          </p:nvSpPr>
          <p:spPr>
            <a:xfrm>
              <a:off x="5693092" y="367696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5398"/>
                    <a:pt x="5398" y="5398"/>
                    <a:pt x="4763" y="6033"/>
                  </a:cubicBezTo>
                  <a:lnTo>
                    <a:pt x="41592" y="27623"/>
                  </a:lnTo>
                  <a:cubicBezTo>
                    <a:pt x="42228" y="26988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1" name="任意多边形: 形状 920"/>
            <p:cNvSpPr/>
            <p:nvPr/>
          </p:nvSpPr>
          <p:spPr>
            <a:xfrm>
              <a:off x="5692458" y="3678238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7"/>
                    <a:pt x="5397" y="5397"/>
                    <a:pt x="4763" y="6033"/>
                  </a:cubicBezTo>
                  <a:lnTo>
                    <a:pt x="41592" y="27622"/>
                  </a:lnTo>
                  <a:cubicBezTo>
                    <a:pt x="41592" y="26988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2" name="任意多边形: 形状 921"/>
            <p:cNvSpPr/>
            <p:nvPr/>
          </p:nvSpPr>
          <p:spPr>
            <a:xfrm>
              <a:off x="5692458" y="3679508"/>
              <a:ext cx="44450" cy="25400"/>
            </a:xfrm>
            <a:custGeom>
              <a:avLst/>
              <a:gdLst>
                <a:gd name="connsiteX0" fmla="*/ 41592 w 44450"/>
                <a:gd name="connsiteY0" fmla="*/ 26352 h 25400"/>
                <a:gd name="connsiteX1" fmla="*/ 476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1592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1592" y="26352"/>
                  </a:moveTo>
                  <a:lnTo>
                    <a:pt x="4763" y="4763"/>
                  </a:lnTo>
                  <a:lnTo>
                    <a:pt x="4763" y="4763"/>
                  </a:lnTo>
                  <a:lnTo>
                    <a:pt x="41592" y="26352"/>
                  </a:lnTo>
                  <a:lnTo>
                    <a:pt x="41592" y="26352"/>
                  </a:ln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3" name="任意多边形: 形状 922"/>
            <p:cNvSpPr/>
            <p:nvPr/>
          </p:nvSpPr>
          <p:spPr>
            <a:xfrm>
              <a:off x="5681028" y="3660458"/>
              <a:ext cx="44450" cy="31750"/>
            </a:xfrm>
            <a:custGeom>
              <a:avLst/>
              <a:gdLst>
                <a:gd name="connsiteX0" fmla="*/ 44132 w 44450"/>
                <a:gd name="connsiteY0" fmla="*/ 27622 h 31750"/>
                <a:gd name="connsiteX1" fmla="*/ 7302 w 44450"/>
                <a:gd name="connsiteY1" fmla="*/ 6033 h 31750"/>
                <a:gd name="connsiteX2" fmla="*/ 4763 w 44450"/>
                <a:gd name="connsiteY2" fmla="*/ 4763 h 31750"/>
                <a:gd name="connsiteX3" fmla="*/ 41592 w 44450"/>
                <a:gd name="connsiteY3" fmla="*/ 26352 h 31750"/>
                <a:gd name="connsiteX4" fmla="*/ 44132 w 44450"/>
                <a:gd name="connsiteY4" fmla="*/ 2762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2" y="27622"/>
                  </a:moveTo>
                  <a:lnTo>
                    <a:pt x="7302" y="6033"/>
                  </a:lnTo>
                  <a:cubicBezTo>
                    <a:pt x="6667" y="5397"/>
                    <a:pt x="5397" y="5397"/>
                    <a:pt x="4763" y="4763"/>
                  </a:cubicBezTo>
                  <a:lnTo>
                    <a:pt x="41592" y="26352"/>
                  </a:lnTo>
                  <a:cubicBezTo>
                    <a:pt x="42863" y="26988"/>
                    <a:pt x="43497" y="26988"/>
                    <a:pt x="44132" y="2762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4" name="任意多边形: 形状 923"/>
            <p:cNvSpPr/>
            <p:nvPr/>
          </p:nvSpPr>
          <p:spPr>
            <a:xfrm>
              <a:off x="5679122" y="3659822"/>
              <a:ext cx="44450" cy="31750"/>
            </a:xfrm>
            <a:custGeom>
              <a:avLst/>
              <a:gdLst>
                <a:gd name="connsiteX0" fmla="*/ 43498 w 44450"/>
                <a:gd name="connsiteY0" fmla="*/ 26988 h 31750"/>
                <a:gd name="connsiteX1" fmla="*/ 6668 w 44450"/>
                <a:gd name="connsiteY1" fmla="*/ 5398 h 31750"/>
                <a:gd name="connsiteX2" fmla="*/ 4763 w 44450"/>
                <a:gd name="connsiteY2" fmla="*/ 4763 h 31750"/>
                <a:gd name="connsiteX3" fmla="*/ 41593 w 44450"/>
                <a:gd name="connsiteY3" fmla="*/ 26353 h 31750"/>
                <a:gd name="connsiteX4" fmla="*/ 43498 w 44450"/>
                <a:gd name="connsiteY4" fmla="*/ 26988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988"/>
                  </a:moveTo>
                  <a:lnTo>
                    <a:pt x="6668" y="5398"/>
                  </a:lnTo>
                  <a:cubicBezTo>
                    <a:pt x="6033" y="5398"/>
                    <a:pt x="5398" y="4763"/>
                    <a:pt x="4763" y="4763"/>
                  </a:cubicBezTo>
                  <a:lnTo>
                    <a:pt x="41593" y="26353"/>
                  </a:lnTo>
                  <a:cubicBezTo>
                    <a:pt x="42228" y="26988"/>
                    <a:pt x="42863" y="26988"/>
                    <a:pt x="43498" y="2698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5" name="任意多边形: 形状 924"/>
            <p:cNvSpPr/>
            <p:nvPr/>
          </p:nvSpPr>
          <p:spPr>
            <a:xfrm>
              <a:off x="5677217" y="3659822"/>
              <a:ext cx="44450" cy="25400"/>
            </a:xfrm>
            <a:custGeom>
              <a:avLst/>
              <a:gdLst>
                <a:gd name="connsiteX0" fmla="*/ 43498 w 44450"/>
                <a:gd name="connsiteY0" fmla="*/ 26353 h 25400"/>
                <a:gd name="connsiteX1" fmla="*/ 6667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3498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8" y="26353"/>
                  </a:moveTo>
                  <a:lnTo>
                    <a:pt x="6667" y="4763"/>
                  </a:lnTo>
                  <a:cubicBezTo>
                    <a:pt x="6033" y="4763"/>
                    <a:pt x="5398" y="4763"/>
                    <a:pt x="4763" y="4763"/>
                  </a:cubicBezTo>
                  <a:lnTo>
                    <a:pt x="41592" y="26353"/>
                  </a:lnTo>
                  <a:cubicBezTo>
                    <a:pt x="42228" y="26353"/>
                    <a:pt x="42863" y="26353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6" name="任意多边形: 形状 925"/>
            <p:cNvSpPr/>
            <p:nvPr/>
          </p:nvSpPr>
          <p:spPr>
            <a:xfrm>
              <a:off x="5675947" y="3659822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3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4763" y="4763"/>
                    <a:pt x="4763" y="4763"/>
                  </a:cubicBezTo>
                  <a:lnTo>
                    <a:pt x="41593" y="26353"/>
                  </a:lnTo>
                  <a:cubicBezTo>
                    <a:pt x="41593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7" name="任意多边形: 形状 926"/>
            <p:cNvSpPr/>
            <p:nvPr/>
          </p:nvSpPr>
          <p:spPr>
            <a:xfrm>
              <a:off x="5674678" y="3659822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2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4763" y="4763"/>
                    <a:pt x="4763" y="4763"/>
                  </a:cubicBezTo>
                  <a:lnTo>
                    <a:pt x="41592" y="26353"/>
                  </a:lnTo>
                  <a:cubicBezTo>
                    <a:pt x="41592" y="26353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8" name="任意多边形: 形状 927"/>
            <p:cNvSpPr/>
            <p:nvPr/>
          </p:nvSpPr>
          <p:spPr>
            <a:xfrm>
              <a:off x="5672772" y="3659822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3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4763"/>
                  </a:cubicBezTo>
                  <a:lnTo>
                    <a:pt x="41593" y="26353"/>
                  </a:lnTo>
                  <a:cubicBezTo>
                    <a:pt x="42228" y="26353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9" name="任意多边形: 形状 928"/>
            <p:cNvSpPr/>
            <p:nvPr/>
          </p:nvSpPr>
          <p:spPr>
            <a:xfrm>
              <a:off x="5671503" y="3659822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2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2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3"/>
                  </a:lnTo>
                  <a:cubicBezTo>
                    <a:pt x="42227" y="26353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0" name="任意多边形: 形状 929"/>
            <p:cNvSpPr/>
            <p:nvPr/>
          </p:nvSpPr>
          <p:spPr>
            <a:xfrm>
              <a:off x="5670233" y="3659822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4763"/>
                  </a:cubicBezTo>
                  <a:lnTo>
                    <a:pt x="41592" y="26353"/>
                  </a:lnTo>
                  <a:cubicBezTo>
                    <a:pt x="42227" y="26988"/>
                    <a:pt x="42227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1" name="任意多边形: 形状 930"/>
            <p:cNvSpPr/>
            <p:nvPr/>
          </p:nvSpPr>
          <p:spPr>
            <a:xfrm>
              <a:off x="5668963" y="366045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4763"/>
                    <a:pt x="5397" y="4763"/>
                    <a:pt x="4763" y="5397"/>
                  </a:cubicBezTo>
                  <a:lnTo>
                    <a:pt x="41592" y="26988"/>
                  </a:lnTo>
                  <a:cubicBezTo>
                    <a:pt x="41592" y="26352"/>
                    <a:pt x="42228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2" name="任意多边形: 形状 931"/>
            <p:cNvSpPr/>
            <p:nvPr/>
          </p:nvSpPr>
          <p:spPr>
            <a:xfrm>
              <a:off x="5667692" y="366045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5397"/>
                  </a:cubicBezTo>
                  <a:lnTo>
                    <a:pt x="41592" y="26988"/>
                  </a:lnTo>
                  <a:cubicBezTo>
                    <a:pt x="41592" y="26988"/>
                    <a:pt x="42228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3" name="任意多边形: 形状 932"/>
            <p:cNvSpPr/>
            <p:nvPr/>
          </p:nvSpPr>
          <p:spPr>
            <a:xfrm>
              <a:off x="5666422" y="366109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8 h 31750"/>
                <a:gd name="connsiteX3" fmla="*/ 41593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5398"/>
                  </a:cubicBezTo>
                  <a:lnTo>
                    <a:pt x="41593" y="26988"/>
                  </a:lnTo>
                  <a:cubicBezTo>
                    <a:pt x="41593" y="26988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4" name="任意多边形: 形状 933"/>
            <p:cNvSpPr/>
            <p:nvPr/>
          </p:nvSpPr>
          <p:spPr>
            <a:xfrm>
              <a:off x="5665153" y="366172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2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2" y="4763"/>
                  </a:lnTo>
                  <a:cubicBezTo>
                    <a:pt x="5397" y="4763"/>
                    <a:pt x="5397" y="5397"/>
                    <a:pt x="4763" y="5397"/>
                  </a:cubicBezTo>
                  <a:lnTo>
                    <a:pt x="41592" y="26988"/>
                  </a:lnTo>
                  <a:cubicBezTo>
                    <a:pt x="41592" y="26352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5" name="任意多边形: 形状 934"/>
            <p:cNvSpPr/>
            <p:nvPr/>
          </p:nvSpPr>
          <p:spPr>
            <a:xfrm>
              <a:off x="5663883" y="3662363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5397"/>
                    <a:pt x="4763" y="5397"/>
                  </a:cubicBezTo>
                  <a:lnTo>
                    <a:pt x="41592" y="26988"/>
                  </a:lnTo>
                  <a:cubicBezTo>
                    <a:pt x="41592" y="26353"/>
                    <a:pt x="42227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6" name="任意多边形: 形状 935"/>
            <p:cNvSpPr/>
            <p:nvPr/>
          </p:nvSpPr>
          <p:spPr>
            <a:xfrm>
              <a:off x="5662613" y="366299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4763"/>
                    <a:pt x="5397" y="5398"/>
                    <a:pt x="4763" y="5398"/>
                  </a:cubicBezTo>
                  <a:lnTo>
                    <a:pt x="41592" y="26988"/>
                  </a:lnTo>
                  <a:cubicBezTo>
                    <a:pt x="41592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7" name="任意多边形: 形状 936"/>
            <p:cNvSpPr/>
            <p:nvPr/>
          </p:nvSpPr>
          <p:spPr>
            <a:xfrm>
              <a:off x="5661342" y="366363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763 w 44450"/>
                <a:gd name="connsiteY3" fmla="*/ 5397 h 31750"/>
                <a:gd name="connsiteX4" fmla="*/ 41592 w 44450"/>
                <a:gd name="connsiteY4" fmla="*/ 26988 h 31750"/>
                <a:gd name="connsiteX5" fmla="*/ 41592 w 44450"/>
                <a:gd name="connsiteY5" fmla="*/ 26988 h 31750"/>
                <a:gd name="connsiteX6" fmla="*/ 42863 w 44450"/>
                <a:gd name="connsiteY6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4763"/>
                    <a:pt x="5398" y="5397"/>
                    <a:pt x="4763" y="5397"/>
                  </a:cubicBezTo>
                  <a:cubicBezTo>
                    <a:pt x="4763" y="5397"/>
                    <a:pt x="4763" y="5397"/>
                    <a:pt x="4763" y="5397"/>
                  </a:cubicBezTo>
                  <a:lnTo>
                    <a:pt x="41592" y="26988"/>
                  </a:lnTo>
                  <a:cubicBezTo>
                    <a:pt x="41592" y="26988"/>
                    <a:pt x="41592" y="26988"/>
                    <a:pt x="41592" y="26988"/>
                  </a:cubicBezTo>
                  <a:cubicBezTo>
                    <a:pt x="42228" y="26352"/>
                    <a:pt x="42228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8" name="任意多边形: 形状 937"/>
            <p:cNvSpPr/>
            <p:nvPr/>
          </p:nvSpPr>
          <p:spPr>
            <a:xfrm>
              <a:off x="5660072" y="366426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5398 h 31750"/>
                <a:gd name="connsiteX3" fmla="*/ 41593 w 44450"/>
                <a:gd name="connsiteY3" fmla="*/ 2698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5398"/>
                    <a:pt x="4763" y="5398"/>
                  </a:cubicBezTo>
                  <a:lnTo>
                    <a:pt x="41593" y="26988"/>
                  </a:lnTo>
                  <a:cubicBezTo>
                    <a:pt x="41593" y="26988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9" name="任意多边形: 形状 938"/>
            <p:cNvSpPr/>
            <p:nvPr/>
          </p:nvSpPr>
          <p:spPr>
            <a:xfrm>
              <a:off x="5658167" y="366490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4763"/>
                    <a:pt x="5398" y="5397"/>
                    <a:pt x="4763" y="5397"/>
                  </a:cubicBezTo>
                  <a:lnTo>
                    <a:pt x="41592" y="26988"/>
                  </a:lnTo>
                  <a:cubicBezTo>
                    <a:pt x="42228" y="26988"/>
                    <a:pt x="42863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0" name="任意多边形: 形状 939"/>
            <p:cNvSpPr/>
            <p:nvPr/>
          </p:nvSpPr>
          <p:spPr>
            <a:xfrm>
              <a:off x="5656897" y="366617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3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5398"/>
                    <a:pt x="4763" y="6033"/>
                  </a:cubicBezTo>
                  <a:lnTo>
                    <a:pt x="41593" y="27623"/>
                  </a:lnTo>
                  <a:cubicBezTo>
                    <a:pt x="42228" y="26988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1" name="任意多边形: 形状 940"/>
            <p:cNvSpPr/>
            <p:nvPr/>
          </p:nvSpPr>
          <p:spPr>
            <a:xfrm>
              <a:off x="5655628" y="366680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2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2" y="4763"/>
                  </a:lnTo>
                  <a:cubicBezTo>
                    <a:pt x="5397" y="5397"/>
                    <a:pt x="5397" y="5397"/>
                    <a:pt x="4763" y="6033"/>
                  </a:cubicBezTo>
                  <a:lnTo>
                    <a:pt x="41592" y="27622"/>
                  </a:lnTo>
                  <a:cubicBezTo>
                    <a:pt x="42227" y="26988"/>
                    <a:pt x="42227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2" name="任意多边形: 形状 941"/>
            <p:cNvSpPr/>
            <p:nvPr/>
          </p:nvSpPr>
          <p:spPr>
            <a:xfrm>
              <a:off x="5654358" y="366807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6032 h 31750"/>
                <a:gd name="connsiteX3" fmla="*/ 41592 w 44450"/>
                <a:gd name="connsiteY3" fmla="*/ 2762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5397"/>
                    <a:pt x="5397" y="5397"/>
                    <a:pt x="4763" y="6032"/>
                  </a:cubicBezTo>
                  <a:lnTo>
                    <a:pt x="41592" y="27622"/>
                  </a:lnTo>
                  <a:cubicBezTo>
                    <a:pt x="42227" y="26988"/>
                    <a:pt x="42227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3" name="任意多边形: 形状 942"/>
            <p:cNvSpPr/>
            <p:nvPr/>
          </p:nvSpPr>
          <p:spPr>
            <a:xfrm>
              <a:off x="5653088" y="366934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8"/>
                    <a:pt x="4763" y="5398"/>
                    <a:pt x="4763" y="6033"/>
                  </a:cubicBezTo>
                  <a:lnTo>
                    <a:pt x="41592" y="27623"/>
                  </a:lnTo>
                  <a:cubicBezTo>
                    <a:pt x="41592" y="26988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4" name="任意多边形: 形状 943"/>
            <p:cNvSpPr/>
            <p:nvPr/>
          </p:nvSpPr>
          <p:spPr>
            <a:xfrm>
              <a:off x="5651817" y="367061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5398"/>
                    <a:pt x="5398" y="5398"/>
                    <a:pt x="4763" y="6033"/>
                  </a:cubicBezTo>
                  <a:lnTo>
                    <a:pt x="41592" y="27623"/>
                  </a:lnTo>
                  <a:cubicBezTo>
                    <a:pt x="41592" y="26988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5" name="任意多边形: 形状 944"/>
            <p:cNvSpPr/>
            <p:nvPr/>
          </p:nvSpPr>
          <p:spPr>
            <a:xfrm>
              <a:off x="5649913" y="3671888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7"/>
                    <a:pt x="5397" y="5397"/>
                    <a:pt x="4763" y="6033"/>
                  </a:cubicBezTo>
                  <a:lnTo>
                    <a:pt x="41592" y="27622"/>
                  </a:lnTo>
                  <a:cubicBezTo>
                    <a:pt x="42228" y="26988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6" name="任意多边形: 形状 945"/>
            <p:cNvSpPr/>
            <p:nvPr/>
          </p:nvSpPr>
          <p:spPr>
            <a:xfrm>
              <a:off x="5648642" y="367315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5397"/>
                    <a:pt x="5398" y="5397"/>
                    <a:pt x="4763" y="6033"/>
                  </a:cubicBezTo>
                  <a:lnTo>
                    <a:pt x="41592" y="27622"/>
                  </a:lnTo>
                  <a:cubicBezTo>
                    <a:pt x="42228" y="26988"/>
                    <a:pt x="42228" y="2635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7" name="任意多边形: 形状 946"/>
            <p:cNvSpPr/>
            <p:nvPr/>
          </p:nvSpPr>
          <p:spPr>
            <a:xfrm>
              <a:off x="5648642" y="3674428"/>
              <a:ext cx="44450" cy="25400"/>
            </a:xfrm>
            <a:custGeom>
              <a:avLst/>
              <a:gdLst>
                <a:gd name="connsiteX0" fmla="*/ 41592 w 44450"/>
                <a:gd name="connsiteY0" fmla="*/ 26352 h 25400"/>
                <a:gd name="connsiteX1" fmla="*/ 476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1592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4763"/>
                    <a:pt x="4763" y="4763"/>
                    <a:pt x="4763" y="4763"/>
                  </a:cubicBezTo>
                  <a:lnTo>
                    <a:pt x="41592" y="26352"/>
                  </a:lnTo>
                  <a:cubicBezTo>
                    <a:pt x="41592" y="26352"/>
                    <a:pt x="41592" y="26352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8" name="任意多边形: 形状 947"/>
            <p:cNvSpPr/>
            <p:nvPr/>
          </p:nvSpPr>
          <p:spPr>
            <a:xfrm>
              <a:off x="5621972" y="3626167"/>
              <a:ext cx="50800" cy="31750"/>
            </a:xfrm>
            <a:custGeom>
              <a:avLst/>
              <a:gdLst>
                <a:gd name="connsiteX0" fmla="*/ 47308 w 50800"/>
                <a:gd name="connsiteY0" fmla="*/ 28892 h 31750"/>
                <a:gd name="connsiteX1" fmla="*/ 10478 w 50800"/>
                <a:gd name="connsiteY1" fmla="*/ 7303 h 31750"/>
                <a:gd name="connsiteX2" fmla="*/ 4763 w 50800"/>
                <a:gd name="connsiteY2" fmla="*/ 4763 h 31750"/>
                <a:gd name="connsiteX3" fmla="*/ 41593 w 50800"/>
                <a:gd name="connsiteY3" fmla="*/ 26353 h 31750"/>
                <a:gd name="connsiteX4" fmla="*/ 47308 w 50800"/>
                <a:gd name="connsiteY4" fmla="*/ 2889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31750">
                  <a:moveTo>
                    <a:pt x="47308" y="28892"/>
                  </a:moveTo>
                  <a:lnTo>
                    <a:pt x="10478" y="7303"/>
                  </a:lnTo>
                  <a:cubicBezTo>
                    <a:pt x="8573" y="6033"/>
                    <a:pt x="6668" y="5398"/>
                    <a:pt x="4763" y="4763"/>
                  </a:cubicBezTo>
                  <a:lnTo>
                    <a:pt x="41593" y="26353"/>
                  </a:lnTo>
                  <a:cubicBezTo>
                    <a:pt x="43498" y="26988"/>
                    <a:pt x="45403" y="28258"/>
                    <a:pt x="47308" y="2889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9" name="任意多边形: 形状 948"/>
            <p:cNvSpPr/>
            <p:nvPr/>
          </p:nvSpPr>
          <p:spPr>
            <a:xfrm>
              <a:off x="5616892" y="3624897"/>
              <a:ext cx="50800" cy="31750"/>
            </a:xfrm>
            <a:custGeom>
              <a:avLst/>
              <a:gdLst>
                <a:gd name="connsiteX0" fmla="*/ 46673 w 50800"/>
                <a:gd name="connsiteY0" fmla="*/ 27623 h 31750"/>
                <a:gd name="connsiteX1" fmla="*/ 9842 w 50800"/>
                <a:gd name="connsiteY1" fmla="*/ 6033 h 31750"/>
                <a:gd name="connsiteX2" fmla="*/ 4763 w 50800"/>
                <a:gd name="connsiteY2" fmla="*/ 4763 h 31750"/>
                <a:gd name="connsiteX3" fmla="*/ 41592 w 50800"/>
                <a:gd name="connsiteY3" fmla="*/ 26353 h 31750"/>
                <a:gd name="connsiteX4" fmla="*/ 46673 w 50800"/>
                <a:gd name="connsiteY4" fmla="*/ 2762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31750">
                  <a:moveTo>
                    <a:pt x="46673" y="27623"/>
                  </a:moveTo>
                  <a:lnTo>
                    <a:pt x="9842" y="6033"/>
                  </a:lnTo>
                  <a:cubicBezTo>
                    <a:pt x="7938" y="5398"/>
                    <a:pt x="6667" y="4763"/>
                    <a:pt x="4763" y="4763"/>
                  </a:cubicBezTo>
                  <a:lnTo>
                    <a:pt x="41592" y="26353"/>
                  </a:lnTo>
                  <a:cubicBezTo>
                    <a:pt x="42863" y="26353"/>
                    <a:pt x="44767" y="26988"/>
                    <a:pt x="46673" y="2762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0" name="任意多边形: 形状 949"/>
            <p:cNvSpPr/>
            <p:nvPr/>
          </p:nvSpPr>
          <p:spPr>
            <a:xfrm>
              <a:off x="5612447" y="3624263"/>
              <a:ext cx="50800" cy="31750"/>
            </a:xfrm>
            <a:custGeom>
              <a:avLst/>
              <a:gdLst>
                <a:gd name="connsiteX0" fmla="*/ 46038 w 50800"/>
                <a:gd name="connsiteY0" fmla="*/ 26988 h 31750"/>
                <a:gd name="connsiteX1" fmla="*/ 9208 w 50800"/>
                <a:gd name="connsiteY1" fmla="*/ 5397 h 31750"/>
                <a:gd name="connsiteX2" fmla="*/ 4763 w 50800"/>
                <a:gd name="connsiteY2" fmla="*/ 4763 h 31750"/>
                <a:gd name="connsiteX3" fmla="*/ 41593 w 50800"/>
                <a:gd name="connsiteY3" fmla="*/ 26353 h 31750"/>
                <a:gd name="connsiteX4" fmla="*/ 46038 w 50800"/>
                <a:gd name="connsiteY4" fmla="*/ 26988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31750">
                  <a:moveTo>
                    <a:pt x="46038" y="26988"/>
                  </a:moveTo>
                  <a:lnTo>
                    <a:pt x="9208" y="5397"/>
                  </a:lnTo>
                  <a:cubicBezTo>
                    <a:pt x="7938" y="5397"/>
                    <a:pt x="6668" y="4763"/>
                    <a:pt x="4763" y="4763"/>
                  </a:cubicBezTo>
                  <a:lnTo>
                    <a:pt x="41593" y="26353"/>
                  </a:lnTo>
                  <a:cubicBezTo>
                    <a:pt x="42863" y="26353"/>
                    <a:pt x="44133" y="26353"/>
                    <a:pt x="46038" y="2698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1" name="任意多边形: 形状 950"/>
            <p:cNvSpPr/>
            <p:nvPr/>
          </p:nvSpPr>
          <p:spPr>
            <a:xfrm>
              <a:off x="5608638" y="3624263"/>
              <a:ext cx="44450" cy="25400"/>
            </a:xfrm>
            <a:custGeom>
              <a:avLst/>
              <a:gdLst>
                <a:gd name="connsiteX0" fmla="*/ 45403 w 44450"/>
                <a:gd name="connsiteY0" fmla="*/ 26353 h 25400"/>
                <a:gd name="connsiteX1" fmla="*/ 8572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540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5403" y="26353"/>
                  </a:moveTo>
                  <a:lnTo>
                    <a:pt x="8572" y="4763"/>
                  </a:lnTo>
                  <a:cubicBezTo>
                    <a:pt x="7303" y="4763"/>
                    <a:pt x="6033" y="4763"/>
                    <a:pt x="4763" y="4763"/>
                  </a:cubicBezTo>
                  <a:lnTo>
                    <a:pt x="41592" y="26353"/>
                  </a:lnTo>
                  <a:cubicBezTo>
                    <a:pt x="42863" y="26353"/>
                    <a:pt x="44133" y="26353"/>
                    <a:pt x="4540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2" name="任意多边形: 形状 951"/>
            <p:cNvSpPr/>
            <p:nvPr/>
          </p:nvSpPr>
          <p:spPr>
            <a:xfrm>
              <a:off x="5605463" y="3624263"/>
              <a:ext cx="44450" cy="25400"/>
            </a:xfrm>
            <a:custGeom>
              <a:avLst/>
              <a:gdLst>
                <a:gd name="connsiteX0" fmla="*/ 44767 w 44450"/>
                <a:gd name="connsiteY0" fmla="*/ 26353 h 25400"/>
                <a:gd name="connsiteX1" fmla="*/ 7938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4767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4763"/>
                    <a:pt x="5397" y="4763"/>
                    <a:pt x="4763" y="4763"/>
                  </a:cubicBezTo>
                  <a:lnTo>
                    <a:pt x="41592" y="26353"/>
                  </a:lnTo>
                  <a:cubicBezTo>
                    <a:pt x="42228" y="26353"/>
                    <a:pt x="43497" y="26353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3" name="任意多边形: 形状 952"/>
            <p:cNvSpPr/>
            <p:nvPr/>
          </p:nvSpPr>
          <p:spPr>
            <a:xfrm>
              <a:off x="5601653" y="3624263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4763"/>
                    <a:pt x="5397" y="4763"/>
                    <a:pt x="4763" y="5397"/>
                  </a:cubicBezTo>
                  <a:lnTo>
                    <a:pt x="41592" y="26988"/>
                  </a:lnTo>
                  <a:cubicBezTo>
                    <a:pt x="42863" y="26353"/>
                    <a:pt x="44132" y="26353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4" name="任意多边形: 形状 953"/>
            <p:cNvSpPr/>
            <p:nvPr/>
          </p:nvSpPr>
          <p:spPr>
            <a:xfrm>
              <a:off x="5598478" y="3624263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4763"/>
                    <a:pt x="6032" y="5397"/>
                    <a:pt x="4763" y="5397"/>
                  </a:cubicBezTo>
                  <a:lnTo>
                    <a:pt x="41592" y="26988"/>
                  </a:lnTo>
                  <a:cubicBezTo>
                    <a:pt x="42863" y="26988"/>
                    <a:pt x="43497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5" name="任意多边形: 形状 954"/>
            <p:cNvSpPr/>
            <p:nvPr/>
          </p:nvSpPr>
          <p:spPr>
            <a:xfrm>
              <a:off x="5595303" y="3624897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4763"/>
                    <a:pt x="6032" y="5398"/>
                    <a:pt x="4763" y="5398"/>
                  </a:cubicBezTo>
                  <a:lnTo>
                    <a:pt x="41592" y="26988"/>
                  </a:lnTo>
                  <a:cubicBezTo>
                    <a:pt x="42863" y="26988"/>
                    <a:pt x="43497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6" name="任意多边形: 形状 955"/>
            <p:cNvSpPr/>
            <p:nvPr/>
          </p:nvSpPr>
          <p:spPr>
            <a:xfrm>
              <a:off x="5592128" y="3625533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4763"/>
                    <a:pt x="6032" y="5397"/>
                    <a:pt x="4763" y="5397"/>
                  </a:cubicBezTo>
                  <a:lnTo>
                    <a:pt x="41592" y="26988"/>
                  </a:lnTo>
                  <a:cubicBezTo>
                    <a:pt x="42863" y="26988"/>
                    <a:pt x="43497" y="26988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7" name="任意多边形: 形状 956"/>
            <p:cNvSpPr/>
            <p:nvPr/>
          </p:nvSpPr>
          <p:spPr>
            <a:xfrm>
              <a:off x="5588953" y="3626803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6032 h 31750"/>
                <a:gd name="connsiteX3" fmla="*/ 41592 w 44450"/>
                <a:gd name="connsiteY3" fmla="*/ 27622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4763"/>
                    <a:pt x="6032" y="5397"/>
                    <a:pt x="4763" y="6032"/>
                  </a:cubicBezTo>
                  <a:lnTo>
                    <a:pt x="41592" y="27622"/>
                  </a:lnTo>
                  <a:cubicBezTo>
                    <a:pt x="42863" y="26988"/>
                    <a:pt x="43497" y="26352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8" name="任意多边形: 形状 957"/>
            <p:cNvSpPr/>
            <p:nvPr/>
          </p:nvSpPr>
          <p:spPr>
            <a:xfrm>
              <a:off x="5585778" y="3627438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5397"/>
                    <a:pt x="6032" y="5397"/>
                    <a:pt x="4763" y="6033"/>
                  </a:cubicBezTo>
                  <a:lnTo>
                    <a:pt x="41592" y="27622"/>
                  </a:lnTo>
                  <a:cubicBezTo>
                    <a:pt x="42863" y="26988"/>
                    <a:pt x="44132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9" name="任意多边形: 形状 958"/>
            <p:cNvSpPr/>
            <p:nvPr/>
          </p:nvSpPr>
          <p:spPr>
            <a:xfrm>
              <a:off x="5582603" y="3628708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5397"/>
                    <a:pt x="6032" y="5397"/>
                    <a:pt x="4763" y="6033"/>
                  </a:cubicBezTo>
                  <a:lnTo>
                    <a:pt x="41592" y="27622"/>
                  </a:lnTo>
                  <a:cubicBezTo>
                    <a:pt x="42863" y="26988"/>
                    <a:pt x="44132" y="26988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0" name="任意多边形: 形状 959"/>
            <p:cNvSpPr/>
            <p:nvPr/>
          </p:nvSpPr>
          <p:spPr>
            <a:xfrm>
              <a:off x="5580063" y="3629978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6032 h 31750"/>
                <a:gd name="connsiteX3" fmla="*/ 41592 w 44450"/>
                <a:gd name="connsiteY3" fmla="*/ 27622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5397"/>
                    <a:pt x="6033" y="5397"/>
                    <a:pt x="4763" y="6032"/>
                  </a:cubicBezTo>
                  <a:lnTo>
                    <a:pt x="41592" y="27622"/>
                  </a:lnTo>
                  <a:cubicBezTo>
                    <a:pt x="42228" y="27622"/>
                    <a:pt x="43497" y="26988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1" name="任意多边形: 形状 960"/>
            <p:cNvSpPr/>
            <p:nvPr/>
          </p:nvSpPr>
          <p:spPr>
            <a:xfrm>
              <a:off x="5576888" y="3631247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6668 h 31750"/>
                <a:gd name="connsiteX3" fmla="*/ 41592 w 44450"/>
                <a:gd name="connsiteY3" fmla="*/ 2825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5398"/>
                    <a:pt x="6033" y="6033"/>
                    <a:pt x="4763" y="6668"/>
                  </a:cubicBezTo>
                  <a:lnTo>
                    <a:pt x="41592" y="28258"/>
                  </a:lnTo>
                  <a:cubicBezTo>
                    <a:pt x="42228" y="27623"/>
                    <a:pt x="43497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2" name="任意多边形: 形状 961"/>
            <p:cNvSpPr/>
            <p:nvPr/>
          </p:nvSpPr>
          <p:spPr>
            <a:xfrm>
              <a:off x="5574347" y="3633153"/>
              <a:ext cx="44450" cy="31750"/>
            </a:xfrm>
            <a:custGeom>
              <a:avLst/>
              <a:gdLst>
                <a:gd name="connsiteX0" fmla="*/ 44133 w 44450"/>
                <a:gd name="connsiteY0" fmla="*/ 26352 h 31750"/>
                <a:gd name="connsiteX1" fmla="*/ 7303 w 44450"/>
                <a:gd name="connsiteY1" fmla="*/ 4763 h 31750"/>
                <a:gd name="connsiteX2" fmla="*/ 4763 w 44450"/>
                <a:gd name="connsiteY2" fmla="*/ 6032 h 31750"/>
                <a:gd name="connsiteX3" fmla="*/ 41593 w 44450"/>
                <a:gd name="connsiteY3" fmla="*/ 27622 h 31750"/>
                <a:gd name="connsiteX4" fmla="*/ 4413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6352"/>
                  </a:moveTo>
                  <a:lnTo>
                    <a:pt x="7303" y="4763"/>
                  </a:lnTo>
                  <a:cubicBezTo>
                    <a:pt x="6668" y="5397"/>
                    <a:pt x="5398" y="5397"/>
                    <a:pt x="4763" y="6032"/>
                  </a:cubicBezTo>
                  <a:lnTo>
                    <a:pt x="41593" y="27622"/>
                  </a:lnTo>
                  <a:cubicBezTo>
                    <a:pt x="42228" y="26988"/>
                    <a:pt x="43498" y="26988"/>
                    <a:pt x="4413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3" name="任意多边形: 形状 962"/>
            <p:cNvSpPr/>
            <p:nvPr/>
          </p:nvSpPr>
          <p:spPr>
            <a:xfrm>
              <a:off x="5573713" y="3634422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7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7" y="4763"/>
                  </a:lnTo>
                  <a:cubicBezTo>
                    <a:pt x="5397" y="4763"/>
                    <a:pt x="4763" y="4763"/>
                    <a:pt x="4763" y="5398"/>
                  </a:cubicBezTo>
                  <a:lnTo>
                    <a:pt x="41592" y="26988"/>
                  </a:lnTo>
                  <a:cubicBezTo>
                    <a:pt x="41592" y="26988"/>
                    <a:pt x="42228" y="26353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4" name="任意多边形: 形状 963"/>
            <p:cNvSpPr/>
            <p:nvPr/>
          </p:nvSpPr>
          <p:spPr>
            <a:xfrm>
              <a:off x="5570538" y="3635058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5397"/>
                    <a:pt x="6033" y="6033"/>
                    <a:pt x="4763" y="6667"/>
                  </a:cubicBezTo>
                  <a:lnTo>
                    <a:pt x="41592" y="28258"/>
                  </a:lnTo>
                  <a:cubicBezTo>
                    <a:pt x="42228" y="27622"/>
                    <a:pt x="43497" y="26988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5" name="任意多边形: 形状 964"/>
            <p:cNvSpPr/>
            <p:nvPr/>
          </p:nvSpPr>
          <p:spPr>
            <a:xfrm>
              <a:off x="5567363" y="3636963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5397"/>
                    <a:pt x="6033" y="6033"/>
                    <a:pt x="4763" y="6667"/>
                  </a:cubicBezTo>
                  <a:lnTo>
                    <a:pt x="41592" y="28258"/>
                  </a:lnTo>
                  <a:cubicBezTo>
                    <a:pt x="42228" y="27622"/>
                    <a:pt x="43497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6" name="任意多边形: 形状 965"/>
            <p:cNvSpPr/>
            <p:nvPr/>
          </p:nvSpPr>
          <p:spPr>
            <a:xfrm>
              <a:off x="5564188" y="3638867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2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5398"/>
                    <a:pt x="6033" y="6033"/>
                    <a:pt x="4763" y="7303"/>
                  </a:cubicBezTo>
                  <a:lnTo>
                    <a:pt x="41592" y="28892"/>
                  </a:lnTo>
                  <a:cubicBezTo>
                    <a:pt x="42228" y="28258"/>
                    <a:pt x="43497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7" name="任意多边形: 形状 966"/>
            <p:cNvSpPr/>
            <p:nvPr/>
          </p:nvSpPr>
          <p:spPr>
            <a:xfrm>
              <a:off x="5560378" y="3641408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5397"/>
                    <a:pt x="5397" y="6667"/>
                    <a:pt x="4763" y="7302"/>
                  </a:cubicBezTo>
                  <a:lnTo>
                    <a:pt x="41592" y="28892"/>
                  </a:lnTo>
                  <a:cubicBezTo>
                    <a:pt x="42863" y="28258"/>
                    <a:pt x="44132" y="26988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8" name="任意多边形: 形状 967"/>
            <p:cNvSpPr/>
            <p:nvPr/>
          </p:nvSpPr>
          <p:spPr>
            <a:xfrm>
              <a:off x="5557203" y="3643947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3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5398"/>
                    <a:pt x="5397" y="6668"/>
                    <a:pt x="4763" y="7303"/>
                  </a:cubicBezTo>
                  <a:lnTo>
                    <a:pt x="41592" y="28893"/>
                  </a:lnTo>
                  <a:cubicBezTo>
                    <a:pt x="42863" y="28258"/>
                    <a:pt x="43497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9" name="任意多边形: 形状 968"/>
            <p:cNvSpPr/>
            <p:nvPr/>
          </p:nvSpPr>
          <p:spPr>
            <a:xfrm>
              <a:off x="5554028" y="3646488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5397" y="6667"/>
                    <a:pt x="4763" y="7938"/>
                  </a:cubicBezTo>
                  <a:lnTo>
                    <a:pt x="41592" y="29528"/>
                  </a:lnTo>
                  <a:cubicBezTo>
                    <a:pt x="42227" y="28258"/>
                    <a:pt x="43497" y="27622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0" name="任意多边形: 形状 969"/>
            <p:cNvSpPr/>
            <p:nvPr/>
          </p:nvSpPr>
          <p:spPr>
            <a:xfrm>
              <a:off x="5550853" y="3649663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5397" y="6667"/>
                    <a:pt x="4763" y="7938"/>
                  </a:cubicBezTo>
                  <a:lnTo>
                    <a:pt x="41592" y="29528"/>
                  </a:lnTo>
                  <a:cubicBezTo>
                    <a:pt x="42227" y="28258"/>
                    <a:pt x="43497" y="27622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1" name="任意多边形: 形状 970"/>
            <p:cNvSpPr/>
            <p:nvPr/>
          </p:nvSpPr>
          <p:spPr>
            <a:xfrm>
              <a:off x="5547042" y="3652838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6033" y="6667"/>
                    <a:pt x="4763" y="7938"/>
                  </a:cubicBezTo>
                  <a:lnTo>
                    <a:pt x="41592" y="29528"/>
                  </a:lnTo>
                  <a:cubicBezTo>
                    <a:pt x="42863" y="28258"/>
                    <a:pt x="44133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2" name="任意多边形: 形状 971"/>
            <p:cNvSpPr/>
            <p:nvPr/>
          </p:nvSpPr>
          <p:spPr>
            <a:xfrm>
              <a:off x="5543867" y="3656013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6033" y="6667"/>
                    <a:pt x="4763" y="7938"/>
                  </a:cubicBezTo>
                  <a:lnTo>
                    <a:pt x="41592" y="29528"/>
                  </a:lnTo>
                  <a:cubicBezTo>
                    <a:pt x="42863" y="28258"/>
                    <a:pt x="44133" y="2698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3" name="任意多边形: 形状 972"/>
            <p:cNvSpPr/>
            <p:nvPr/>
          </p:nvSpPr>
          <p:spPr>
            <a:xfrm>
              <a:off x="5540692" y="3659188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6033" y="6667"/>
                    <a:pt x="4763" y="7938"/>
                  </a:cubicBezTo>
                  <a:lnTo>
                    <a:pt x="41592" y="29528"/>
                  </a:lnTo>
                  <a:cubicBezTo>
                    <a:pt x="42863" y="28258"/>
                    <a:pt x="44133" y="27622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4" name="任意多边形: 形状 973"/>
            <p:cNvSpPr/>
            <p:nvPr/>
          </p:nvSpPr>
          <p:spPr>
            <a:xfrm>
              <a:off x="5538788" y="3662363"/>
              <a:ext cx="44450" cy="31750"/>
            </a:xfrm>
            <a:custGeom>
              <a:avLst/>
              <a:gdLst>
                <a:gd name="connsiteX0" fmla="*/ 44133 w 44450"/>
                <a:gd name="connsiteY0" fmla="*/ 26353 h 31750"/>
                <a:gd name="connsiteX1" fmla="*/ 7303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413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6353"/>
                  </a:moveTo>
                  <a:lnTo>
                    <a:pt x="7303" y="4763"/>
                  </a:lnTo>
                  <a:cubicBezTo>
                    <a:pt x="6033" y="6033"/>
                    <a:pt x="5397" y="6667"/>
                    <a:pt x="4763" y="7938"/>
                  </a:cubicBezTo>
                  <a:lnTo>
                    <a:pt x="41592" y="29528"/>
                  </a:lnTo>
                  <a:cubicBezTo>
                    <a:pt x="42228" y="28258"/>
                    <a:pt x="42863" y="27622"/>
                    <a:pt x="4413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5" name="任意多边形: 形状 974"/>
            <p:cNvSpPr/>
            <p:nvPr/>
          </p:nvSpPr>
          <p:spPr>
            <a:xfrm>
              <a:off x="5534978" y="3665538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8572 h 31750"/>
                <a:gd name="connsiteX3" fmla="*/ 41592 w 44450"/>
                <a:gd name="connsiteY3" fmla="*/ 30163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6032" y="7303"/>
                    <a:pt x="4763" y="8572"/>
                  </a:cubicBezTo>
                  <a:lnTo>
                    <a:pt x="41592" y="30163"/>
                  </a:lnTo>
                  <a:cubicBezTo>
                    <a:pt x="42863" y="28892"/>
                    <a:pt x="44132" y="27622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6" name="任意多边形: 形状 975"/>
            <p:cNvSpPr/>
            <p:nvPr/>
          </p:nvSpPr>
          <p:spPr>
            <a:xfrm>
              <a:off x="5532438" y="3669347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9208 h 31750"/>
                <a:gd name="connsiteX3" fmla="*/ 41592 w 44450"/>
                <a:gd name="connsiteY3" fmla="*/ 30798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033"/>
                    <a:pt x="6033" y="7303"/>
                    <a:pt x="4763" y="9208"/>
                  </a:cubicBezTo>
                  <a:lnTo>
                    <a:pt x="41592" y="30798"/>
                  </a:lnTo>
                  <a:cubicBezTo>
                    <a:pt x="42228" y="28893"/>
                    <a:pt x="43497" y="27623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7" name="任意多边形: 形状 976"/>
            <p:cNvSpPr/>
            <p:nvPr/>
          </p:nvSpPr>
          <p:spPr>
            <a:xfrm>
              <a:off x="5527992" y="3673158"/>
              <a:ext cx="50800" cy="31750"/>
            </a:xfrm>
            <a:custGeom>
              <a:avLst/>
              <a:gdLst>
                <a:gd name="connsiteX0" fmla="*/ 46038 w 50800"/>
                <a:gd name="connsiteY0" fmla="*/ 26352 h 31750"/>
                <a:gd name="connsiteX1" fmla="*/ 9208 w 50800"/>
                <a:gd name="connsiteY1" fmla="*/ 4763 h 31750"/>
                <a:gd name="connsiteX2" fmla="*/ 4763 w 50800"/>
                <a:gd name="connsiteY2" fmla="*/ 11113 h 31750"/>
                <a:gd name="connsiteX3" fmla="*/ 41592 w 50800"/>
                <a:gd name="connsiteY3" fmla="*/ 32702 h 31750"/>
                <a:gd name="connsiteX4" fmla="*/ 46038 w 5080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31750">
                  <a:moveTo>
                    <a:pt x="46038" y="26352"/>
                  </a:moveTo>
                  <a:lnTo>
                    <a:pt x="9208" y="4763"/>
                  </a:lnTo>
                  <a:cubicBezTo>
                    <a:pt x="7938" y="6667"/>
                    <a:pt x="6033" y="9208"/>
                    <a:pt x="4763" y="11113"/>
                  </a:cubicBezTo>
                  <a:lnTo>
                    <a:pt x="41592" y="32702"/>
                  </a:lnTo>
                  <a:cubicBezTo>
                    <a:pt x="42863" y="30797"/>
                    <a:pt x="44133" y="28892"/>
                    <a:pt x="4603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8" name="任意多边形: 形状 977"/>
            <p:cNvSpPr/>
            <p:nvPr/>
          </p:nvSpPr>
          <p:spPr>
            <a:xfrm>
              <a:off x="5522278" y="3679508"/>
              <a:ext cx="50800" cy="38100"/>
            </a:xfrm>
            <a:custGeom>
              <a:avLst/>
              <a:gdLst>
                <a:gd name="connsiteX0" fmla="*/ 47307 w 50800"/>
                <a:gd name="connsiteY0" fmla="*/ 26352 h 38100"/>
                <a:gd name="connsiteX1" fmla="*/ 10477 w 50800"/>
                <a:gd name="connsiteY1" fmla="*/ 4763 h 38100"/>
                <a:gd name="connsiteX2" fmla="*/ 4763 w 50800"/>
                <a:gd name="connsiteY2" fmla="*/ 14288 h 38100"/>
                <a:gd name="connsiteX3" fmla="*/ 41592 w 50800"/>
                <a:gd name="connsiteY3" fmla="*/ 35877 h 38100"/>
                <a:gd name="connsiteX4" fmla="*/ 47307 w 50800"/>
                <a:gd name="connsiteY4" fmla="*/ 2635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38100">
                  <a:moveTo>
                    <a:pt x="47307" y="26352"/>
                  </a:moveTo>
                  <a:lnTo>
                    <a:pt x="10477" y="4763"/>
                  </a:lnTo>
                  <a:cubicBezTo>
                    <a:pt x="8572" y="7938"/>
                    <a:pt x="6667" y="11113"/>
                    <a:pt x="4763" y="14288"/>
                  </a:cubicBezTo>
                  <a:lnTo>
                    <a:pt x="41592" y="35877"/>
                  </a:lnTo>
                  <a:cubicBezTo>
                    <a:pt x="42863" y="32702"/>
                    <a:pt x="44767" y="29527"/>
                    <a:pt x="4730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" name="任意多边形: 形状 978"/>
            <p:cNvSpPr/>
            <p:nvPr/>
          </p:nvSpPr>
          <p:spPr>
            <a:xfrm>
              <a:off x="5518467" y="3689033"/>
              <a:ext cx="44450" cy="31750"/>
            </a:xfrm>
            <a:custGeom>
              <a:avLst/>
              <a:gdLst>
                <a:gd name="connsiteX0" fmla="*/ 44767 w 44450"/>
                <a:gd name="connsiteY0" fmla="*/ 26352 h 31750"/>
                <a:gd name="connsiteX1" fmla="*/ 7938 w 44450"/>
                <a:gd name="connsiteY1" fmla="*/ 4763 h 31750"/>
                <a:gd name="connsiteX2" fmla="*/ 4763 w 44450"/>
                <a:gd name="connsiteY2" fmla="*/ 11113 h 31750"/>
                <a:gd name="connsiteX3" fmla="*/ 41592 w 44450"/>
                <a:gd name="connsiteY3" fmla="*/ 32702 h 31750"/>
                <a:gd name="connsiteX4" fmla="*/ 4476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2"/>
                  </a:moveTo>
                  <a:lnTo>
                    <a:pt x="7938" y="4763"/>
                  </a:lnTo>
                  <a:cubicBezTo>
                    <a:pt x="6667" y="6667"/>
                    <a:pt x="5398" y="9208"/>
                    <a:pt x="4763" y="11113"/>
                  </a:cubicBezTo>
                  <a:lnTo>
                    <a:pt x="41592" y="32702"/>
                  </a:lnTo>
                  <a:cubicBezTo>
                    <a:pt x="42863" y="30797"/>
                    <a:pt x="44133" y="28258"/>
                    <a:pt x="4476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" name="任意多边形: 形状 979"/>
            <p:cNvSpPr/>
            <p:nvPr/>
          </p:nvSpPr>
          <p:spPr>
            <a:xfrm>
              <a:off x="5515928" y="3695383"/>
              <a:ext cx="44450" cy="31750"/>
            </a:xfrm>
            <a:custGeom>
              <a:avLst/>
              <a:gdLst>
                <a:gd name="connsiteX0" fmla="*/ 44132 w 44450"/>
                <a:gd name="connsiteY0" fmla="*/ 26352 h 31750"/>
                <a:gd name="connsiteX1" fmla="*/ 7302 w 44450"/>
                <a:gd name="connsiteY1" fmla="*/ 4763 h 31750"/>
                <a:gd name="connsiteX2" fmla="*/ 4763 w 44450"/>
                <a:gd name="connsiteY2" fmla="*/ 9208 h 31750"/>
                <a:gd name="connsiteX3" fmla="*/ 41592 w 44450"/>
                <a:gd name="connsiteY3" fmla="*/ 30797 h 31750"/>
                <a:gd name="connsiteX4" fmla="*/ 4413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2" y="26352"/>
                  </a:moveTo>
                  <a:lnTo>
                    <a:pt x="7302" y="4763"/>
                  </a:lnTo>
                  <a:cubicBezTo>
                    <a:pt x="6667" y="6033"/>
                    <a:pt x="6032" y="7938"/>
                    <a:pt x="4763" y="9208"/>
                  </a:cubicBezTo>
                  <a:lnTo>
                    <a:pt x="41592" y="30797"/>
                  </a:lnTo>
                  <a:cubicBezTo>
                    <a:pt x="42863" y="29527"/>
                    <a:pt x="43497" y="27622"/>
                    <a:pt x="4413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" name="任意多边形: 形状 980"/>
            <p:cNvSpPr/>
            <p:nvPr/>
          </p:nvSpPr>
          <p:spPr>
            <a:xfrm>
              <a:off x="5514022" y="3699828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8 w 44450"/>
                <a:gd name="connsiteY1" fmla="*/ 4763 h 31750"/>
                <a:gd name="connsiteX2" fmla="*/ 4763 w 44450"/>
                <a:gd name="connsiteY2" fmla="*/ 8572 h 31750"/>
                <a:gd name="connsiteX3" fmla="*/ 41593 w 44450"/>
                <a:gd name="connsiteY3" fmla="*/ 30163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6032"/>
                    <a:pt x="5398" y="7302"/>
                    <a:pt x="4763" y="8572"/>
                  </a:cubicBezTo>
                  <a:lnTo>
                    <a:pt x="41593" y="30163"/>
                  </a:lnTo>
                  <a:cubicBezTo>
                    <a:pt x="42863" y="28892"/>
                    <a:pt x="42863" y="27622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" name="任意多边形: 形状 981"/>
            <p:cNvSpPr/>
            <p:nvPr/>
          </p:nvSpPr>
          <p:spPr>
            <a:xfrm>
              <a:off x="5512753" y="3703638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2" y="6033"/>
                    <a:pt x="5397" y="7303"/>
                    <a:pt x="4763" y="7938"/>
                  </a:cubicBezTo>
                  <a:lnTo>
                    <a:pt x="41592" y="29528"/>
                  </a:lnTo>
                  <a:cubicBezTo>
                    <a:pt x="42227" y="28258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" name="任意多边形: 形状 982"/>
            <p:cNvSpPr/>
            <p:nvPr/>
          </p:nvSpPr>
          <p:spPr>
            <a:xfrm>
              <a:off x="5511483" y="3706813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6033"/>
                    <a:pt x="4763" y="7303"/>
                    <a:pt x="4763" y="7938"/>
                  </a:cubicBezTo>
                  <a:lnTo>
                    <a:pt x="41592" y="29528"/>
                  </a:lnTo>
                  <a:cubicBezTo>
                    <a:pt x="42227" y="28892"/>
                    <a:pt x="42227" y="27622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" name="任意多边形: 形状 983"/>
            <p:cNvSpPr/>
            <p:nvPr/>
          </p:nvSpPr>
          <p:spPr>
            <a:xfrm>
              <a:off x="5510213" y="3709988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6033"/>
                    <a:pt x="5397" y="7303"/>
                    <a:pt x="4763" y="7938"/>
                  </a:cubicBezTo>
                  <a:lnTo>
                    <a:pt x="41592" y="29528"/>
                  </a:lnTo>
                  <a:cubicBezTo>
                    <a:pt x="41592" y="28892"/>
                    <a:pt x="42228" y="27622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" name="任意多边形: 形状 984"/>
            <p:cNvSpPr/>
            <p:nvPr/>
          </p:nvSpPr>
          <p:spPr>
            <a:xfrm>
              <a:off x="5508942" y="371379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6033"/>
                    <a:pt x="5398" y="7303"/>
                    <a:pt x="4763" y="7938"/>
                  </a:cubicBezTo>
                  <a:lnTo>
                    <a:pt x="41592" y="29528"/>
                  </a:lnTo>
                  <a:cubicBezTo>
                    <a:pt x="41592" y="28258"/>
                    <a:pt x="42228" y="2762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" name="任意多边形: 形状 985"/>
            <p:cNvSpPr/>
            <p:nvPr/>
          </p:nvSpPr>
          <p:spPr>
            <a:xfrm>
              <a:off x="5507672" y="371697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8573 h 31750"/>
                <a:gd name="connsiteX3" fmla="*/ 41593 w 44450"/>
                <a:gd name="connsiteY3" fmla="*/ 3016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6033"/>
                    <a:pt x="5398" y="7303"/>
                    <a:pt x="4763" y="8573"/>
                  </a:cubicBezTo>
                  <a:lnTo>
                    <a:pt x="41593" y="30163"/>
                  </a:lnTo>
                  <a:cubicBezTo>
                    <a:pt x="41593" y="28893"/>
                    <a:pt x="42228" y="2762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" name="任意多边形: 形状 986"/>
            <p:cNvSpPr/>
            <p:nvPr/>
          </p:nvSpPr>
          <p:spPr>
            <a:xfrm>
              <a:off x="5506403" y="372078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2 w 44450"/>
                <a:gd name="connsiteY1" fmla="*/ 4763 h 31750"/>
                <a:gd name="connsiteX2" fmla="*/ 4763 w 44450"/>
                <a:gd name="connsiteY2" fmla="*/ 8572 h 31750"/>
                <a:gd name="connsiteX3" fmla="*/ 41592 w 44450"/>
                <a:gd name="connsiteY3" fmla="*/ 30163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2" y="4763"/>
                  </a:lnTo>
                  <a:cubicBezTo>
                    <a:pt x="5397" y="6033"/>
                    <a:pt x="5397" y="7302"/>
                    <a:pt x="4763" y="8572"/>
                  </a:cubicBezTo>
                  <a:lnTo>
                    <a:pt x="41592" y="30163"/>
                  </a:lnTo>
                  <a:cubicBezTo>
                    <a:pt x="41592" y="28892"/>
                    <a:pt x="42227" y="27622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" name="任意多边形: 形状 987"/>
            <p:cNvSpPr/>
            <p:nvPr/>
          </p:nvSpPr>
          <p:spPr>
            <a:xfrm>
              <a:off x="5505133" y="372459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8573 h 31750"/>
                <a:gd name="connsiteX3" fmla="*/ 41592 w 44450"/>
                <a:gd name="connsiteY3" fmla="*/ 3016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6033"/>
                    <a:pt x="5397" y="7303"/>
                    <a:pt x="4763" y="8573"/>
                  </a:cubicBezTo>
                  <a:lnTo>
                    <a:pt x="41592" y="30163"/>
                  </a:lnTo>
                  <a:cubicBezTo>
                    <a:pt x="42227" y="28892"/>
                    <a:pt x="42227" y="2762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" name="任意多边形: 形状 988"/>
            <p:cNvSpPr/>
            <p:nvPr/>
          </p:nvSpPr>
          <p:spPr>
            <a:xfrm>
              <a:off x="5503863" y="3728403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8572 h 31750"/>
                <a:gd name="connsiteX3" fmla="*/ 41592 w 44450"/>
                <a:gd name="connsiteY3" fmla="*/ 30163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7" y="6032"/>
                    <a:pt x="5397" y="7302"/>
                    <a:pt x="4763" y="8572"/>
                  </a:cubicBezTo>
                  <a:lnTo>
                    <a:pt x="41592" y="30163"/>
                  </a:lnTo>
                  <a:cubicBezTo>
                    <a:pt x="42228" y="28257"/>
                    <a:pt x="42863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" name="任意多边形: 形状 989"/>
            <p:cNvSpPr/>
            <p:nvPr/>
          </p:nvSpPr>
          <p:spPr>
            <a:xfrm>
              <a:off x="5503863" y="3731578"/>
              <a:ext cx="44450" cy="31750"/>
            </a:xfrm>
            <a:custGeom>
              <a:avLst/>
              <a:gdLst>
                <a:gd name="connsiteX0" fmla="*/ 42228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222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2"/>
                  </a:moveTo>
                  <a:lnTo>
                    <a:pt x="5397" y="4763"/>
                  </a:lnTo>
                  <a:cubicBezTo>
                    <a:pt x="5397" y="5397"/>
                    <a:pt x="4763" y="6667"/>
                    <a:pt x="4763" y="7302"/>
                  </a:cubicBezTo>
                  <a:lnTo>
                    <a:pt x="41592" y="28892"/>
                  </a:lnTo>
                  <a:cubicBezTo>
                    <a:pt x="41592" y="28257"/>
                    <a:pt x="41592" y="27622"/>
                    <a:pt x="4222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" name="任意多边形: 形状 990"/>
            <p:cNvSpPr/>
            <p:nvPr/>
          </p:nvSpPr>
          <p:spPr>
            <a:xfrm>
              <a:off x="5434647" y="3818572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033 h 31750"/>
                <a:gd name="connsiteX3" fmla="*/ 41593 w 44450"/>
                <a:gd name="connsiteY3" fmla="*/ 2762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5398"/>
                    <a:pt x="5398" y="5398"/>
                    <a:pt x="4763" y="6033"/>
                  </a:cubicBezTo>
                  <a:lnTo>
                    <a:pt x="41593" y="27623"/>
                  </a:lnTo>
                  <a:cubicBezTo>
                    <a:pt x="42228" y="26988"/>
                    <a:pt x="42863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" name="任意多边形: 形状 991"/>
            <p:cNvSpPr/>
            <p:nvPr/>
          </p:nvSpPr>
          <p:spPr>
            <a:xfrm>
              <a:off x="5432108" y="3819208"/>
              <a:ext cx="44450" cy="31750"/>
            </a:xfrm>
            <a:custGeom>
              <a:avLst/>
              <a:gdLst>
                <a:gd name="connsiteX0" fmla="*/ 44133 w 44450"/>
                <a:gd name="connsiteY0" fmla="*/ 26352 h 31750"/>
                <a:gd name="connsiteX1" fmla="*/ 7302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413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6352"/>
                  </a:moveTo>
                  <a:lnTo>
                    <a:pt x="7302" y="4763"/>
                  </a:lnTo>
                  <a:cubicBezTo>
                    <a:pt x="6667" y="5397"/>
                    <a:pt x="6033" y="6033"/>
                    <a:pt x="4763" y="6667"/>
                  </a:cubicBezTo>
                  <a:lnTo>
                    <a:pt x="41592" y="28258"/>
                  </a:lnTo>
                  <a:cubicBezTo>
                    <a:pt x="42863" y="27622"/>
                    <a:pt x="43497" y="26988"/>
                    <a:pt x="4413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" name="任意多边形: 形状 992"/>
            <p:cNvSpPr/>
            <p:nvPr/>
          </p:nvSpPr>
          <p:spPr>
            <a:xfrm>
              <a:off x="5430203" y="3821113"/>
              <a:ext cx="44450" cy="31750"/>
            </a:xfrm>
            <a:custGeom>
              <a:avLst/>
              <a:gdLst>
                <a:gd name="connsiteX0" fmla="*/ 44132 w 44450"/>
                <a:gd name="connsiteY0" fmla="*/ 26353 h 31750"/>
                <a:gd name="connsiteX1" fmla="*/ 7302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413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2" y="26353"/>
                  </a:moveTo>
                  <a:lnTo>
                    <a:pt x="7302" y="4763"/>
                  </a:lnTo>
                  <a:cubicBezTo>
                    <a:pt x="6667" y="5397"/>
                    <a:pt x="6032" y="6033"/>
                    <a:pt x="4763" y="6667"/>
                  </a:cubicBezTo>
                  <a:lnTo>
                    <a:pt x="41592" y="28258"/>
                  </a:lnTo>
                  <a:cubicBezTo>
                    <a:pt x="42227" y="28258"/>
                    <a:pt x="42863" y="26988"/>
                    <a:pt x="4413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" name="任意多边形: 形状 993"/>
            <p:cNvSpPr/>
            <p:nvPr/>
          </p:nvSpPr>
          <p:spPr>
            <a:xfrm>
              <a:off x="5428297" y="3823653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8 w 44450"/>
                <a:gd name="connsiteY1" fmla="*/ 4763 h 31750"/>
                <a:gd name="connsiteX2" fmla="*/ 4763 w 44450"/>
                <a:gd name="connsiteY2" fmla="*/ 6667 h 31750"/>
                <a:gd name="connsiteX3" fmla="*/ 41593 w 44450"/>
                <a:gd name="connsiteY3" fmla="*/ 28257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5397"/>
                    <a:pt x="5398" y="6032"/>
                    <a:pt x="4763" y="6667"/>
                  </a:cubicBezTo>
                  <a:lnTo>
                    <a:pt x="41593" y="28257"/>
                  </a:lnTo>
                  <a:cubicBezTo>
                    <a:pt x="42228" y="27622"/>
                    <a:pt x="42863" y="26988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" name="任意多边形: 形状 994"/>
            <p:cNvSpPr/>
            <p:nvPr/>
          </p:nvSpPr>
          <p:spPr>
            <a:xfrm>
              <a:off x="5426392" y="3825558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7" y="4763"/>
                  </a:lnTo>
                  <a:cubicBezTo>
                    <a:pt x="6033" y="5397"/>
                    <a:pt x="5398" y="6033"/>
                    <a:pt x="4763" y="6667"/>
                  </a:cubicBezTo>
                  <a:lnTo>
                    <a:pt x="41592" y="28258"/>
                  </a:lnTo>
                  <a:cubicBezTo>
                    <a:pt x="42228" y="27622"/>
                    <a:pt x="42863" y="26988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" name="任意多边形: 形状 995"/>
            <p:cNvSpPr/>
            <p:nvPr/>
          </p:nvSpPr>
          <p:spPr>
            <a:xfrm>
              <a:off x="5423853" y="3827463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2" y="5397"/>
                    <a:pt x="5397" y="6033"/>
                    <a:pt x="4763" y="6667"/>
                  </a:cubicBezTo>
                  <a:lnTo>
                    <a:pt x="41592" y="28258"/>
                  </a:lnTo>
                  <a:cubicBezTo>
                    <a:pt x="42227" y="28258"/>
                    <a:pt x="42863" y="27622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" name="任意多边形: 形状 996"/>
            <p:cNvSpPr/>
            <p:nvPr/>
          </p:nvSpPr>
          <p:spPr>
            <a:xfrm>
              <a:off x="5421947" y="3830003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8 w 44450"/>
                <a:gd name="connsiteY1" fmla="*/ 4763 h 31750"/>
                <a:gd name="connsiteX2" fmla="*/ 4763 w 44450"/>
                <a:gd name="connsiteY2" fmla="*/ 7302 h 31750"/>
                <a:gd name="connsiteX3" fmla="*/ 41593 w 44450"/>
                <a:gd name="connsiteY3" fmla="*/ 28892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5397"/>
                    <a:pt x="5398" y="6032"/>
                    <a:pt x="4763" y="7302"/>
                  </a:cubicBezTo>
                  <a:lnTo>
                    <a:pt x="41593" y="28892"/>
                  </a:lnTo>
                  <a:cubicBezTo>
                    <a:pt x="42228" y="27622"/>
                    <a:pt x="42863" y="26988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" name="任意多边形: 形状 997"/>
            <p:cNvSpPr/>
            <p:nvPr/>
          </p:nvSpPr>
          <p:spPr>
            <a:xfrm>
              <a:off x="5420042" y="3831908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7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7" y="4763"/>
                  </a:lnTo>
                  <a:cubicBezTo>
                    <a:pt x="6033" y="5397"/>
                    <a:pt x="5398" y="6033"/>
                    <a:pt x="4763" y="7302"/>
                  </a:cubicBezTo>
                  <a:lnTo>
                    <a:pt x="41592" y="28892"/>
                  </a:lnTo>
                  <a:cubicBezTo>
                    <a:pt x="42228" y="28258"/>
                    <a:pt x="42863" y="27622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" name="任意多边形: 形状 998"/>
            <p:cNvSpPr/>
            <p:nvPr/>
          </p:nvSpPr>
          <p:spPr>
            <a:xfrm>
              <a:off x="5418138" y="3834447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3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5398"/>
                    <a:pt x="5397" y="6668"/>
                    <a:pt x="4763" y="7303"/>
                  </a:cubicBezTo>
                  <a:lnTo>
                    <a:pt x="41592" y="28893"/>
                  </a:lnTo>
                  <a:cubicBezTo>
                    <a:pt x="42228" y="28258"/>
                    <a:pt x="42863" y="27623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" name="任意多边形: 形状 999"/>
            <p:cNvSpPr/>
            <p:nvPr/>
          </p:nvSpPr>
          <p:spPr>
            <a:xfrm>
              <a:off x="5415597" y="3836988"/>
              <a:ext cx="44450" cy="31750"/>
            </a:xfrm>
            <a:custGeom>
              <a:avLst/>
              <a:gdLst>
                <a:gd name="connsiteX0" fmla="*/ 44133 w 44450"/>
                <a:gd name="connsiteY0" fmla="*/ 26353 h 31750"/>
                <a:gd name="connsiteX1" fmla="*/ 7303 w 44450"/>
                <a:gd name="connsiteY1" fmla="*/ 4763 h 31750"/>
                <a:gd name="connsiteX2" fmla="*/ 4763 w 44450"/>
                <a:gd name="connsiteY2" fmla="*/ 8572 h 31750"/>
                <a:gd name="connsiteX3" fmla="*/ 41593 w 44450"/>
                <a:gd name="connsiteY3" fmla="*/ 30163 h 31750"/>
                <a:gd name="connsiteX4" fmla="*/ 4413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6353"/>
                  </a:moveTo>
                  <a:lnTo>
                    <a:pt x="7303" y="4763"/>
                  </a:lnTo>
                  <a:cubicBezTo>
                    <a:pt x="6033" y="6033"/>
                    <a:pt x="5398" y="7303"/>
                    <a:pt x="4763" y="8572"/>
                  </a:cubicBezTo>
                  <a:lnTo>
                    <a:pt x="41593" y="30163"/>
                  </a:lnTo>
                  <a:cubicBezTo>
                    <a:pt x="42228" y="29528"/>
                    <a:pt x="42863" y="28258"/>
                    <a:pt x="4413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" name="任意多边形: 形状 1000"/>
            <p:cNvSpPr/>
            <p:nvPr/>
          </p:nvSpPr>
          <p:spPr>
            <a:xfrm>
              <a:off x="5411788" y="3841433"/>
              <a:ext cx="44450" cy="31750"/>
            </a:xfrm>
            <a:custGeom>
              <a:avLst/>
              <a:gdLst>
                <a:gd name="connsiteX0" fmla="*/ 45403 w 44450"/>
                <a:gd name="connsiteY0" fmla="*/ 26352 h 31750"/>
                <a:gd name="connsiteX1" fmla="*/ 8572 w 44450"/>
                <a:gd name="connsiteY1" fmla="*/ 4763 h 31750"/>
                <a:gd name="connsiteX2" fmla="*/ 4763 w 44450"/>
                <a:gd name="connsiteY2" fmla="*/ 11113 h 31750"/>
                <a:gd name="connsiteX3" fmla="*/ 41592 w 44450"/>
                <a:gd name="connsiteY3" fmla="*/ 32702 h 31750"/>
                <a:gd name="connsiteX4" fmla="*/ 4540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5403" y="26352"/>
                  </a:moveTo>
                  <a:lnTo>
                    <a:pt x="8572" y="4763"/>
                  </a:lnTo>
                  <a:cubicBezTo>
                    <a:pt x="7303" y="6667"/>
                    <a:pt x="6033" y="9208"/>
                    <a:pt x="4763" y="11113"/>
                  </a:cubicBezTo>
                  <a:lnTo>
                    <a:pt x="41592" y="32702"/>
                  </a:lnTo>
                  <a:cubicBezTo>
                    <a:pt x="42228" y="30163"/>
                    <a:pt x="43497" y="28258"/>
                    <a:pt x="4540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" name="任意多边形: 形状 1001"/>
            <p:cNvSpPr/>
            <p:nvPr/>
          </p:nvSpPr>
          <p:spPr>
            <a:xfrm>
              <a:off x="5408613" y="3847783"/>
              <a:ext cx="44450" cy="31750"/>
            </a:xfrm>
            <a:custGeom>
              <a:avLst/>
              <a:gdLst>
                <a:gd name="connsiteX0" fmla="*/ 44133 w 44450"/>
                <a:gd name="connsiteY0" fmla="*/ 26352 h 31750"/>
                <a:gd name="connsiteX1" fmla="*/ 7303 w 44450"/>
                <a:gd name="connsiteY1" fmla="*/ 4763 h 31750"/>
                <a:gd name="connsiteX2" fmla="*/ 4763 w 44450"/>
                <a:gd name="connsiteY2" fmla="*/ 9208 h 31750"/>
                <a:gd name="connsiteX3" fmla="*/ 41592 w 44450"/>
                <a:gd name="connsiteY3" fmla="*/ 30797 h 31750"/>
                <a:gd name="connsiteX4" fmla="*/ 4413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6352"/>
                  </a:moveTo>
                  <a:lnTo>
                    <a:pt x="7303" y="4763"/>
                  </a:lnTo>
                  <a:cubicBezTo>
                    <a:pt x="6667" y="6033"/>
                    <a:pt x="5397" y="7938"/>
                    <a:pt x="4763" y="9208"/>
                  </a:cubicBezTo>
                  <a:lnTo>
                    <a:pt x="41592" y="30797"/>
                  </a:lnTo>
                  <a:cubicBezTo>
                    <a:pt x="42863" y="28892"/>
                    <a:pt x="43497" y="27622"/>
                    <a:pt x="4413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" name="任意多边形: 形状 1002"/>
            <p:cNvSpPr/>
            <p:nvPr/>
          </p:nvSpPr>
          <p:spPr>
            <a:xfrm>
              <a:off x="5407342" y="385222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7938 h 31750"/>
                <a:gd name="connsiteX3" fmla="*/ 41592 w 44450"/>
                <a:gd name="connsiteY3" fmla="*/ 29527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6032"/>
                    <a:pt x="4763" y="6667"/>
                    <a:pt x="4763" y="7938"/>
                  </a:cubicBezTo>
                  <a:lnTo>
                    <a:pt x="41592" y="29527"/>
                  </a:lnTo>
                  <a:cubicBezTo>
                    <a:pt x="42228" y="28257"/>
                    <a:pt x="42863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" name="任意多边形: 形状 1003"/>
            <p:cNvSpPr/>
            <p:nvPr/>
          </p:nvSpPr>
          <p:spPr>
            <a:xfrm>
              <a:off x="5406072" y="385476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7303 h 31750"/>
                <a:gd name="connsiteX3" fmla="*/ 41593 w 44450"/>
                <a:gd name="connsiteY3" fmla="*/ 28892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5398"/>
                    <a:pt x="5398" y="6667"/>
                    <a:pt x="4763" y="7303"/>
                  </a:cubicBezTo>
                  <a:lnTo>
                    <a:pt x="41593" y="28892"/>
                  </a:lnTo>
                  <a:cubicBezTo>
                    <a:pt x="42228" y="28258"/>
                    <a:pt x="42228" y="2762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" name="任意多边形: 形状 1004"/>
            <p:cNvSpPr/>
            <p:nvPr/>
          </p:nvSpPr>
          <p:spPr>
            <a:xfrm>
              <a:off x="5404803" y="385730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2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2" y="4763"/>
                  </a:lnTo>
                  <a:cubicBezTo>
                    <a:pt x="5397" y="5397"/>
                    <a:pt x="5397" y="6033"/>
                    <a:pt x="4763" y="7302"/>
                  </a:cubicBezTo>
                  <a:lnTo>
                    <a:pt x="41592" y="28892"/>
                  </a:lnTo>
                  <a:cubicBezTo>
                    <a:pt x="42227" y="28258"/>
                    <a:pt x="42863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" name="任意多边形: 形状 1005"/>
            <p:cNvSpPr/>
            <p:nvPr/>
          </p:nvSpPr>
          <p:spPr>
            <a:xfrm>
              <a:off x="5403533" y="385984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3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8"/>
                    <a:pt x="5397" y="6033"/>
                    <a:pt x="4763" y="7303"/>
                  </a:cubicBezTo>
                  <a:lnTo>
                    <a:pt x="41592" y="28893"/>
                  </a:lnTo>
                  <a:cubicBezTo>
                    <a:pt x="42227" y="27623"/>
                    <a:pt x="42863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" name="任意多边形: 形状 1006"/>
            <p:cNvSpPr/>
            <p:nvPr/>
          </p:nvSpPr>
          <p:spPr>
            <a:xfrm>
              <a:off x="5403533" y="3861753"/>
              <a:ext cx="44450" cy="31750"/>
            </a:xfrm>
            <a:custGeom>
              <a:avLst/>
              <a:gdLst>
                <a:gd name="connsiteX0" fmla="*/ 42227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222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2"/>
                  </a:moveTo>
                  <a:lnTo>
                    <a:pt x="5397" y="4763"/>
                  </a:lnTo>
                  <a:cubicBezTo>
                    <a:pt x="5397" y="5397"/>
                    <a:pt x="4763" y="6032"/>
                    <a:pt x="4763" y="7302"/>
                  </a:cubicBezTo>
                  <a:lnTo>
                    <a:pt x="41592" y="28892"/>
                  </a:lnTo>
                  <a:cubicBezTo>
                    <a:pt x="41592" y="28257"/>
                    <a:pt x="41592" y="27622"/>
                    <a:pt x="4222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" name="任意多边形: 形状 1007"/>
            <p:cNvSpPr/>
            <p:nvPr/>
          </p:nvSpPr>
          <p:spPr>
            <a:xfrm>
              <a:off x="5402263" y="3864292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7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2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7" y="4763"/>
                  </a:lnTo>
                  <a:cubicBezTo>
                    <a:pt x="5397" y="5398"/>
                    <a:pt x="4763" y="6033"/>
                    <a:pt x="4763" y="7303"/>
                  </a:cubicBezTo>
                  <a:lnTo>
                    <a:pt x="41592" y="28892"/>
                  </a:lnTo>
                  <a:cubicBezTo>
                    <a:pt x="42228" y="27623"/>
                    <a:pt x="42228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" name="任意多边形: 形状 1008"/>
            <p:cNvSpPr/>
            <p:nvPr/>
          </p:nvSpPr>
          <p:spPr>
            <a:xfrm>
              <a:off x="5401628" y="3866833"/>
              <a:ext cx="44450" cy="31750"/>
            </a:xfrm>
            <a:custGeom>
              <a:avLst/>
              <a:gdLst>
                <a:gd name="connsiteX0" fmla="*/ 42227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222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2"/>
                  </a:moveTo>
                  <a:lnTo>
                    <a:pt x="5397" y="4763"/>
                  </a:lnTo>
                  <a:cubicBezTo>
                    <a:pt x="5397" y="5397"/>
                    <a:pt x="4763" y="6667"/>
                    <a:pt x="4763" y="7302"/>
                  </a:cubicBezTo>
                  <a:lnTo>
                    <a:pt x="41592" y="28892"/>
                  </a:lnTo>
                  <a:cubicBezTo>
                    <a:pt x="41592" y="27622"/>
                    <a:pt x="42227" y="26988"/>
                    <a:pt x="4222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" name="任意多边形: 形状 1009"/>
            <p:cNvSpPr/>
            <p:nvPr/>
          </p:nvSpPr>
          <p:spPr>
            <a:xfrm>
              <a:off x="5400992" y="3868738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2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5397"/>
                    <a:pt x="4763" y="6667"/>
                    <a:pt x="4763" y="7303"/>
                  </a:cubicBezTo>
                  <a:lnTo>
                    <a:pt x="41592" y="28892"/>
                  </a:lnTo>
                  <a:cubicBezTo>
                    <a:pt x="41592" y="28258"/>
                    <a:pt x="41592" y="27622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" name="任意多边形: 形状 1010"/>
            <p:cNvSpPr/>
            <p:nvPr/>
          </p:nvSpPr>
          <p:spPr>
            <a:xfrm>
              <a:off x="5400358" y="3871278"/>
              <a:ext cx="44450" cy="31750"/>
            </a:xfrm>
            <a:custGeom>
              <a:avLst/>
              <a:gdLst>
                <a:gd name="connsiteX0" fmla="*/ 42227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222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2"/>
                  </a:moveTo>
                  <a:lnTo>
                    <a:pt x="5397" y="4763"/>
                  </a:lnTo>
                  <a:cubicBezTo>
                    <a:pt x="5397" y="5397"/>
                    <a:pt x="4763" y="6667"/>
                    <a:pt x="4763" y="7302"/>
                  </a:cubicBezTo>
                  <a:lnTo>
                    <a:pt x="41592" y="28892"/>
                  </a:lnTo>
                  <a:cubicBezTo>
                    <a:pt x="41592" y="28257"/>
                    <a:pt x="41592" y="27622"/>
                    <a:pt x="4222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" name="任意多边形: 形状 1011"/>
            <p:cNvSpPr/>
            <p:nvPr/>
          </p:nvSpPr>
          <p:spPr>
            <a:xfrm>
              <a:off x="5399088" y="3873817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7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2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7" y="4763"/>
                  </a:lnTo>
                  <a:cubicBezTo>
                    <a:pt x="5397" y="5398"/>
                    <a:pt x="4763" y="6667"/>
                    <a:pt x="4763" y="7303"/>
                  </a:cubicBezTo>
                  <a:lnTo>
                    <a:pt x="41592" y="28892"/>
                  </a:lnTo>
                  <a:cubicBezTo>
                    <a:pt x="42228" y="28258"/>
                    <a:pt x="42228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" name="任意多边形: 形状 1012"/>
            <p:cNvSpPr/>
            <p:nvPr/>
          </p:nvSpPr>
          <p:spPr>
            <a:xfrm>
              <a:off x="5398453" y="3876358"/>
              <a:ext cx="44450" cy="31750"/>
            </a:xfrm>
            <a:custGeom>
              <a:avLst/>
              <a:gdLst>
                <a:gd name="connsiteX0" fmla="*/ 42227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222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2"/>
                  </a:moveTo>
                  <a:lnTo>
                    <a:pt x="5397" y="4763"/>
                  </a:lnTo>
                  <a:cubicBezTo>
                    <a:pt x="5397" y="5397"/>
                    <a:pt x="4763" y="6667"/>
                    <a:pt x="4763" y="7302"/>
                  </a:cubicBezTo>
                  <a:lnTo>
                    <a:pt x="41592" y="28892"/>
                  </a:lnTo>
                  <a:cubicBezTo>
                    <a:pt x="42227" y="28258"/>
                    <a:pt x="42227" y="26988"/>
                    <a:pt x="4222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" name="任意多边形: 形状 1013"/>
            <p:cNvSpPr/>
            <p:nvPr/>
          </p:nvSpPr>
          <p:spPr>
            <a:xfrm>
              <a:off x="5397817" y="3878897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3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5398"/>
                    <a:pt x="4763" y="6668"/>
                    <a:pt x="4763" y="7303"/>
                  </a:cubicBezTo>
                  <a:lnTo>
                    <a:pt x="41592" y="28893"/>
                  </a:lnTo>
                  <a:cubicBezTo>
                    <a:pt x="42228" y="27623"/>
                    <a:pt x="42228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" name="任意多边形: 形状 1014"/>
            <p:cNvSpPr/>
            <p:nvPr/>
          </p:nvSpPr>
          <p:spPr>
            <a:xfrm>
              <a:off x="5397817" y="3881438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2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5397"/>
                    <a:pt x="5398" y="6033"/>
                    <a:pt x="4763" y="7303"/>
                  </a:cubicBezTo>
                  <a:lnTo>
                    <a:pt x="41592" y="28892"/>
                  </a:lnTo>
                  <a:cubicBezTo>
                    <a:pt x="41592" y="27622"/>
                    <a:pt x="41592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" name="任意多边形: 形状 1015"/>
            <p:cNvSpPr/>
            <p:nvPr/>
          </p:nvSpPr>
          <p:spPr>
            <a:xfrm>
              <a:off x="5397183" y="3883342"/>
              <a:ext cx="44450" cy="31750"/>
            </a:xfrm>
            <a:custGeom>
              <a:avLst/>
              <a:gdLst>
                <a:gd name="connsiteX0" fmla="*/ 42227 w 44450"/>
                <a:gd name="connsiteY0" fmla="*/ 26353 h 31750"/>
                <a:gd name="connsiteX1" fmla="*/ 5397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2 h 31750"/>
                <a:gd name="connsiteX4" fmla="*/ 4222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3"/>
                  </a:moveTo>
                  <a:lnTo>
                    <a:pt x="5397" y="4763"/>
                  </a:lnTo>
                  <a:cubicBezTo>
                    <a:pt x="5397" y="5398"/>
                    <a:pt x="5397" y="6033"/>
                    <a:pt x="4763" y="7303"/>
                  </a:cubicBezTo>
                  <a:lnTo>
                    <a:pt x="41592" y="28892"/>
                  </a:lnTo>
                  <a:cubicBezTo>
                    <a:pt x="42227" y="28258"/>
                    <a:pt x="42227" y="27623"/>
                    <a:pt x="4222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" name="任意多边形: 形状 1016"/>
            <p:cNvSpPr/>
            <p:nvPr/>
          </p:nvSpPr>
          <p:spPr>
            <a:xfrm>
              <a:off x="5397817" y="3885883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159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4763" y="7302"/>
                  </a:cubicBezTo>
                  <a:lnTo>
                    <a:pt x="41592" y="28892"/>
                  </a:lnTo>
                  <a:cubicBezTo>
                    <a:pt x="40958" y="28258"/>
                    <a:pt x="40958" y="26988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" name="任意多边形: 形状 1017"/>
            <p:cNvSpPr/>
            <p:nvPr/>
          </p:nvSpPr>
          <p:spPr>
            <a:xfrm>
              <a:off x="5397183" y="3888422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3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7303"/>
                  </a:cubicBezTo>
                  <a:lnTo>
                    <a:pt x="41592" y="28893"/>
                  </a:lnTo>
                  <a:cubicBezTo>
                    <a:pt x="41592" y="27623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" name="任意多边形: 形状 1018"/>
            <p:cNvSpPr/>
            <p:nvPr/>
          </p:nvSpPr>
          <p:spPr>
            <a:xfrm>
              <a:off x="5397183" y="3890328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4763 w 44450"/>
                <a:gd name="connsiteY2" fmla="*/ 7302 h 31750"/>
                <a:gd name="connsiteX3" fmla="*/ 41592 w 44450"/>
                <a:gd name="connsiteY3" fmla="*/ 28892 h 31750"/>
                <a:gd name="connsiteX4" fmla="*/ 4159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4763" y="6032"/>
                    <a:pt x="4763" y="7302"/>
                  </a:cubicBezTo>
                  <a:lnTo>
                    <a:pt x="41592" y="28892"/>
                  </a:lnTo>
                  <a:cubicBezTo>
                    <a:pt x="41592" y="28257"/>
                    <a:pt x="41592" y="26988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" name="任意多边形: 形状 1019"/>
            <p:cNvSpPr/>
            <p:nvPr/>
          </p:nvSpPr>
          <p:spPr>
            <a:xfrm>
              <a:off x="5397183" y="3892867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763 w 44450"/>
                <a:gd name="connsiteY3" fmla="*/ 6667 h 31750"/>
                <a:gd name="connsiteX4" fmla="*/ 41592 w 44450"/>
                <a:gd name="connsiteY4" fmla="*/ 28258 h 31750"/>
                <a:gd name="connsiteX5" fmla="*/ 41592 w 44450"/>
                <a:gd name="connsiteY5" fmla="*/ 28258 h 31750"/>
                <a:gd name="connsiteX6" fmla="*/ 41592 w 44450"/>
                <a:gd name="connsiteY6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6667"/>
                  </a:cubicBezTo>
                  <a:cubicBezTo>
                    <a:pt x="4763" y="6667"/>
                    <a:pt x="4763" y="6667"/>
                    <a:pt x="4763" y="6667"/>
                  </a:cubicBezTo>
                  <a:lnTo>
                    <a:pt x="41592" y="28258"/>
                  </a:lnTo>
                  <a:cubicBezTo>
                    <a:pt x="41592" y="28258"/>
                    <a:pt x="41592" y="28258"/>
                    <a:pt x="41592" y="28258"/>
                  </a:cubicBezTo>
                  <a:cubicBezTo>
                    <a:pt x="41592" y="27623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" name="任意多边形: 形状 1020"/>
            <p:cNvSpPr/>
            <p:nvPr/>
          </p:nvSpPr>
          <p:spPr>
            <a:xfrm>
              <a:off x="5397183" y="3894772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7303 h 31750"/>
                <a:gd name="connsiteX3" fmla="*/ 41592 w 44450"/>
                <a:gd name="connsiteY3" fmla="*/ 28893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7303"/>
                  </a:cubicBezTo>
                  <a:lnTo>
                    <a:pt x="41592" y="28893"/>
                  </a:lnTo>
                  <a:cubicBezTo>
                    <a:pt x="41592" y="28258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" name="任意多边形: 形状 1021"/>
            <p:cNvSpPr/>
            <p:nvPr/>
          </p:nvSpPr>
          <p:spPr>
            <a:xfrm>
              <a:off x="5397183" y="3897313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7622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" name="任意多边形: 形状 1022"/>
            <p:cNvSpPr/>
            <p:nvPr/>
          </p:nvSpPr>
          <p:spPr>
            <a:xfrm>
              <a:off x="5397183" y="3899217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8258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" name="任意多边形: 形状 1023"/>
            <p:cNvSpPr/>
            <p:nvPr/>
          </p:nvSpPr>
          <p:spPr>
            <a:xfrm>
              <a:off x="5397183" y="3901758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5397 w 44450"/>
                <a:gd name="connsiteY2" fmla="*/ 7302 h 31750"/>
                <a:gd name="connsiteX3" fmla="*/ 42227 w 44450"/>
                <a:gd name="connsiteY3" fmla="*/ 28892 h 31750"/>
                <a:gd name="connsiteX4" fmla="*/ 4159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5397" y="7302"/>
                  </a:cubicBezTo>
                  <a:lnTo>
                    <a:pt x="42227" y="28892"/>
                  </a:lnTo>
                  <a:cubicBezTo>
                    <a:pt x="42227" y="27622"/>
                    <a:pt x="41592" y="26988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" name="任意多边形: 形状 1024"/>
            <p:cNvSpPr/>
            <p:nvPr/>
          </p:nvSpPr>
          <p:spPr>
            <a:xfrm>
              <a:off x="5397817" y="3903663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5398 w 44450"/>
                <a:gd name="connsiteY2" fmla="*/ 7303 h 31750"/>
                <a:gd name="connsiteX3" fmla="*/ 42228 w 44450"/>
                <a:gd name="connsiteY3" fmla="*/ 28892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5398" y="7303"/>
                  </a:cubicBezTo>
                  <a:lnTo>
                    <a:pt x="42228" y="28892"/>
                  </a:lnTo>
                  <a:cubicBezTo>
                    <a:pt x="41592" y="28258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" name="任意多边形: 形状 1025"/>
            <p:cNvSpPr/>
            <p:nvPr/>
          </p:nvSpPr>
          <p:spPr>
            <a:xfrm>
              <a:off x="5398453" y="3906203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5397 w 44450"/>
                <a:gd name="connsiteY2" fmla="*/ 7302 h 31750"/>
                <a:gd name="connsiteX3" fmla="*/ 42227 w 44450"/>
                <a:gd name="connsiteY3" fmla="*/ 28892 h 31750"/>
                <a:gd name="connsiteX4" fmla="*/ 4159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5397" y="6667"/>
                    <a:pt x="5397" y="7302"/>
                  </a:cubicBezTo>
                  <a:lnTo>
                    <a:pt x="42227" y="28892"/>
                  </a:lnTo>
                  <a:cubicBezTo>
                    <a:pt x="41592" y="27622"/>
                    <a:pt x="41592" y="26988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" name="任意多边形: 形状 1026"/>
            <p:cNvSpPr/>
            <p:nvPr/>
          </p:nvSpPr>
          <p:spPr>
            <a:xfrm>
              <a:off x="5398453" y="3908742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5397 w 44450"/>
                <a:gd name="connsiteY2" fmla="*/ 7303 h 31750"/>
                <a:gd name="connsiteX3" fmla="*/ 42227 w 44450"/>
                <a:gd name="connsiteY3" fmla="*/ 28892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5397" y="6667"/>
                    <a:pt x="5397" y="7303"/>
                  </a:cubicBezTo>
                  <a:lnTo>
                    <a:pt x="42227" y="28892"/>
                  </a:lnTo>
                  <a:cubicBezTo>
                    <a:pt x="42227" y="27623"/>
                    <a:pt x="42227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" name="任意多边形: 形状 1027"/>
            <p:cNvSpPr/>
            <p:nvPr/>
          </p:nvSpPr>
          <p:spPr>
            <a:xfrm>
              <a:off x="5399722" y="3910647"/>
              <a:ext cx="44450" cy="31750"/>
            </a:xfrm>
            <a:custGeom>
              <a:avLst/>
              <a:gdLst>
                <a:gd name="connsiteX0" fmla="*/ 41593 w 44450"/>
                <a:gd name="connsiteY0" fmla="*/ 26353 h 31750"/>
                <a:gd name="connsiteX1" fmla="*/ 4763 w 44450"/>
                <a:gd name="connsiteY1" fmla="*/ 4763 h 31750"/>
                <a:gd name="connsiteX2" fmla="*/ 6033 w 44450"/>
                <a:gd name="connsiteY2" fmla="*/ 7303 h 31750"/>
                <a:gd name="connsiteX3" fmla="*/ 42863 w 44450"/>
                <a:gd name="connsiteY3" fmla="*/ 28893 h 31750"/>
                <a:gd name="connsiteX4" fmla="*/ 4159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3" y="26353"/>
                  </a:moveTo>
                  <a:lnTo>
                    <a:pt x="4763" y="4763"/>
                  </a:lnTo>
                  <a:cubicBezTo>
                    <a:pt x="5398" y="5398"/>
                    <a:pt x="5398" y="6668"/>
                    <a:pt x="6033" y="7303"/>
                  </a:cubicBezTo>
                  <a:lnTo>
                    <a:pt x="42863" y="28893"/>
                  </a:lnTo>
                  <a:cubicBezTo>
                    <a:pt x="42228" y="28258"/>
                    <a:pt x="41593" y="27623"/>
                    <a:pt x="4159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" name="任意多边形: 形状 1028"/>
            <p:cNvSpPr/>
            <p:nvPr/>
          </p:nvSpPr>
          <p:spPr>
            <a:xfrm>
              <a:off x="5400992" y="3913822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6667 w 44450"/>
                <a:gd name="connsiteY2" fmla="*/ 7938 h 31750"/>
                <a:gd name="connsiteX3" fmla="*/ 43498 w 44450"/>
                <a:gd name="connsiteY3" fmla="*/ 2952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5398" y="6033"/>
                    <a:pt x="6033" y="6668"/>
                    <a:pt x="6667" y="7938"/>
                  </a:cubicBezTo>
                  <a:lnTo>
                    <a:pt x="43498" y="29528"/>
                  </a:lnTo>
                  <a:cubicBezTo>
                    <a:pt x="42228" y="28258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" name="任意多边形: 形状 1029"/>
            <p:cNvSpPr/>
            <p:nvPr/>
          </p:nvSpPr>
          <p:spPr>
            <a:xfrm>
              <a:off x="5402263" y="3916997"/>
              <a:ext cx="50800" cy="38100"/>
            </a:xfrm>
            <a:custGeom>
              <a:avLst/>
              <a:gdLst>
                <a:gd name="connsiteX0" fmla="*/ 41592 w 50800"/>
                <a:gd name="connsiteY0" fmla="*/ 26353 h 38100"/>
                <a:gd name="connsiteX1" fmla="*/ 4763 w 50800"/>
                <a:gd name="connsiteY1" fmla="*/ 4763 h 38100"/>
                <a:gd name="connsiteX2" fmla="*/ 13017 w 50800"/>
                <a:gd name="connsiteY2" fmla="*/ 13018 h 38100"/>
                <a:gd name="connsiteX3" fmla="*/ 49847 w 50800"/>
                <a:gd name="connsiteY3" fmla="*/ 34608 h 38100"/>
                <a:gd name="connsiteX4" fmla="*/ 41592 w 50800"/>
                <a:gd name="connsiteY4" fmla="*/ 2635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00" h="38100">
                  <a:moveTo>
                    <a:pt x="41592" y="26353"/>
                  </a:moveTo>
                  <a:lnTo>
                    <a:pt x="4763" y="4763"/>
                  </a:lnTo>
                  <a:cubicBezTo>
                    <a:pt x="6667" y="7938"/>
                    <a:pt x="9842" y="11113"/>
                    <a:pt x="13017" y="13018"/>
                  </a:cubicBezTo>
                  <a:lnTo>
                    <a:pt x="49847" y="34608"/>
                  </a:lnTo>
                  <a:cubicBezTo>
                    <a:pt x="46672" y="32068"/>
                    <a:pt x="44133" y="2952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" name="任意多边形: 形状 1030"/>
            <p:cNvSpPr/>
            <p:nvPr/>
          </p:nvSpPr>
          <p:spPr>
            <a:xfrm>
              <a:off x="5502592" y="3734117"/>
              <a:ext cx="44450" cy="25400"/>
            </a:xfrm>
            <a:custGeom>
              <a:avLst/>
              <a:gdLst>
                <a:gd name="connsiteX0" fmla="*/ 42863 w 44450"/>
                <a:gd name="connsiteY0" fmla="*/ 26353 h 25400"/>
                <a:gd name="connsiteX1" fmla="*/ 6033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3 h 25400"/>
                <a:gd name="connsiteX4" fmla="*/ 42863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2863" y="26353"/>
                  </a:moveTo>
                  <a:lnTo>
                    <a:pt x="6033" y="4763"/>
                  </a:lnTo>
                  <a:cubicBezTo>
                    <a:pt x="5398" y="4763"/>
                    <a:pt x="5398" y="4763"/>
                    <a:pt x="4763" y="4763"/>
                  </a:cubicBezTo>
                  <a:lnTo>
                    <a:pt x="41592" y="26353"/>
                  </a:lnTo>
                  <a:cubicBezTo>
                    <a:pt x="41592" y="26353"/>
                    <a:pt x="42228" y="26353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" name="任意多边形: 形状 1031"/>
            <p:cNvSpPr/>
            <p:nvPr/>
          </p:nvSpPr>
          <p:spPr>
            <a:xfrm>
              <a:off x="5500053" y="3733483"/>
              <a:ext cx="44450" cy="31750"/>
            </a:xfrm>
            <a:custGeom>
              <a:avLst/>
              <a:gdLst>
                <a:gd name="connsiteX0" fmla="*/ 44132 w 44450"/>
                <a:gd name="connsiteY0" fmla="*/ 26988 h 31750"/>
                <a:gd name="connsiteX1" fmla="*/ 7302 w 44450"/>
                <a:gd name="connsiteY1" fmla="*/ 5397 h 31750"/>
                <a:gd name="connsiteX2" fmla="*/ 4763 w 44450"/>
                <a:gd name="connsiteY2" fmla="*/ 4763 h 31750"/>
                <a:gd name="connsiteX3" fmla="*/ 41592 w 44450"/>
                <a:gd name="connsiteY3" fmla="*/ 26352 h 31750"/>
                <a:gd name="connsiteX4" fmla="*/ 44132 w 44450"/>
                <a:gd name="connsiteY4" fmla="*/ 26988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2" y="26988"/>
                  </a:moveTo>
                  <a:lnTo>
                    <a:pt x="7302" y="5397"/>
                  </a:lnTo>
                  <a:cubicBezTo>
                    <a:pt x="6667" y="5397"/>
                    <a:pt x="5397" y="5397"/>
                    <a:pt x="4763" y="4763"/>
                  </a:cubicBezTo>
                  <a:lnTo>
                    <a:pt x="41592" y="26352"/>
                  </a:lnTo>
                  <a:cubicBezTo>
                    <a:pt x="42227" y="26352"/>
                    <a:pt x="43497" y="26988"/>
                    <a:pt x="44132" y="2698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" name="任意多边形: 形状 1032"/>
            <p:cNvSpPr/>
            <p:nvPr/>
          </p:nvSpPr>
          <p:spPr>
            <a:xfrm>
              <a:off x="5498147" y="3733483"/>
              <a:ext cx="44450" cy="25400"/>
            </a:xfrm>
            <a:custGeom>
              <a:avLst/>
              <a:gdLst>
                <a:gd name="connsiteX0" fmla="*/ 43498 w 44450"/>
                <a:gd name="connsiteY0" fmla="*/ 26352 h 25400"/>
                <a:gd name="connsiteX1" fmla="*/ 6668 w 44450"/>
                <a:gd name="connsiteY1" fmla="*/ 4763 h 25400"/>
                <a:gd name="connsiteX2" fmla="*/ 4763 w 44450"/>
                <a:gd name="connsiteY2" fmla="*/ 4763 h 25400"/>
                <a:gd name="connsiteX3" fmla="*/ 41593 w 44450"/>
                <a:gd name="connsiteY3" fmla="*/ 26352 h 25400"/>
                <a:gd name="connsiteX4" fmla="*/ 43498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4763"/>
                    <a:pt x="5398" y="4763"/>
                    <a:pt x="4763" y="4763"/>
                  </a:cubicBezTo>
                  <a:lnTo>
                    <a:pt x="41593" y="26352"/>
                  </a:lnTo>
                  <a:cubicBezTo>
                    <a:pt x="42228" y="26352"/>
                    <a:pt x="42863" y="26352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" name="任意多边形: 形状 1033"/>
            <p:cNvSpPr/>
            <p:nvPr/>
          </p:nvSpPr>
          <p:spPr>
            <a:xfrm>
              <a:off x="5495608" y="3733483"/>
              <a:ext cx="44450" cy="25400"/>
            </a:xfrm>
            <a:custGeom>
              <a:avLst/>
              <a:gdLst>
                <a:gd name="connsiteX0" fmla="*/ 43497 w 44450"/>
                <a:gd name="connsiteY0" fmla="*/ 26352 h 25400"/>
                <a:gd name="connsiteX1" fmla="*/ 6667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3497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7" y="26352"/>
                  </a:moveTo>
                  <a:lnTo>
                    <a:pt x="6667" y="4763"/>
                  </a:lnTo>
                  <a:cubicBezTo>
                    <a:pt x="6033" y="4763"/>
                    <a:pt x="5397" y="4763"/>
                    <a:pt x="4763" y="4763"/>
                  </a:cubicBezTo>
                  <a:lnTo>
                    <a:pt x="41592" y="26352"/>
                  </a:lnTo>
                  <a:cubicBezTo>
                    <a:pt x="42227" y="26352"/>
                    <a:pt x="42863" y="26352"/>
                    <a:pt x="4349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" name="任意多边形: 形状 1034"/>
            <p:cNvSpPr/>
            <p:nvPr/>
          </p:nvSpPr>
          <p:spPr>
            <a:xfrm>
              <a:off x="5493703" y="3733483"/>
              <a:ext cx="44450" cy="25400"/>
            </a:xfrm>
            <a:custGeom>
              <a:avLst/>
              <a:gdLst>
                <a:gd name="connsiteX0" fmla="*/ 43497 w 44450"/>
                <a:gd name="connsiteY0" fmla="*/ 26352 h 25400"/>
                <a:gd name="connsiteX1" fmla="*/ 6667 w 44450"/>
                <a:gd name="connsiteY1" fmla="*/ 4763 h 25400"/>
                <a:gd name="connsiteX2" fmla="*/ 4763 w 44450"/>
                <a:gd name="connsiteY2" fmla="*/ 4763 h 25400"/>
                <a:gd name="connsiteX3" fmla="*/ 41592 w 44450"/>
                <a:gd name="connsiteY3" fmla="*/ 26352 h 25400"/>
                <a:gd name="connsiteX4" fmla="*/ 43497 w 44450"/>
                <a:gd name="connsiteY4" fmla="*/ 263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7" y="26352"/>
                  </a:moveTo>
                  <a:lnTo>
                    <a:pt x="6667" y="4763"/>
                  </a:lnTo>
                  <a:cubicBezTo>
                    <a:pt x="6032" y="4763"/>
                    <a:pt x="5397" y="4763"/>
                    <a:pt x="4763" y="4763"/>
                  </a:cubicBezTo>
                  <a:lnTo>
                    <a:pt x="41592" y="26352"/>
                  </a:lnTo>
                  <a:cubicBezTo>
                    <a:pt x="42227" y="26352"/>
                    <a:pt x="42863" y="26352"/>
                    <a:pt x="4349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" name="任意多边形: 形状 1035"/>
            <p:cNvSpPr/>
            <p:nvPr/>
          </p:nvSpPr>
          <p:spPr>
            <a:xfrm>
              <a:off x="5491797" y="3734117"/>
              <a:ext cx="44450" cy="25400"/>
            </a:xfrm>
            <a:custGeom>
              <a:avLst/>
              <a:gdLst>
                <a:gd name="connsiteX0" fmla="*/ 43498 w 44450"/>
                <a:gd name="connsiteY0" fmla="*/ 26353 h 25400"/>
                <a:gd name="connsiteX1" fmla="*/ 6668 w 44450"/>
                <a:gd name="connsiteY1" fmla="*/ 4763 h 25400"/>
                <a:gd name="connsiteX2" fmla="*/ 4763 w 44450"/>
                <a:gd name="connsiteY2" fmla="*/ 4763 h 25400"/>
                <a:gd name="connsiteX3" fmla="*/ 41593 w 44450"/>
                <a:gd name="connsiteY3" fmla="*/ 26353 h 25400"/>
                <a:gd name="connsiteX4" fmla="*/ 43498 w 44450"/>
                <a:gd name="connsiteY4" fmla="*/ 2635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25400">
                  <a:moveTo>
                    <a:pt x="43498" y="26353"/>
                  </a:moveTo>
                  <a:lnTo>
                    <a:pt x="6668" y="4763"/>
                  </a:lnTo>
                  <a:cubicBezTo>
                    <a:pt x="6033" y="4763"/>
                    <a:pt x="5398" y="4763"/>
                    <a:pt x="4763" y="4763"/>
                  </a:cubicBezTo>
                  <a:lnTo>
                    <a:pt x="41593" y="26353"/>
                  </a:lnTo>
                  <a:cubicBezTo>
                    <a:pt x="42228" y="26353"/>
                    <a:pt x="42863" y="26353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" name="任意多边形: 形状 1036"/>
            <p:cNvSpPr/>
            <p:nvPr/>
          </p:nvSpPr>
          <p:spPr>
            <a:xfrm>
              <a:off x="5489892" y="3734117"/>
              <a:ext cx="44450" cy="31750"/>
            </a:xfrm>
            <a:custGeom>
              <a:avLst/>
              <a:gdLst>
                <a:gd name="connsiteX0" fmla="*/ 43498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349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3"/>
                  </a:moveTo>
                  <a:lnTo>
                    <a:pt x="6667" y="4763"/>
                  </a:lnTo>
                  <a:cubicBezTo>
                    <a:pt x="6033" y="4763"/>
                    <a:pt x="5398" y="4763"/>
                    <a:pt x="4763" y="5398"/>
                  </a:cubicBezTo>
                  <a:lnTo>
                    <a:pt x="41592" y="26988"/>
                  </a:lnTo>
                  <a:cubicBezTo>
                    <a:pt x="42228" y="26353"/>
                    <a:pt x="42863" y="26353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" name="任意多边形: 形状 1037"/>
            <p:cNvSpPr/>
            <p:nvPr/>
          </p:nvSpPr>
          <p:spPr>
            <a:xfrm>
              <a:off x="5487988" y="3734753"/>
              <a:ext cx="44450" cy="31750"/>
            </a:xfrm>
            <a:custGeom>
              <a:avLst/>
              <a:gdLst>
                <a:gd name="connsiteX0" fmla="*/ 43497 w 44450"/>
                <a:gd name="connsiteY0" fmla="*/ 26352 h 31750"/>
                <a:gd name="connsiteX1" fmla="*/ 6667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349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2"/>
                  </a:moveTo>
                  <a:lnTo>
                    <a:pt x="6667" y="4763"/>
                  </a:lnTo>
                  <a:cubicBezTo>
                    <a:pt x="6033" y="4763"/>
                    <a:pt x="5397" y="4763"/>
                    <a:pt x="4763" y="5397"/>
                  </a:cubicBezTo>
                  <a:lnTo>
                    <a:pt x="41592" y="26988"/>
                  </a:lnTo>
                  <a:cubicBezTo>
                    <a:pt x="42228" y="26352"/>
                    <a:pt x="42863" y="26352"/>
                    <a:pt x="4349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" name="任意多边形: 形状 1038"/>
            <p:cNvSpPr/>
            <p:nvPr/>
          </p:nvSpPr>
          <p:spPr>
            <a:xfrm>
              <a:off x="5486083" y="3735388"/>
              <a:ext cx="44450" cy="31750"/>
            </a:xfrm>
            <a:custGeom>
              <a:avLst/>
              <a:gdLst>
                <a:gd name="connsiteX0" fmla="*/ 44133 w 44450"/>
                <a:gd name="connsiteY0" fmla="*/ 25717 h 31750"/>
                <a:gd name="connsiteX1" fmla="*/ 6667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4133 w 44450"/>
                <a:gd name="connsiteY4" fmla="*/ 25717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5717"/>
                  </a:moveTo>
                  <a:lnTo>
                    <a:pt x="6667" y="4763"/>
                  </a:lnTo>
                  <a:cubicBezTo>
                    <a:pt x="6033" y="4763"/>
                    <a:pt x="5397" y="5397"/>
                    <a:pt x="4763" y="5397"/>
                  </a:cubicBezTo>
                  <a:lnTo>
                    <a:pt x="41592" y="26988"/>
                  </a:lnTo>
                  <a:cubicBezTo>
                    <a:pt x="42863" y="26353"/>
                    <a:pt x="43497" y="26353"/>
                    <a:pt x="44133" y="2571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" name="任意多边形: 形状 1039"/>
            <p:cNvSpPr/>
            <p:nvPr/>
          </p:nvSpPr>
          <p:spPr>
            <a:xfrm>
              <a:off x="5484813" y="3735388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5397 h 31750"/>
                <a:gd name="connsiteX3" fmla="*/ 41592 w 44450"/>
                <a:gd name="connsiteY3" fmla="*/ 2698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4763"/>
                    <a:pt x="5397" y="5397"/>
                    <a:pt x="4763" y="5397"/>
                  </a:cubicBezTo>
                  <a:lnTo>
                    <a:pt x="41592" y="26988"/>
                  </a:lnTo>
                  <a:cubicBezTo>
                    <a:pt x="42228" y="26988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" name="任意多边形: 形状 1040"/>
            <p:cNvSpPr/>
            <p:nvPr/>
          </p:nvSpPr>
          <p:spPr>
            <a:xfrm>
              <a:off x="5482908" y="3736022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4763"/>
                    <a:pt x="5397" y="5398"/>
                    <a:pt x="4763" y="5398"/>
                  </a:cubicBezTo>
                  <a:lnTo>
                    <a:pt x="41592" y="26988"/>
                  </a:lnTo>
                  <a:cubicBezTo>
                    <a:pt x="42227" y="26988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" name="任意多边形: 形状 1041"/>
            <p:cNvSpPr/>
            <p:nvPr/>
          </p:nvSpPr>
          <p:spPr>
            <a:xfrm>
              <a:off x="5481003" y="3737292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5398 h 31750"/>
                <a:gd name="connsiteX3" fmla="*/ 41592 w 44450"/>
                <a:gd name="connsiteY3" fmla="*/ 2698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2" y="4763"/>
                    <a:pt x="5397" y="5398"/>
                    <a:pt x="4763" y="5398"/>
                  </a:cubicBezTo>
                  <a:lnTo>
                    <a:pt x="41592" y="26988"/>
                  </a:lnTo>
                  <a:cubicBezTo>
                    <a:pt x="42227" y="26353"/>
                    <a:pt x="42863" y="26353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" name="任意多边形: 形状 1042"/>
            <p:cNvSpPr/>
            <p:nvPr/>
          </p:nvSpPr>
          <p:spPr>
            <a:xfrm>
              <a:off x="5479097" y="3737928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8 w 44450"/>
                <a:gd name="connsiteY1" fmla="*/ 4763 h 31750"/>
                <a:gd name="connsiteX2" fmla="*/ 4763 w 44450"/>
                <a:gd name="connsiteY2" fmla="*/ 5397 h 31750"/>
                <a:gd name="connsiteX3" fmla="*/ 41593 w 44450"/>
                <a:gd name="connsiteY3" fmla="*/ 26988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4763"/>
                    <a:pt x="5398" y="5397"/>
                    <a:pt x="4763" y="5397"/>
                  </a:cubicBezTo>
                  <a:lnTo>
                    <a:pt x="41593" y="26988"/>
                  </a:lnTo>
                  <a:cubicBezTo>
                    <a:pt x="42863" y="26988"/>
                    <a:pt x="43498" y="26352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" name="任意多边形: 形状 1043"/>
            <p:cNvSpPr/>
            <p:nvPr/>
          </p:nvSpPr>
          <p:spPr>
            <a:xfrm>
              <a:off x="5477828" y="3738563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5397 w 44450"/>
                <a:gd name="connsiteY2" fmla="*/ 5397 h 31750"/>
                <a:gd name="connsiteX3" fmla="*/ 4763 w 44450"/>
                <a:gd name="connsiteY3" fmla="*/ 5397 h 31750"/>
                <a:gd name="connsiteX4" fmla="*/ 41592 w 44450"/>
                <a:gd name="connsiteY4" fmla="*/ 26988 h 31750"/>
                <a:gd name="connsiteX5" fmla="*/ 42227 w 44450"/>
                <a:gd name="connsiteY5" fmla="*/ 26988 h 31750"/>
                <a:gd name="connsiteX6" fmla="*/ 43497 w 44450"/>
                <a:gd name="connsiteY6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2" y="4763"/>
                    <a:pt x="6032" y="5397"/>
                    <a:pt x="5397" y="5397"/>
                  </a:cubicBezTo>
                  <a:cubicBezTo>
                    <a:pt x="5397" y="5397"/>
                    <a:pt x="5397" y="5397"/>
                    <a:pt x="4763" y="5397"/>
                  </a:cubicBezTo>
                  <a:lnTo>
                    <a:pt x="41592" y="26988"/>
                  </a:lnTo>
                  <a:cubicBezTo>
                    <a:pt x="41592" y="26988"/>
                    <a:pt x="41592" y="26988"/>
                    <a:pt x="42227" y="26988"/>
                  </a:cubicBezTo>
                  <a:cubicBezTo>
                    <a:pt x="42227" y="26988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" name="任意多边形: 形状 1044"/>
            <p:cNvSpPr/>
            <p:nvPr/>
          </p:nvSpPr>
          <p:spPr>
            <a:xfrm>
              <a:off x="5475922" y="3739833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8 w 44450"/>
                <a:gd name="connsiteY1" fmla="*/ 4763 h 31750"/>
                <a:gd name="connsiteX2" fmla="*/ 4763 w 44450"/>
                <a:gd name="connsiteY2" fmla="*/ 6033 h 31750"/>
                <a:gd name="connsiteX3" fmla="*/ 41593 w 44450"/>
                <a:gd name="connsiteY3" fmla="*/ 27622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5397"/>
                    <a:pt x="5398" y="5397"/>
                    <a:pt x="4763" y="6033"/>
                  </a:cubicBezTo>
                  <a:lnTo>
                    <a:pt x="41593" y="27622"/>
                  </a:lnTo>
                  <a:cubicBezTo>
                    <a:pt x="42228" y="26988"/>
                    <a:pt x="42863" y="26988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" name="任意多边形: 形状 1045"/>
            <p:cNvSpPr/>
            <p:nvPr/>
          </p:nvSpPr>
          <p:spPr>
            <a:xfrm>
              <a:off x="5474017" y="3741103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7 w 44450"/>
                <a:gd name="connsiteY1" fmla="*/ 4763 h 31750"/>
                <a:gd name="connsiteX2" fmla="*/ 4763 w 44450"/>
                <a:gd name="connsiteY2" fmla="*/ 6032 h 31750"/>
                <a:gd name="connsiteX3" fmla="*/ 41592 w 44450"/>
                <a:gd name="connsiteY3" fmla="*/ 27622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7" y="4763"/>
                  </a:lnTo>
                  <a:cubicBezTo>
                    <a:pt x="6033" y="5397"/>
                    <a:pt x="5398" y="5397"/>
                    <a:pt x="4763" y="6032"/>
                  </a:cubicBezTo>
                  <a:lnTo>
                    <a:pt x="41592" y="27622"/>
                  </a:lnTo>
                  <a:cubicBezTo>
                    <a:pt x="42228" y="26988"/>
                    <a:pt x="42863" y="26352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" name="任意多边形: 形状 1046"/>
            <p:cNvSpPr/>
            <p:nvPr/>
          </p:nvSpPr>
          <p:spPr>
            <a:xfrm>
              <a:off x="5472113" y="3742372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5398"/>
                    <a:pt x="5397" y="5398"/>
                    <a:pt x="4763" y="6033"/>
                  </a:cubicBezTo>
                  <a:lnTo>
                    <a:pt x="41592" y="27623"/>
                  </a:lnTo>
                  <a:cubicBezTo>
                    <a:pt x="42228" y="26988"/>
                    <a:pt x="42863" y="26353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" name="任意多边形: 形状 1047"/>
            <p:cNvSpPr/>
            <p:nvPr/>
          </p:nvSpPr>
          <p:spPr>
            <a:xfrm>
              <a:off x="5470208" y="3743642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3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5398"/>
                    <a:pt x="5397" y="6033"/>
                    <a:pt x="4763" y="6033"/>
                  </a:cubicBezTo>
                  <a:lnTo>
                    <a:pt x="41592" y="27623"/>
                  </a:lnTo>
                  <a:cubicBezTo>
                    <a:pt x="42227" y="26988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" name="任意多边形: 形状 1048"/>
            <p:cNvSpPr/>
            <p:nvPr/>
          </p:nvSpPr>
          <p:spPr>
            <a:xfrm>
              <a:off x="5468303" y="3744913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2" y="5397"/>
                    <a:pt x="5397" y="6033"/>
                    <a:pt x="4763" y="6667"/>
                  </a:cubicBezTo>
                  <a:lnTo>
                    <a:pt x="41592" y="28258"/>
                  </a:lnTo>
                  <a:cubicBezTo>
                    <a:pt x="42227" y="27622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" name="任意多边形: 形状 1049"/>
            <p:cNvSpPr/>
            <p:nvPr/>
          </p:nvSpPr>
          <p:spPr>
            <a:xfrm>
              <a:off x="5466397" y="3746817"/>
              <a:ext cx="44450" cy="31750"/>
            </a:xfrm>
            <a:custGeom>
              <a:avLst/>
              <a:gdLst>
                <a:gd name="connsiteX0" fmla="*/ 43498 w 44450"/>
                <a:gd name="connsiteY0" fmla="*/ 26353 h 31750"/>
                <a:gd name="connsiteX1" fmla="*/ 6668 w 44450"/>
                <a:gd name="connsiteY1" fmla="*/ 4763 h 31750"/>
                <a:gd name="connsiteX2" fmla="*/ 4763 w 44450"/>
                <a:gd name="connsiteY2" fmla="*/ 6667 h 31750"/>
                <a:gd name="connsiteX3" fmla="*/ 41593 w 44450"/>
                <a:gd name="connsiteY3" fmla="*/ 28258 h 31750"/>
                <a:gd name="connsiteX4" fmla="*/ 4349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3"/>
                  </a:moveTo>
                  <a:lnTo>
                    <a:pt x="6668" y="4763"/>
                  </a:lnTo>
                  <a:cubicBezTo>
                    <a:pt x="6033" y="5398"/>
                    <a:pt x="5398" y="6033"/>
                    <a:pt x="4763" y="6667"/>
                  </a:cubicBezTo>
                  <a:lnTo>
                    <a:pt x="41593" y="28258"/>
                  </a:lnTo>
                  <a:cubicBezTo>
                    <a:pt x="42228" y="27623"/>
                    <a:pt x="42863" y="26988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" name="任意多边形: 形状 1050"/>
            <p:cNvSpPr/>
            <p:nvPr/>
          </p:nvSpPr>
          <p:spPr>
            <a:xfrm>
              <a:off x="5464492" y="3748088"/>
              <a:ext cx="44450" cy="31750"/>
            </a:xfrm>
            <a:custGeom>
              <a:avLst/>
              <a:gdLst>
                <a:gd name="connsiteX0" fmla="*/ 43498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349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3"/>
                  </a:moveTo>
                  <a:lnTo>
                    <a:pt x="6667" y="4763"/>
                  </a:lnTo>
                  <a:cubicBezTo>
                    <a:pt x="6033" y="5397"/>
                    <a:pt x="5398" y="6033"/>
                    <a:pt x="4763" y="6667"/>
                  </a:cubicBezTo>
                  <a:lnTo>
                    <a:pt x="41592" y="28258"/>
                  </a:lnTo>
                  <a:cubicBezTo>
                    <a:pt x="42228" y="27622"/>
                    <a:pt x="42863" y="26988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" name="任意多边形: 形状 1051"/>
            <p:cNvSpPr/>
            <p:nvPr/>
          </p:nvSpPr>
          <p:spPr>
            <a:xfrm>
              <a:off x="5462588" y="3749992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5398"/>
                    <a:pt x="5397" y="6033"/>
                    <a:pt x="4763" y="6667"/>
                  </a:cubicBezTo>
                  <a:lnTo>
                    <a:pt x="41592" y="28258"/>
                  </a:lnTo>
                  <a:cubicBezTo>
                    <a:pt x="42228" y="27623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" name="任意多边形: 形状 1052"/>
            <p:cNvSpPr/>
            <p:nvPr/>
          </p:nvSpPr>
          <p:spPr>
            <a:xfrm>
              <a:off x="5460683" y="3751897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668 h 31750"/>
                <a:gd name="connsiteX3" fmla="*/ 41592 w 44450"/>
                <a:gd name="connsiteY3" fmla="*/ 2825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3" y="5398"/>
                    <a:pt x="5397" y="6033"/>
                    <a:pt x="4763" y="6668"/>
                  </a:cubicBezTo>
                  <a:lnTo>
                    <a:pt x="41592" y="28258"/>
                  </a:lnTo>
                  <a:cubicBezTo>
                    <a:pt x="42227" y="27623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" name="任意多边形: 形状 1053"/>
            <p:cNvSpPr/>
            <p:nvPr/>
          </p:nvSpPr>
          <p:spPr>
            <a:xfrm>
              <a:off x="5458778" y="3753803"/>
              <a:ext cx="44450" cy="31750"/>
            </a:xfrm>
            <a:custGeom>
              <a:avLst/>
              <a:gdLst>
                <a:gd name="connsiteX0" fmla="*/ 43497 w 44450"/>
                <a:gd name="connsiteY0" fmla="*/ 26352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7 h 31750"/>
                <a:gd name="connsiteX4" fmla="*/ 4349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2"/>
                  </a:moveTo>
                  <a:lnTo>
                    <a:pt x="6667" y="4763"/>
                  </a:lnTo>
                  <a:cubicBezTo>
                    <a:pt x="6032" y="5397"/>
                    <a:pt x="5397" y="6032"/>
                    <a:pt x="4763" y="6667"/>
                  </a:cubicBezTo>
                  <a:lnTo>
                    <a:pt x="41592" y="28257"/>
                  </a:lnTo>
                  <a:cubicBezTo>
                    <a:pt x="42227" y="27622"/>
                    <a:pt x="42863" y="26988"/>
                    <a:pt x="4349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" name="任意多边形: 形状 1054"/>
            <p:cNvSpPr/>
            <p:nvPr/>
          </p:nvSpPr>
          <p:spPr>
            <a:xfrm>
              <a:off x="5456872" y="3755708"/>
              <a:ext cx="44450" cy="31750"/>
            </a:xfrm>
            <a:custGeom>
              <a:avLst/>
              <a:gdLst>
                <a:gd name="connsiteX0" fmla="*/ 43498 w 44450"/>
                <a:gd name="connsiteY0" fmla="*/ 26352 h 31750"/>
                <a:gd name="connsiteX1" fmla="*/ 6668 w 44450"/>
                <a:gd name="connsiteY1" fmla="*/ 4763 h 31750"/>
                <a:gd name="connsiteX2" fmla="*/ 4763 w 44450"/>
                <a:gd name="connsiteY2" fmla="*/ 6667 h 31750"/>
                <a:gd name="connsiteX3" fmla="*/ 41593 w 44450"/>
                <a:gd name="connsiteY3" fmla="*/ 28258 h 31750"/>
                <a:gd name="connsiteX4" fmla="*/ 4349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2"/>
                  </a:moveTo>
                  <a:lnTo>
                    <a:pt x="6668" y="4763"/>
                  </a:lnTo>
                  <a:cubicBezTo>
                    <a:pt x="6033" y="5397"/>
                    <a:pt x="5398" y="6033"/>
                    <a:pt x="4763" y="6667"/>
                  </a:cubicBezTo>
                  <a:lnTo>
                    <a:pt x="41593" y="28258"/>
                  </a:lnTo>
                  <a:cubicBezTo>
                    <a:pt x="42228" y="27622"/>
                    <a:pt x="42863" y="26988"/>
                    <a:pt x="4349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" name="任意多边形: 形状 1055"/>
            <p:cNvSpPr/>
            <p:nvPr/>
          </p:nvSpPr>
          <p:spPr>
            <a:xfrm>
              <a:off x="5455603" y="3757613"/>
              <a:ext cx="44450" cy="31750"/>
            </a:xfrm>
            <a:custGeom>
              <a:avLst/>
              <a:gdLst>
                <a:gd name="connsiteX0" fmla="*/ 43497 w 44450"/>
                <a:gd name="connsiteY0" fmla="*/ 26353 h 31750"/>
                <a:gd name="connsiteX1" fmla="*/ 666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349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3"/>
                  </a:moveTo>
                  <a:lnTo>
                    <a:pt x="6667" y="4763"/>
                  </a:lnTo>
                  <a:cubicBezTo>
                    <a:pt x="6032" y="5397"/>
                    <a:pt x="5397" y="6033"/>
                    <a:pt x="4763" y="6667"/>
                  </a:cubicBezTo>
                  <a:lnTo>
                    <a:pt x="41592" y="28258"/>
                  </a:lnTo>
                  <a:cubicBezTo>
                    <a:pt x="42227" y="27622"/>
                    <a:pt x="42863" y="26988"/>
                    <a:pt x="4349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" name="任意多边形: 形状 1056"/>
            <p:cNvSpPr/>
            <p:nvPr/>
          </p:nvSpPr>
          <p:spPr>
            <a:xfrm>
              <a:off x="5453697" y="3759517"/>
              <a:ext cx="44450" cy="31750"/>
            </a:xfrm>
            <a:custGeom>
              <a:avLst/>
              <a:gdLst>
                <a:gd name="connsiteX0" fmla="*/ 43498 w 44450"/>
                <a:gd name="connsiteY0" fmla="*/ 26353 h 31750"/>
                <a:gd name="connsiteX1" fmla="*/ 6668 w 44450"/>
                <a:gd name="connsiteY1" fmla="*/ 4763 h 31750"/>
                <a:gd name="connsiteX2" fmla="*/ 4763 w 44450"/>
                <a:gd name="connsiteY2" fmla="*/ 7303 h 31750"/>
                <a:gd name="connsiteX3" fmla="*/ 41593 w 44450"/>
                <a:gd name="connsiteY3" fmla="*/ 28892 h 31750"/>
                <a:gd name="connsiteX4" fmla="*/ 4349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8" y="26353"/>
                  </a:moveTo>
                  <a:lnTo>
                    <a:pt x="6668" y="4763"/>
                  </a:lnTo>
                  <a:cubicBezTo>
                    <a:pt x="6033" y="5398"/>
                    <a:pt x="5398" y="6667"/>
                    <a:pt x="4763" y="7303"/>
                  </a:cubicBezTo>
                  <a:lnTo>
                    <a:pt x="41593" y="28892"/>
                  </a:lnTo>
                  <a:cubicBezTo>
                    <a:pt x="42228" y="28258"/>
                    <a:pt x="42863" y="27623"/>
                    <a:pt x="4349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" name="任意多边形: 形状 1057"/>
            <p:cNvSpPr/>
            <p:nvPr/>
          </p:nvSpPr>
          <p:spPr>
            <a:xfrm>
              <a:off x="5451158" y="3762058"/>
              <a:ext cx="44450" cy="31750"/>
            </a:xfrm>
            <a:custGeom>
              <a:avLst/>
              <a:gdLst>
                <a:gd name="connsiteX0" fmla="*/ 44133 w 44450"/>
                <a:gd name="connsiteY0" fmla="*/ 26352 h 31750"/>
                <a:gd name="connsiteX1" fmla="*/ 7302 w 44450"/>
                <a:gd name="connsiteY1" fmla="*/ 4763 h 31750"/>
                <a:gd name="connsiteX2" fmla="*/ 4763 w 44450"/>
                <a:gd name="connsiteY2" fmla="*/ 8572 h 31750"/>
                <a:gd name="connsiteX3" fmla="*/ 41592 w 44450"/>
                <a:gd name="connsiteY3" fmla="*/ 30163 h 31750"/>
                <a:gd name="connsiteX4" fmla="*/ 4413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133" y="26352"/>
                  </a:moveTo>
                  <a:lnTo>
                    <a:pt x="7302" y="4763"/>
                  </a:lnTo>
                  <a:cubicBezTo>
                    <a:pt x="6667" y="6033"/>
                    <a:pt x="5397" y="7302"/>
                    <a:pt x="4763" y="8572"/>
                  </a:cubicBezTo>
                  <a:lnTo>
                    <a:pt x="41592" y="30163"/>
                  </a:lnTo>
                  <a:cubicBezTo>
                    <a:pt x="42227" y="28892"/>
                    <a:pt x="43497" y="27622"/>
                    <a:pt x="4413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" name="任意多边形: 形状 1058"/>
            <p:cNvSpPr/>
            <p:nvPr/>
          </p:nvSpPr>
          <p:spPr>
            <a:xfrm>
              <a:off x="5447983" y="3765867"/>
              <a:ext cx="44450" cy="31750"/>
            </a:xfrm>
            <a:custGeom>
              <a:avLst/>
              <a:gdLst>
                <a:gd name="connsiteX0" fmla="*/ 44767 w 44450"/>
                <a:gd name="connsiteY0" fmla="*/ 26353 h 31750"/>
                <a:gd name="connsiteX1" fmla="*/ 7938 w 44450"/>
                <a:gd name="connsiteY1" fmla="*/ 4763 h 31750"/>
                <a:gd name="connsiteX2" fmla="*/ 4763 w 44450"/>
                <a:gd name="connsiteY2" fmla="*/ 10478 h 31750"/>
                <a:gd name="connsiteX3" fmla="*/ 41592 w 44450"/>
                <a:gd name="connsiteY3" fmla="*/ 32067 h 31750"/>
                <a:gd name="connsiteX4" fmla="*/ 4476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767" y="26353"/>
                  </a:moveTo>
                  <a:lnTo>
                    <a:pt x="7938" y="4763"/>
                  </a:lnTo>
                  <a:cubicBezTo>
                    <a:pt x="6667" y="6667"/>
                    <a:pt x="5397" y="8573"/>
                    <a:pt x="4763" y="10478"/>
                  </a:cubicBezTo>
                  <a:lnTo>
                    <a:pt x="41592" y="32067"/>
                  </a:lnTo>
                  <a:cubicBezTo>
                    <a:pt x="42227" y="30163"/>
                    <a:pt x="43497" y="28258"/>
                    <a:pt x="4476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" name="任意多边形: 形状 1059"/>
            <p:cNvSpPr/>
            <p:nvPr/>
          </p:nvSpPr>
          <p:spPr>
            <a:xfrm>
              <a:off x="5446078" y="3771583"/>
              <a:ext cx="44450" cy="31750"/>
            </a:xfrm>
            <a:custGeom>
              <a:avLst/>
              <a:gdLst>
                <a:gd name="connsiteX0" fmla="*/ 43497 w 44450"/>
                <a:gd name="connsiteY0" fmla="*/ 26352 h 31750"/>
                <a:gd name="connsiteX1" fmla="*/ 6667 w 44450"/>
                <a:gd name="connsiteY1" fmla="*/ 4763 h 31750"/>
                <a:gd name="connsiteX2" fmla="*/ 4763 w 44450"/>
                <a:gd name="connsiteY2" fmla="*/ 8572 h 31750"/>
                <a:gd name="connsiteX3" fmla="*/ 41592 w 44450"/>
                <a:gd name="connsiteY3" fmla="*/ 30163 h 31750"/>
                <a:gd name="connsiteX4" fmla="*/ 4349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3497" y="26352"/>
                  </a:moveTo>
                  <a:lnTo>
                    <a:pt x="6667" y="4763"/>
                  </a:lnTo>
                  <a:cubicBezTo>
                    <a:pt x="6032" y="6033"/>
                    <a:pt x="5397" y="7302"/>
                    <a:pt x="4763" y="8572"/>
                  </a:cubicBezTo>
                  <a:lnTo>
                    <a:pt x="41592" y="30163"/>
                  </a:lnTo>
                  <a:cubicBezTo>
                    <a:pt x="41592" y="28258"/>
                    <a:pt x="42227" y="26988"/>
                    <a:pt x="4349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" name="任意多边形: 形状 1060"/>
            <p:cNvSpPr/>
            <p:nvPr/>
          </p:nvSpPr>
          <p:spPr>
            <a:xfrm>
              <a:off x="5444172" y="3774758"/>
              <a:ext cx="44450" cy="31750"/>
            </a:xfrm>
            <a:custGeom>
              <a:avLst/>
              <a:gdLst>
                <a:gd name="connsiteX0" fmla="*/ 42863 w 44450"/>
                <a:gd name="connsiteY0" fmla="*/ 26352 h 31750"/>
                <a:gd name="connsiteX1" fmla="*/ 6033 w 44450"/>
                <a:gd name="connsiteY1" fmla="*/ 4763 h 31750"/>
                <a:gd name="connsiteX2" fmla="*/ 4763 w 44450"/>
                <a:gd name="connsiteY2" fmla="*/ 7302 h 31750"/>
                <a:gd name="connsiteX3" fmla="*/ 41593 w 44450"/>
                <a:gd name="connsiteY3" fmla="*/ 28892 h 31750"/>
                <a:gd name="connsiteX4" fmla="*/ 42863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2"/>
                  </a:moveTo>
                  <a:lnTo>
                    <a:pt x="6033" y="4763"/>
                  </a:lnTo>
                  <a:cubicBezTo>
                    <a:pt x="5398" y="5397"/>
                    <a:pt x="5398" y="6033"/>
                    <a:pt x="4763" y="7302"/>
                  </a:cubicBezTo>
                  <a:lnTo>
                    <a:pt x="41593" y="28892"/>
                  </a:lnTo>
                  <a:cubicBezTo>
                    <a:pt x="42228" y="28258"/>
                    <a:pt x="42863" y="26988"/>
                    <a:pt x="42863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" name="任意多边形: 形状 1061"/>
            <p:cNvSpPr/>
            <p:nvPr/>
          </p:nvSpPr>
          <p:spPr>
            <a:xfrm>
              <a:off x="5443538" y="3777297"/>
              <a:ext cx="44450" cy="31750"/>
            </a:xfrm>
            <a:custGeom>
              <a:avLst/>
              <a:gdLst>
                <a:gd name="connsiteX0" fmla="*/ 42863 w 44450"/>
                <a:gd name="connsiteY0" fmla="*/ 26353 h 31750"/>
                <a:gd name="connsiteX1" fmla="*/ 6033 w 44450"/>
                <a:gd name="connsiteY1" fmla="*/ 4763 h 31750"/>
                <a:gd name="connsiteX2" fmla="*/ 4763 w 44450"/>
                <a:gd name="connsiteY2" fmla="*/ 6668 h 31750"/>
                <a:gd name="connsiteX3" fmla="*/ 41592 w 44450"/>
                <a:gd name="connsiteY3" fmla="*/ 28258 h 31750"/>
                <a:gd name="connsiteX4" fmla="*/ 42863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863" y="26353"/>
                  </a:moveTo>
                  <a:lnTo>
                    <a:pt x="6033" y="4763"/>
                  </a:lnTo>
                  <a:cubicBezTo>
                    <a:pt x="5397" y="5398"/>
                    <a:pt x="5397" y="6033"/>
                    <a:pt x="4763" y="6668"/>
                  </a:cubicBezTo>
                  <a:lnTo>
                    <a:pt x="41592" y="28258"/>
                  </a:lnTo>
                  <a:cubicBezTo>
                    <a:pt x="41592" y="27623"/>
                    <a:pt x="42228" y="26988"/>
                    <a:pt x="42863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3" name="任意多边形: 形状 1062"/>
            <p:cNvSpPr/>
            <p:nvPr/>
          </p:nvSpPr>
          <p:spPr>
            <a:xfrm>
              <a:off x="5442903" y="3779838"/>
              <a:ext cx="44450" cy="31750"/>
            </a:xfrm>
            <a:custGeom>
              <a:avLst/>
              <a:gdLst>
                <a:gd name="connsiteX0" fmla="*/ 42227 w 44450"/>
                <a:gd name="connsiteY0" fmla="*/ 25717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7 w 44450"/>
                <a:gd name="connsiteY4" fmla="*/ 25717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5717"/>
                  </a:moveTo>
                  <a:lnTo>
                    <a:pt x="5397" y="4763"/>
                  </a:lnTo>
                  <a:cubicBezTo>
                    <a:pt x="5397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6988"/>
                    <a:pt x="41592" y="26353"/>
                    <a:pt x="42227" y="2571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4" name="任意多边形: 形状 1063"/>
            <p:cNvSpPr/>
            <p:nvPr/>
          </p:nvSpPr>
          <p:spPr>
            <a:xfrm>
              <a:off x="5441633" y="3781108"/>
              <a:ext cx="44450" cy="31750"/>
            </a:xfrm>
            <a:custGeom>
              <a:avLst/>
              <a:gdLst>
                <a:gd name="connsiteX0" fmla="*/ 42227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2"/>
                  </a:moveTo>
                  <a:lnTo>
                    <a:pt x="5397" y="4763"/>
                  </a:lnTo>
                  <a:cubicBezTo>
                    <a:pt x="5397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2227" y="28258"/>
                    <a:pt x="42227" y="27622"/>
                    <a:pt x="4222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5" name="任意多边形: 形状 1064"/>
            <p:cNvSpPr/>
            <p:nvPr/>
          </p:nvSpPr>
          <p:spPr>
            <a:xfrm>
              <a:off x="5440997" y="3783647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6668 h 31750"/>
                <a:gd name="connsiteX3" fmla="*/ 41593 w 44450"/>
                <a:gd name="connsiteY3" fmla="*/ 28258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5398"/>
                    <a:pt x="4763" y="6033"/>
                    <a:pt x="4763" y="6668"/>
                  </a:cubicBezTo>
                  <a:lnTo>
                    <a:pt x="41593" y="28258"/>
                  </a:lnTo>
                  <a:cubicBezTo>
                    <a:pt x="41593" y="27623"/>
                    <a:pt x="42228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6" name="任意多边形: 形状 1065"/>
            <p:cNvSpPr/>
            <p:nvPr/>
          </p:nvSpPr>
          <p:spPr>
            <a:xfrm>
              <a:off x="5440363" y="3785553"/>
              <a:ext cx="44450" cy="31750"/>
            </a:xfrm>
            <a:custGeom>
              <a:avLst/>
              <a:gdLst>
                <a:gd name="connsiteX0" fmla="*/ 42228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7 h 31750"/>
                <a:gd name="connsiteX4" fmla="*/ 4222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2"/>
                  </a:moveTo>
                  <a:lnTo>
                    <a:pt x="5397" y="4763"/>
                  </a:lnTo>
                  <a:cubicBezTo>
                    <a:pt x="5397" y="5397"/>
                    <a:pt x="4763" y="6032"/>
                    <a:pt x="4763" y="6667"/>
                  </a:cubicBezTo>
                  <a:lnTo>
                    <a:pt x="41592" y="28257"/>
                  </a:lnTo>
                  <a:cubicBezTo>
                    <a:pt x="41592" y="27622"/>
                    <a:pt x="41592" y="26988"/>
                    <a:pt x="4222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7" name="任意多边形: 形状 1066"/>
            <p:cNvSpPr/>
            <p:nvPr/>
          </p:nvSpPr>
          <p:spPr>
            <a:xfrm>
              <a:off x="5439728" y="3787458"/>
              <a:ext cx="44450" cy="31750"/>
            </a:xfrm>
            <a:custGeom>
              <a:avLst/>
              <a:gdLst>
                <a:gd name="connsiteX0" fmla="*/ 42227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7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2"/>
                  </a:moveTo>
                  <a:lnTo>
                    <a:pt x="5397" y="4763"/>
                  </a:lnTo>
                  <a:cubicBezTo>
                    <a:pt x="5397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7622"/>
                    <a:pt x="41592" y="26988"/>
                    <a:pt x="42227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8" name="任意多边形: 形状 1067"/>
            <p:cNvSpPr/>
            <p:nvPr/>
          </p:nvSpPr>
          <p:spPr>
            <a:xfrm>
              <a:off x="5439092" y="3789363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7622"/>
                    <a:pt x="41592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9" name="任意多边形: 形状 1068"/>
            <p:cNvSpPr/>
            <p:nvPr/>
          </p:nvSpPr>
          <p:spPr>
            <a:xfrm>
              <a:off x="5437822" y="3791267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8 w 44450"/>
                <a:gd name="connsiteY1" fmla="*/ 4763 h 31750"/>
                <a:gd name="connsiteX2" fmla="*/ 4763 w 44450"/>
                <a:gd name="connsiteY2" fmla="*/ 6667 h 31750"/>
                <a:gd name="connsiteX3" fmla="*/ 41593 w 44450"/>
                <a:gd name="connsiteY3" fmla="*/ 28258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8" y="4763"/>
                  </a:lnTo>
                  <a:cubicBezTo>
                    <a:pt x="5398" y="5398"/>
                    <a:pt x="4763" y="6033"/>
                    <a:pt x="4763" y="6667"/>
                  </a:cubicBezTo>
                  <a:lnTo>
                    <a:pt x="41593" y="28258"/>
                  </a:lnTo>
                  <a:cubicBezTo>
                    <a:pt x="42228" y="28258"/>
                    <a:pt x="42228" y="27623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0" name="任意多边形: 形状 1069"/>
            <p:cNvSpPr/>
            <p:nvPr/>
          </p:nvSpPr>
          <p:spPr>
            <a:xfrm>
              <a:off x="5437188" y="3793808"/>
              <a:ext cx="44450" cy="31750"/>
            </a:xfrm>
            <a:custGeom>
              <a:avLst/>
              <a:gdLst>
                <a:gd name="connsiteX0" fmla="*/ 42228 w 44450"/>
                <a:gd name="connsiteY0" fmla="*/ 26352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2"/>
                  </a:moveTo>
                  <a:lnTo>
                    <a:pt x="5397" y="4763"/>
                  </a:lnTo>
                  <a:cubicBezTo>
                    <a:pt x="5397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2228" y="27622"/>
                    <a:pt x="42228" y="26988"/>
                    <a:pt x="4222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1" name="任意多边形: 形状 1070"/>
            <p:cNvSpPr/>
            <p:nvPr/>
          </p:nvSpPr>
          <p:spPr>
            <a:xfrm>
              <a:off x="5437188" y="3795713"/>
              <a:ext cx="44450" cy="31750"/>
            </a:xfrm>
            <a:custGeom>
              <a:avLst/>
              <a:gdLst>
                <a:gd name="connsiteX0" fmla="*/ 42228 w 44450"/>
                <a:gd name="connsiteY0" fmla="*/ 26353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8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3"/>
                  </a:moveTo>
                  <a:lnTo>
                    <a:pt x="5397" y="4763"/>
                  </a:lnTo>
                  <a:cubicBezTo>
                    <a:pt x="5397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7622"/>
                    <a:pt x="41592" y="26988"/>
                    <a:pt x="42228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2" name="任意多边形: 形状 1071"/>
            <p:cNvSpPr/>
            <p:nvPr/>
          </p:nvSpPr>
          <p:spPr>
            <a:xfrm>
              <a:off x="5436553" y="3797617"/>
              <a:ext cx="44450" cy="31750"/>
            </a:xfrm>
            <a:custGeom>
              <a:avLst/>
              <a:gdLst>
                <a:gd name="connsiteX0" fmla="*/ 42227 w 44450"/>
                <a:gd name="connsiteY0" fmla="*/ 26353 h 31750"/>
                <a:gd name="connsiteX1" fmla="*/ 5397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7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7" y="26353"/>
                  </a:moveTo>
                  <a:lnTo>
                    <a:pt x="5397" y="4763"/>
                  </a:lnTo>
                  <a:cubicBezTo>
                    <a:pt x="5397" y="5398"/>
                    <a:pt x="5397" y="6033"/>
                    <a:pt x="4763" y="6667"/>
                  </a:cubicBezTo>
                  <a:lnTo>
                    <a:pt x="41592" y="28258"/>
                  </a:lnTo>
                  <a:cubicBezTo>
                    <a:pt x="41592" y="28258"/>
                    <a:pt x="42227" y="27623"/>
                    <a:pt x="42227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3" name="任意多边形: 形状 1072"/>
            <p:cNvSpPr/>
            <p:nvPr/>
          </p:nvSpPr>
          <p:spPr>
            <a:xfrm>
              <a:off x="5435917" y="3800158"/>
              <a:ext cx="44450" cy="31750"/>
            </a:xfrm>
            <a:custGeom>
              <a:avLst/>
              <a:gdLst>
                <a:gd name="connsiteX0" fmla="*/ 42228 w 44450"/>
                <a:gd name="connsiteY0" fmla="*/ 26352 h 31750"/>
                <a:gd name="connsiteX1" fmla="*/ 5398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2228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2228" y="26352"/>
                  </a:moveTo>
                  <a:lnTo>
                    <a:pt x="5398" y="4763"/>
                  </a:lnTo>
                  <a:cubicBezTo>
                    <a:pt x="5398" y="5397"/>
                    <a:pt x="5398" y="6033"/>
                    <a:pt x="4763" y="6667"/>
                  </a:cubicBezTo>
                  <a:lnTo>
                    <a:pt x="41592" y="28258"/>
                  </a:lnTo>
                  <a:cubicBezTo>
                    <a:pt x="42228" y="27622"/>
                    <a:pt x="42228" y="26988"/>
                    <a:pt x="42228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4" name="任意多边形: 形状 1073"/>
            <p:cNvSpPr/>
            <p:nvPr/>
          </p:nvSpPr>
          <p:spPr>
            <a:xfrm>
              <a:off x="5436553" y="3802063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0957" y="27622"/>
                    <a:pt x="40957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5" name="任意多边形: 形状 1074"/>
            <p:cNvSpPr/>
            <p:nvPr/>
          </p:nvSpPr>
          <p:spPr>
            <a:xfrm>
              <a:off x="5435917" y="3803967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7623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6" name="任意多边形: 形状 1075"/>
            <p:cNvSpPr/>
            <p:nvPr/>
          </p:nvSpPr>
          <p:spPr>
            <a:xfrm>
              <a:off x="5435917" y="3805872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8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6668"/>
                  </a:cubicBezTo>
                  <a:lnTo>
                    <a:pt x="41592" y="28258"/>
                  </a:lnTo>
                  <a:cubicBezTo>
                    <a:pt x="41592" y="27623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7" name="任意多边形: 形状 1076"/>
            <p:cNvSpPr/>
            <p:nvPr/>
          </p:nvSpPr>
          <p:spPr>
            <a:xfrm>
              <a:off x="5435917" y="3807778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7 h 31750"/>
                <a:gd name="connsiteX4" fmla="*/ 4159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4763" y="6032"/>
                    <a:pt x="4763" y="6667"/>
                  </a:cubicBezTo>
                  <a:lnTo>
                    <a:pt x="41592" y="28257"/>
                  </a:lnTo>
                  <a:cubicBezTo>
                    <a:pt x="40958" y="27622"/>
                    <a:pt x="40958" y="26988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8" name="任意多边形: 形状 1077"/>
            <p:cNvSpPr/>
            <p:nvPr/>
          </p:nvSpPr>
          <p:spPr>
            <a:xfrm>
              <a:off x="5435283" y="3809683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763 w 44450"/>
                <a:gd name="connsiteY3" fmla="*/ 6667 h 31750"/>
                <a:gd name="connsiteX4" fmla="*/ 41592 w 44450"/>
                <a:gd name="connsiteY4" fmla="*/ 28258 h 31750"/>
                <a:gd name="connsiteX5" fmla="*/ 41592 w 44450"/>
                <a:gd name="connsiteY5" fmla="*/ 28258 h 31750"/>
                <a:gd name="connsiteX6" fmla="*/ 41592 w 44450"/>
                <a:gd name="connsiteY6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4763" y="6667"/>
                  </a:cubicBezTo>
                  <a:cubicBezTo>
                    <a:pt x="4763" y="6667"/>
                    <a:pt x="4763" y="6667"/>
                    <a:pt x="4763" y="6667"/>
                  </a:cubicBezTo>
                  <a:lnTo>
                    <a:pt x="41592" y="28258"/>
                  </a:lnTo>
                  <a:lnTo>
                    <a:pt x="41592" y="28258"/>
                  </a:lnTo>
                  <a:cubicBezTo>
                    <a:pt x="41592" y="27622"/>
                    <a:pt x="41592" y="26988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9" name="任意多边形: 形状 1078"/>
            <p:cNvSpPr/>
            <p:nvPr/>
          </p:nvSpPr>
          <p:spPr>
            <a:xfrm>
              <a:off x="5435283" y="3811588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033 h 31750"/>
                <a:gd name="connsiteX3" fmla="*/ 41592 w 44450"/>
                <a:gd name="connsiteY3" fmla="*/ 27622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4763" y="6033"/>
                  </a:cubicBezTo>
                  <a:lnTo>
                    <a:pt x="41592" y="27622"/>
                  </a:lnTo>
                  <a:cubicBezTo>
                    <a:pt x="41592" y="27622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0" name="任意多边形: 形状 1079"/>
            <p:cNvSpPr/>
            <p:nvPr/>
          </p:nvSpPr>
          <p:spPr>
            <a:xfrm>
              <a:off x="5435283" y="3813492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2227" y="27623"/>
                    <a:pt x="41592" y="26988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1" name="任意多边形: 形状 1080"/>
            <p:cNvSpPr/>
            <p:nvPr/>
          </p:nvSpPr>
          <p:spPr>
            <a:xfrm>
              <a:off x="5435917" y="3814763"/>
              <a:ext cx="44450" cy="31750"/>
            </a:xfrm>
            <a:custGeom>
              <a:avLst/>
              <a:gdLst>
                <a:gd name="connsiteX0" fmla="*/ 41592 w 44450"/>
                <a:gd name="connsiteY0" fmla="*/ 26353 h 31750"/>
                <a:gd name="connsiteX1" fmla="*/ 4763 w 44450"/>
                <a:gd name="connsiteY1" fmla="*/ 4763 h 31750"/>
                <a:gd name="connsiteX2" fmla="*/ 4763 w 44450"/>
                <a:gd name="connsiteY2" fmla="*/ 6667 h 31750"/>
                <a:gd name="connsiteX3" fmla="*/ 41592 w 44450"/>
                <a:gd name="connsiteY3" fmla="*/ 28258 h 31750"/>
                <a:gd name="connsiteX4" fmla="*/ 41592 w 44450"/>
                <a:gd name="connsiteY4" fmla="*/ 2635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3"/>
                  </a:moveTo>
                  <a:lnTo>
                    <a:pt x="4763" y="4763"/>
                  </a:lnTo>
                  <a:cubicBezTo>
                    <a:pt x="4763" y="5397"/>
                    <a:pt x="4763" y="6033"/>
                    <a:pt x="4763" y="6667"/>
                  </a:cubicBezTo>
                  <a:lnTo>
                    <a:pt x="41592" y="28258"/>
                  </a:lnTo>
                  <a:cubicBezTo>
                    <a:pt x="41592" y="28258"/>
                    <a:pt x="41592" y="27622"/>
                    <a:pt x="41592" y="2635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2" name="任意多边形: 形状 1081"/>
            <p:cNvSpPr/>
            <p:nvPr/>
          </p:nvSpPr>
          <p:spPr>
            <a:xfrm>
              <a:off x="5435917" y="3817303"/>
              <a:ext cx="44450" cy="31750"/>
            </a:xfrm>
            <a:custGeom>
              <a:avLst/>
              <a:gdLst>
                <a:gd name="connsiteX0" fmla="*/ 41592 w 44450"/>
                <a:gd name="connsiteY0" fmla="*/ 26352 h 31750"/>
                <a:gd name="connsiteX1" fmla="*/ 4763 w 44450"/>
                <a:gd name="connsiteY1" fmla="*/ 4763 h 31750"/>
                <a:gd name="connsiteX2" fmla="*/ 4763 w 44450"/>
                <a:gd name="connsiteY2" fmla="*/ 6032 h 31750"/>
                <a:gd name="connsiteX3" fmla="*/ 41592 w 44450"/>
                <a:gd name="connsiteY3" fmla="*/ 27622 h 31750"/>
                <a:gd name="connsiteX4" fmla="*/ 41592 w 44450"/>
                <a:gd name="connsiteY4" fmla="*/ 2635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1592" y="26352"/>
                  </a:moveTo>
                  <a:lnTo>
                    <a:pt x="4763" y="4763"/>
                  </a:lnTo>
                  <a:cubicBezTo>
                    <a:pt x="4763" y="5397"/>
                    <a:pt x="4763" y="5397"/>
                    <a:pt x="4763" y="6032"/>
                  </a:cubicBezTo>
                  <a:lnTo>
                    <a:pt x="41592" y="27622"/>
                  </a:lnTo>
                  <a:cubicBezTo>
                    <a:pt x="41592" y="26988"/>
                    <a:pt x="41592" y="26352"/>
                    <a:pt x="41592" y="2635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3" name="任意多边形: 形状 1082"/>
            <p:cNvSpPr/>
            <p:nvPr/>
          </p:nvSpPr>
          <p:spPr>
            <a:xfrm>
              <a:off x="5434013" y="3645651"/>
              <a:ext cx="368300" cy="311150"/>
            </a:xfrm>
            <a:custGeom>
              <a:avLst/>
              <a:gdLst>
                <a:gd name="connsiteX0" fmla="*/ 181928 w 368300"/>
                <a:gd name="connsiteY0" fmla="*/ 15124 h 311150"/>
                <a:gd name="connsiteX1" fmla="*/ 111442 w 368300"/>
                <a:gd name="connsiteY1" fmla="*/ 114819 h 311150"/>
                <a:gd name="connsiteX2" fmla="*/ 86042 w 368300"/>
                <a:gd name="connsiteY2" fmla="*/ 119899 h 311150"/>
                <a:gd name="connsiteX3" fmla="*/ 43497 w 368300"/>
                <a:gd name="connsiteY3" fmla="*/ 192289 h 311150"/>
                <a:gd name="connsiteX4" fmla="*/ 44133 w 368300"/>
                <a:gd name="connsiteY4" fmla="*/ 198639 h 311150"/>
                <a:gd name="connsiteX5" fmla="*/ 4763 w 368300"/>
                <a:gd name="connsiteY5" fmla="*/ 274839 h 311150"/>
                <a:gd name="connsiteX6" fmla="*/ 46038 w 368300"/>
                <a:gd name="connsiteY6" fmla="*/ 305319 h 311150"/>
                <a:gd name="connsiteX7" fmla="*/ 332422 w 368300"/>
                <a:gd name="connsiteY7" fmla="*/ 140854 h 311150"/>
                <a:gd name="connsiteX8" fmla="*/ 338138 w 368300"/>
                <a:gd name="connsiteY8" fmla="*/ 137679 h 311150"/>
                <a:gd name="connsiteX9" fmla="*/ 366713 w 368300"/>
                <a:gd name="connsiteY9" fmla="*/ 89419 h 311150"/>
                <a:gd name="connsiteX10" fmla="*/ 341947 w 368300"/>
                <a:gd name="connsiteY10" fmla="*/ 72274 h 311150"/>
                <a:gd name="connsiteX11" fmla="*/ 343217 w 368300"/>
                <a:gd name="connsiteY11" fmla="*/ 61479 h 311150"/>
                <a:gd name="connsiteX12" fmla="*/ 314642 w 368300"/>
                <a:gd name="connsiteY12" fmla="*/ 46239 h 311150"/>
                <a:gd name="connsiteX13" fmla="*/ 299403 w 368300"/>
                <a:gd name="connsiteY13" fmla="*/ 59574 h 311150"/>
                <a:gd name="connsiteX14" fmla="*/ 268288 w 368300"/>
                <a:gd name="connsiteY14" fmla="*/ 44334 h 311150"/>
                <a:gd name="connsiteX15" fmla="*/ 255588 w 368300"/>
                <a:gd name="connsiteY15" fmla="*/ 55129 h 311150"/>
                <a:gd name="connsiteX16" fmla="*/ 181928 w 368300"/>
                <a:gd name="connsiteY16" fmla="*/ 15124 h 31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8300" h="311150">
                  <a:moveTo>
                    <a:pt x="181928" y="15124"/>
                  </a:moveTo>
                  <a:cubicBezTo>
                    <a:pt x="148272" y="34809"/>
                    <a:pt x="120333" y="75449"/>
                    <a:pt x="111442" y="114819"/>
                  </a:cubicBezTo>
                  <a:cubicBezTo>
                    <a:pt x="104458" y="112914"/>
                    <a:pt x="95567" y="114819"/>
                    <a:pt x="86042" y="119899"/>
                  </a:cubicBezTo>
                  <a:cubicBezTo>
                    <a:pt x="62547" y="133234"/>
                    <a:pt x="43497" y="165619"/>
                    <a:pt x="43497" y="192289"/>
                  </a:cubicBezTo>
                  <a:cubicBezTo>
                    <a:pt x="43497" y="194829"/>
                    <a:pt x="43497" y="196734"/>
                    <a:pt x="44133" y="198639"/>
                  </a:cubicBezTo>
                  <a:cubicBezTo>
                    <a:pt x="21908" y="217054"/>
                    <a:pt x="4763" y="248804"/>
                    <a:pt x="4763" y="274839"/>
                  </a:cubicBezTo>
                  <a:cubicBezTo>
                    <a:pt x="4763" y="302144"/>
                    <a:pt x="22542" y="314209"/>
                    <a:pt x="46038" y="305319"/>
                  </a:cubicBezTo>
                  <a:lnTo>
                    <a:pt x="332422" y="140854"/>
                  </a:lnTo>
                  <a:cubicBezTo>
                    <a:pt x="334328" y="139584"/>
                    <a:pt x="336233" y="138949"/>
                    <a:pt x="338138" y="137679"/>
                  </a:cubicBezTo>
                  <a:cubicBezTo>
                    <a:pt x="354013" y="128789"/>
                    <a:pt x="366713" y="107199"/>
                    <a:pt x="366713" y="89419"/>
                  </a:cubicBezTo>
                  <a:cubicBezTo>
                    <a:pt x="366713" y="73544"/>
                    <a:pt x="355917" y="66559"/>
                    <a:pt x="341947" y="72274"/>
                  </a:cubicBezTo>
                  <a:cubicBezTo>
                    <a:pt x="342583" y="68464"/>
                    <a:pt x="343217" y="65289"/>
                    <a:pt x="343217" y="61479"/>
                  </a:cubicBezTo>
                  <a:cubicBezTo>
                    <a:pt x="343217" y="43699"/>
                    <a:pt x="330517" y="37349"/>
                    <a:pt x="314642" y="46239"/>
                  </a:cubicBezTo>
                  <a:cubicBezTo>
                    <a:pt x="308928" y="49414"/>
                    <a:pt x="303847" y="53859"/>
                    <a:pt x="299403" y="59574"/>
                  </a:cubicBezTo>
                  <a:cubicBezTo>
                    <a:pt x="298767" y="41159"/>
                    <a:pt x="285433" y="34809"/>
                    <a:pt x="268288" y="44334"/>
                  </a:cubicBezTo>
                  <a:cubicBezTo>
                    <a:pt x="263842" y="46874"/>
                    <a:pt x="259397" y="50684"/>
                    <a:pt x="255588" y="55129"/>
                  </a:cubicBezTo>
                  <a:cubicBezTo>
                    <a:pt x="256222" y="9409"/>
                    <a:pt x="222567" y="-8371"/>
                    <a:pt x="181928" y="15124"/>
                  </a:cubicBezTo>
                  <a:close/>
                </a:path>
              </a:pathLst>
            </a:custGeom>
            <a:solidFill>
              <a:srgbClr val="D9E1F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4" name="任意多边形: 形状 1083"/>
            <p:cNvSpPr/>
            <p:nvPr/>
          </p:nvSpPr>
          <p:spPr>
            <a:xfrm>
              <a:off x="10122218" y="2214923"/>
              <a:ext cx="1435100" cy="2336800"/>
            </a:xfrm>
            <a:custGeom>
              <a:avLst/>
              <a:gdLst>
                <a:gd name="connsiteX0" fmla="*/ 125413 w 1435100"/>
                <a:gd name="connsiteY0" fmla="*/ 20277 h 2336800"/>
                <a:gd name="connsiteX1" fmla="*/ 9842 w 1435100"/>
                <a:gd name="connsiteY1" fmla="*/ 86317 h 2336800"/>
                <a:gd name="connsiteX2" fmla="*/ 4763 w 1435100"/>
                <a:gd name="connsiteY2" fmla="*/ 1427437 h 2336800"/>
                <a:gd name="connsiteX3" fmla="*/ 119697 w 1435100"/>
                <a:gd name="connsiteY3" fmla="*/ 1626192 h 2336800"/>
                <a:gd name="connsiteX4" fmla="*/ 1309688 w 1435100"/>
                <a:gd name="connsiteY4" fmla="*/ 2318342 h 2336800"/>
                <a:gd name="connsiteX5" fmla="*/ 1425257 w 1435100"/>
                <a:gd name="connsiteY5" fmla="*/ 2252937 h 2336800"/>
                <a:gd name="connsiteX6" fmla="*/ 1430338 w 1435100"/>
                <a:gd name="connsiteY6" fmla="*/ 911817 h 2336800"/>
                <a:gd name="connsiteX7" fmla="*/ 1315402 w 1435100"/>
                <a:gd name="connsiteY7" fmla="*/ 713062 h 2336800"/>
                <a:gd name="connsiteX8" fmla="*/ 125413 w 1435100"/>
                <a:gd name="connsiteY8" fmla="*/ 20277 h 233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5100" h="2336800">
                  <a:moveTo>
                    <a:pt x="125413" y="20277"/>
                  </a:moveTo>
                  <a:cubicBezTo>
                    <a:pt x="61913" y="-15918"/>
                    <a:pt x="10477" y="13292"/>
                    <a:pt x="9842" y="86317"/>
                  </a:cubicBezTo>
                  <a:lnTo>
                    <a:pt x="4763" y="1427437"/>
                  </a:lnTo>
                  <a:cubicBezTo>
                    <a:pt x="4763" y="1499827"/>
                    <a:pt x="56197" y="1589362"/>
                    <a:pt x="119697" y="1626192"/>
                  </a:cubicBezTo>
                  <a:lnTo>
                    <a:pt x="1309688" y="2318342"/>
                  </a:lnTo>
                  <a:cubicBezTo>
                    <a:pt x="1373188" y="2355172"/>
                    <a:pt x="1425257" y="2325327"/>
                    <a:pt x="1425257" y="2252937"/>
                  </a:cubicBezTo>
                  <a:lnTo>
                    <a:pt x="1430338" y="911817"/>
                  </a:lnTo>
                  <a:cubicBezTo>
                    <a:pt x="1430338" y="839427"/>
                    <a:pt x="1378902" y="749892"/>
                    <a:pt x="1315402" y="713062"/>
                  </a:cubicBezTo>
                  <a:lnTo>
                    <a:pt x="125413" y="20277"/>
                  </a:lnTo>
                  <a:close/>
                </a:path>
              </a:pathLst>
            </a:custGeom>
            <a:solidFill>
              <a:srgbClr val="9AC9F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5" name="任意多边形: 形状 1084"/>
            <p:cNvSpPr/>
            <p:nvPr/>
          </p:nvSpPr>
          <p:spPr>
            <a:xfrm>
              <a:off x="10122218" y="2249488"/>
              <a:ext cx="1377950" cy="2298700"/>
            </a:xfrm>
            <a:custGeom>
              <a:avLst/>
              <a:gdLst>
                <a:gd name="connsiteX0" fmla="*/ 9842 w 1377950"/>
                <a:gd name="connsiteY0" fmla="*/ 51752 h 2298700"/>
                <a:gd name="connsiteX1" fmla="*/ 19367 w 1377950"/>
                <a:gd name="connsiteY1" fmla="*/ 4763 h 2298700"/>
                <a:gd name="connsiteX2" fmla="*/ 70167 w 1377950"/>
                <a:gd name="connsiteY2" fmla="*/ 20002 h 2298700"/>
                <a:gd name="connsiteX3" fmla="*/ 1260157 w 1377950"/>
                <a:gd name="connsiteY3" fmla="*/ 712152 h 2298700"/>
                <a:gd name="connsiteX4" fmla="*/ 1375092 w 1377950"/>
                <a:gd name="connsiteY4" fmla="*/ 910908 h 2298700"/>
                <a:gd name="connsiteX5" fmla="*/ 1370013 w 1377950"/>
                <a:gd name="connsiteY5" fmla="*/ 2252028 h 2298700"/>
                <a:gd name="connsiteX6" fmla="*/ 1360488 w 1377950"/>
                <a:gd name="connsiteY6" fmla="*/ 2299018 h 2298700"/>
                <a:gd name="connsiteX7" fmla="*/ 1309688 w 1377950"/>
                <a:gd name="connsiteY7" fmla="*/ 2283778 h 2298700"/>
                <a:gd name="connsiteX8" fmla="*/ 119697 w 1377950"/>
                <a:gd name="connsiteY8" fmla="*/ 1591628 h 2298700"/>
                <a:gd name="connsiteX9" fmla="*/ 4763 w 1377950"/>
                <a:gd name="connsiteY9" fmla="*/ 1392872 h 2298700"/>
                <a:gd name="connsiteX10" fmla="*/ 9842 w 1377950"/>
                <a:gd name="connsiteY10" fmla="*/ 51752 h 2298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7950" h="2298700">
                  <a:moveTo>
                    <a:pt x="9842" y="51752"/>
                  </a:moveTo>
                  <a:cubicBezTo>
                    <a:pt x="9842" y="33338"/>
                    <a:pt x="13652" y="17463"/>
                    <a:pt x="19367" y="4763"/>
                  </a:cubicBezTo>
                  <a:cubicBezTo>
                    <a:pt x="34607" y="4763"/>
                    <a:pt x="51752" y="9842"/>
                    <a:pt x="70167" y="20002"/>
                  </a:cubicBezTo>
                  <a:lnTo>
                    <a:pt x="1260157" y="712152"/>
                  </a:lnTo>
                  <a:cubicBezTo>
                    <a:pt x="1323657" y="748983"/>
                    <a:pt x="1375092" y="837883"/>
                    <a:pt x="1375092" y="910908"/>
                  </a:cubicBezTo>
                  <a:lnTo>
                    <a:pt x="1370013" y="2252028"/>
                  </a:lnTo>
                  <a:cubicBezTo>
                    <a:pt x="1370013" y="2270443"/>
                    <a:pt x="1366202" y="2286318"/>
                    <a:pt x="1360488" y="2299018"/>
                  </a:cubicBezTo>
                  <a:cubicBezTo>
                    <a:pt x="1345247" y="2299018"/>
                    <a:pt x="1328102" y="2293938"/>
                    <a:pt x="1309688" y="2283778"/>
                  </a:cubicBezTo>
                  <a:lnTo>
                    <a:pt x="119697" y="1591628"/>
                  </a:lnTo>
                  <a:cubicBezTo>
                    <a:pt x="56197" y="1555433"/>
                    <a:pt x="4763" y="1465897"/>
                    <a:pt x="4763" y="1392872"/>
                  </a:cubicBezTo>
                  <a:lnTo>
                    <a:pt x="9842" y="51752"/>
                  </a:lnTo>
                  <a:close/>
                </a:path>
              </a:pathLst>
            </a:custGeom>
            <a:solidFill>
              <a:schemeClr val="accent3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6" name="任意多边形: 形状 1085"/>
            <p:cNvSpPr/>
            <p:nvPr/>
          </p:nvSpPr>
          <p:spPr>
            <a:xfrm>
              <a:off x="10127932" y="2509838"/>
              <a:ext cx="952500" cy="1593850"/>
            </a:xfrm>
            <a:custGeom>
              <a:avLst/>
              <a:gdLst>
                <a:gd name="connsiteX0" fmla="*/ 8573 w 952500"/>
                <a:gd name="connsiteY0" fmla="*/ 37148 h 1593850"/>
                <a:gd name="connsiteX1" fmla="*/ 14923 w 952500"/>
                <a:gd name="connsiteY1" fmla="*/ 4763 h 1593850"/>
                <a:gd name="connsiteX2" fmla="*/ 49848 w 952500"/>
                <a:gd name="connsiteY2" fmla="*/ 15558 h 1593850"/>
                <a:gd name="connsiteX3" fmla="*/ 872173 w 952500"/>
                <a:gd name="connsiteY3" fmla="*/ 493713 h 1593850"/>
                <a:gd name="connsiteX4" fmla="*/ 951548 w 952500"/>
                <a:gd name="connsiteY4" fmla="*/ 630873 h 1593850"/>
                <a:gd name="connsiteX5" fmla="*/ 947738 w 952500"/>
                <a:gd name="connsiteY5" fmla="*/ 1557972 h 1593850"/>
                <a:gd name="connsiteX6" fmla="*/ 941388 w 952500"/>
                <a:gd name="connsiteY6" fmla="*/ 1590358 h 1593850"/>
                <a:gd name="connsiteX7" fmla="*/ 906463 w 952500"/>
                <a:gd name="connsiteY7" fmla="*/ 1579563 h 1593850"/>
                <a:gd name="connsiteX8" fmla="*/ 84138 w 952500"/>
                <a:gd name="connsiteY8" fmla="*/ 1101408 h 1593850"/>
                <a:gd name="connsiteX9" fmla="*/ 4763 w 952500"/>
                <a:gd name="connsiteY9" fmla="*/ 964247 h 1593850"/>
                <a:gd name="connsiteX10" fmla="*/ 8573 w 952500"/>
                <a:gd name="connsiteY10" fmla="*/ 37148 h 159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52500" h="1593850">
                  <a:moveTo>
                    <a:pt x="8573" y="37148"/>
                  </a:moveTo>
                  <a:cubicBezTo>
                    <a:pt x="8573" y="24448"/>
                    <a:pt x="11113" y="13652"/>
                    <a:pt x="14923" y="4763"/>
                  </a:cubicBezTo>
                  <a:cubicBezTo>
                    <a:pt x="25718" y="4763"/>
                    <a:pt x="37148" y="7938"/>
                    <a:pt x="49848" y="15558"/>
                  </a:cubicBezTo>
                  <a:lnTo>
                    <a:pt x="872173" y="493713"/>
                  </a:lnTo>
                  <a:cubicBezTo>
                    <a:pt x="915988" y="519113"/>
                    <a:pt x="951548" y="580708"/>
                    <a:pt x="951548" y="630873"/>
                  </a:cubicBezTo>
                  <a:lnTo>
                    <a:pt x="947738" y="1557972"/>
                  </a:lnTo>
                  <a:cubicBezTo>
                    <a:pt x="947738" y="1570672"/>
                    <a:pt x="945198" y="1581467"/>
                    <a:pt x="941388" y="1590358"/>
                  </a:cubicBezTo>
                  <a:cubicBezTo>
                    <a:pt x="930593" y="1590358"/>
                    <a:pt x="919163" y="1587183"/>
                    <a:pt x="906463" y="1579563"/>
                  </a:cubicBezTo>
                  <a:lnTo>
                    <a:pt x="84138" y="1101408"/>
                  </a:lnTo>
                  <a:cubicBezTo>
                    <a:pt x="40323" y="1076008"/>
                    <a:pt x="4763" y="1014413"/>
                    <a:pt x="4763" y="964247"/>
                  </a:cubicBezTo>
                  <a:lnTo>
                    <a:pt x="8573" y="37148"/>
                  </a:lnTo>
                  <a:close/>
                </a:path>
              </a:pathLst>
            </a:custGeom>
            <a:solidFill>
              <a:srgbClr val="D7E9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7" name="任意多边形: 形状 1086"/>
            <p:cNvSpPr/>
            <p:nvPr/>
          </p:nvSpPr>
          <p:spPr>
            <a:xfrm>
              <a:off x="9250997" y="1411648"/>
              <a:ext cx="1435100" cy="2819400"/>
            </a:xfrm>
            <a:custGeom>
              <a:avLst/>
              <a:gdLst>
                <a:gd name="connsiteX0" fmla="*/ 125413 w 1435100"/>
                <a:gd name="connsiteY0" fmla="*/ 20277 h 2819400"/>
                <a:gd name="connsiteX1" fmla="*/ 9843 w 1435100"/>
                <a:gd name="connsiteY1" fmla="*/ 86317 h 2819400"/>
                <a:gd name="connsiteX2" fmla="*/ 4763 w 1435100"/>
                <a:gd name="connsiteY2" fmla="*/ 1913212 h 2819400"/>
                <a:gd name="connsiteX3" fmla="*/ 119697 w 1435100"/>
                <a:gd name="connsiteY3" fmla="*/ 2111967 h 2819400"/>
                <a:gd name="connsiteX4" fmla="*/ 1309688 w 1435100"/>
                <a:gd name="connsiteY4" fmla="*/ 2804117 h 2819400"/>
                <a:gd name="connsiteX5" fmla="*/ 1425258 w 1435100"/>
                <a:gd name="connsiteY5" fmla="*/ 2738712 h 2819400"/>
                <a:gd name="connsiteX6" fmla="*/ 1430338 w 1435100"/>
                <a:gd name="connsiteY6" fmla="*/ 911817 h 2819400"/>
                <a:gd name="connsiteX7" fmla="*/ 1315403 w 1435100"/>
                <a:gd name="connsiteY7" fmla="*/ 713062 h 2819400"/>
                <a:gd name="connsiteX8" fmla="*/ 125413 w 1435100"/>
                <a:gd name="connsiteY8" fmla="*/ 20277 h 281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5100" h="2819400">
                  <a:moveTo>
                    <a:pt x="125413" y="20277"/>
                  </a:moveTo>
                  <a:cubicBezTo>
                    <a:pt x="61913" y="-15918"/>
                    <a:pt x="10478" y="13292"/>
                    <a:pt x="9843" y="86317"/>
                  </a:cubicBezTo>
                  <a:lnTo>
                    <a:pt x="4763" y="1913212"/>
                  </a:lnTo>
                  <a:cubicBezTo>
                    <a:pt x="4763" y="1985602"/>
                    <a:pt x="56197" y="2075137"/>
                    <a:pt x="119697" y="2111967"/>
                  </a:cubicBezTo>
                  <a:lnTo>
                    <a:pt x="1309688" y="2804117"/>
                  </a:lnTo>
                  <a:cubicBezTo>
                    <a:pt x="1373188" y="2840947"/>
                    <a:pt x="1425258" y="2811102"/>
                    <a:pt x="1425258" y="2738712"/>
                  </a:cubicBezTo>
                  <a:lnTo>
                    <a:pt x="1430338" y="911817"/>
                  </a:lnTo>
                  <a:cubicBezTo>
                    <a:pt x="1430338" y="839427"/>
                    <a:pt x="1378903" y="749892"/>
                    <a:pt x="1315403" y="713062"/>
                  </a:cubicBezTo>
                  <a:lnTo>
                    <a:pt x="125413" y="20277"/>
                  </a:lnTo>
                  <a:close/>
                </a:path>
              </a:pathLst>
            </a:custGeom>
            <a:solidFill>
              <a:srgbClr val="D1D4E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8" name="任意多边形: 形状 1087"/>
            <p:cNvSpPr/>
            <p:nvPr/>
          </p:nvSpPr>
          <p:spPr>
            <a:xfrm>
              <a:off x="9250997" y="1440710"/>
              <a:ext cx="1390650" cy="2794000"/>
            </a:xfrm>
            <a:custGeom>
              <a:avLst/>
              <a:gdLst>
                <a:gd name="connsiteX0" fmla="*/ 9843 w 1390650"/>
                <a:gd name="connsiteY0" fmla="*/ 56620 h 2794000"/>
                <a:gd name="connsiteX1" fmla="*/ 21908 w 1390650"/>
                <a:gd name="connsiteY1" fmla="*/ 5185 h 2794000"/>
                <a:gd name="connsiteX2" fmla="*/ 81597 w 1390650"/>
                <a:gd name="connsiteY2" fmla="*/ 20425 h 2794000"/>
                <a:gd name="connsiteX3" fmla="*/ 1271588 w 1390650"/>
                <a:gd name="connsiteY3" fmla="*/ 712575 h 2794000"/>
                <a:gd name="connsiteX4" fmla="*/ 1386522 w 1390650"/>
                <a:gd name="connsiteY4" fmla="*/ 911330 h 2794000"/>
                <a:gd name="connsiteX5" fmla="*/ 1381443 w 1390650"/>
                <a:gd name="connsiteY5" fmla="*/ 2738225 h 2794000"/>
                <a:gd name="connsiteX6" fmla="*/ 1369378 w 1390650"/>
                <a:gd name="connsiteY6" fmla="*/ 2789660 h 2794000"/>
                <a:gd name="connsiteX7" fmla="*/ 1309688 w 1390650"/>
                <a:gd name="connsiteY7" fmla="*/ 2774420 h 2794000"/>
                <a:gd name="connsiteX8" fmla="*/ 119697 w 1390650"/>
                <a:gd name="connsiteY8" fmla="*/ 2082270 h 2794000"/>
                <a:gd name="connsiteX9" fmla="*/ 4763 w 1390650"/>
                <a:gd name="connsiteY9" fmla="*/ 1883515 h 2794000"/>
                <a:gd name="connsiteX10" fmla="*/ 9843 w 1390650"/>
                <a:gd name="connsiteY10" fmla="*/ 56620 h 279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90650" h="2794000">
                  <a:moveTo>
                    <a:pt x="9843" y="56620"/>
                  </a:moveTo>
                  <a:cubicBezTo>
                    <a:pt x="9843" y="35665"/>
                    <a:pt x="14288" y="18520"/>
                    <a:pt x="21908" y="5185"/>
                  </a:cubicBezTo>
                  <a:cubicBezTo>
                    <a:pt x="39053" y="3280"/>
                    <a:pt x="59372" y="7725"/>
                    <a:pt x="81597" y="20425"/>
                  </a:cubicBezTo>
                  <a:lnTo>
                    <a:pt x="1271588" y="712575"/>
                  </a:lnTo>
                  <a:cubicBezTo>
                    <a:pt x="1335088" y="749405"/>
                    <a:pt x="1386522" y="838305"/>
                    <a:pt x="1386522" y="911330"/>
                  </a:cubicBezTo>
                  <a:lnTo>
                    <a:pt x="1381443" y="2738225"/>
                  </a:lnTo>
                  <a:cubicBezTo>
                    <a:pt x="1381443" y="2759180"/>
                    <a:pt x="1376997" y="2776325"/>
                    <a:pt x="1369378" y="2789660"/>
                  </a:cubicBezTo>
                  <a:cubicBezTo>
                    <a:pt x="1352233" y="2791565"/>
                    <a:pt x="1331913" y="2787120"/>
                    <a:pt x="1309688" y="2774420"/>
                  </a:cubicBezTo>
                  <a:lnTo>
                    <a:pt x="119697" y="2082270"/>
                  </a:lnTo>
                  <a:cubicBezTo>
                    <a:pt x="56197" y="2046075"/>
                    <a:pt x="4763" y="1956540"/>
                    <a:pt x="4763" y="1883515"/>
                  </a:cubicBezTo>
                  <a:lnTo>
                    <a:pt x="9843" y="56620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9" name="任意多边形: 形状 1088"/>
            <p:cNvSpPr/>
            <p:nvPr/>
          </p:nvSpPr>
          <p:spPr>
            <a:xfrm>
              <a:off x="9419272" y="1945323"/>
              <a:ext cx="1073150" cy="1936750"/>
            </a:xfrm>
            <a:custGeom>
              <a:avLst/>
              <a:gdLst>
                <a:gd name="connsiteX0" fmla="*/ 8572 w 1073150"/>
                <a:gd name="connsiteY0" fmla="*/ 4763 h 1936750"/>
                <a:gd name="connsiteX1" fmla="*/ 4763 w 1073150"/>
                <a:gd name="connsiteY1" fmla="*/ 1332548 h 1936750"/>
                <a:gd name="connsiteX2" fmla="*/ 1069022 w 1073150"/>
                <a:gd name="connsiteY2" fmla="*/ 1936432 h 1936750"/>
                <a:gd name="connsiteX3" fmla="*/ 1072833 w 1073150"/>
                <a:gd name="connsiteY3" fmla="*/ 609282 h 193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3150" h="1936750">
                  <a:moveTo>
                    <a:pt x="8572" y="4763"/>
                  </a:moveTo>
                  <a:lnTo>
                    <a:pt x="4763" y="1332548"/>
                  </a:lnTo>
                  <a:lnTo>
                    <a:pt x="1069022" y="1936432"/>
                  </a:lnTo>
                  <a:lnTo>
                    <a:pt x="1072833" y="609282"/>
                  </a:lnTo>
                  <a:close/>
                </a:path>
              </a:pathLst>
            </a:custGeom>
            <a:solidFill>
              <a:srgbClr val="D1D4E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0" name="任意多边形: 形状 1089"/>
            <p:cNvSpPr/>
            <p:nvPr/>
          </p:nvSpPr>
          <p:spPr>
            <a:xfrm>
              <a:off x="9391332" y="1898333"/>
              <a:ext cx="1073150" cy="1936750"/>
            </a:xfrm>
            <a:custGeom>
              <a:avLst/>
              <a:gdLst>
                <a:gd name="connsiteX0" fmla="*/ 8573 w 1073150"/>
                <a:gd name="connsiteY0" fmla="*/ 4763 h 1936750"/>
                <a:gd name="connsiteX1" fmla="*/ 4763 w 1073150"/>
                <a:gd name="connsiteY1" fmla="*/ 1332547 h 1936750"/>
                <a:gd name="connsiteX2" fmla="*/ 1069023 w 1073150"/>
                <a:gd name="connsiteY2" fmla="*/ 1936433 h 1936750"/>
                <a:gd name="connsiteX3" fmla="*/ 1072833 w 1073150"/>
                <a:gd name="connsiteY3" fmla="*/ 609282 h 193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3150" h="1936750">
                  <a:moveTo>
                    <a:pt x="8573" y="4763"/>
                  </a:moveTo>
                  <a:lnTo>
                    <a:pt x="4763" y="1332547"/>
                  </a:lnTo>
                  <a:lnTo>
                    <a:pt x="1069023" y="1936433"/>
                  </a:lnTo>
                  <a:lnTo>
                    <a:pt x="1072833" y="609282"/>
                  </a:lnTo>
                  <a:close/>
                </a:path>
              </a:pathLst>
            </a:custGeom>
            <a:solidFill>
              <a:srgbClr val="F8F8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1" name="任意多边形: 形状 1090"/>
            <p:cNvSpPr/>
            <p:nvPr/>
          </p:nvSpPr>
          <p:spPr>
            <a:xfrm>
              <a:off x="9473247" y="2212658"/>
              <a:ext cx="552450" cy="349250"/>
            </a:xfrm>
            <a:custGeom>
              <a:avLst/>
              <a:gdLst>
                <a:gd name="connsiteX0" fmla="*/ 4763 w 552450"/>
                <a:gd name="connsiteY0" fmla="*/ 4763 h 349250"/>
                <a:gd name="connsiteX1" fmla="*/ 6668 w 552450"/>
                <a:gd name="connsiteY1" fmla="*/ 40322 h 349250"/>
                <a:gd name="connsiteX2" fmla="*/ 551497 w 552450"/>
                <a:gd name="connsiteY2" fmla="*/ 350202 h 349250"/>
                <a:gd name="connsiteX3" fmla="*/ 550228 w 552450"/>
                <a:gd name="connsiteY3" fmla="*/ 314007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450" h="349250">
                  <a:moveTo>
                    <a:pt x="4763" y="4763"/>
                  </a:moveTo>
                  <a:lnTo>
                    <a:pt x="6668" y="40322"/>
                  </a:lnTo>
                  <a:lnTo>
                    <a:pt x="551497" y="350202"/>
                  </a:lnTo>
                  <a:lnTo>
                    <a:pt x="550228" y="314007"/>
                  </a:lnTo>
                  <a:close/>
                </a:path>
              </a:pathLst>
            </a:custGeom>
            <a:solidFill>
              <a:srgbClr val="E6E5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2" name="任意多边形: 形状 1091"/>
            <p:cNvSpPr/>
            <p:nvPr/>
          </p:nvSpPr>
          <p:spPr>
            <a:xfrm>
              <a:off x="9639618" y="2763838"/>
              <a:ext cx="552450" cy="349250"/>
            </a:xfrm>
            <a:custGeom>
              <a:avLst/>
              <a:gdLst>
                <a:gd name="connsiteX0" fmla="*/ 4763 w 552450"/>
                <a:gd name="connsiteY0" fmla="*/ 4763 h 349250"/>
                <a:gd name="connsiteX1" fmla="*/ 6032 w 552450"/>
                <a:gd name="connsiteY1" fmla="*/ 40323 h 349250"/>
                <a:gd name="connsiteX2" fmla="*/ 551497 w 552450"/>
                <a:gd name="connsiteY2" fmla="*/ 350202 h 349250"/>
                <a:gd name="connsiteX3" fmla="*/ 549592 w 552450"/>
                <a:gd name="connsiteY3" fmla="*/ 314008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450" h="349250">
                  <a:moveTo>
                    <a:pt x="4763" y="4763"/>
                  </a:moveTo>
                  <a:lnTo>
                    <a:pt x="6032" y="40323"/>
                  </a:lnTo>
                  <a:lnTo>
                    <a:pt x="551497" y="350202"/>
                  </a:lnTo>
                  <a:lnTo>
                    <a:pt x="549592" y="314008"/>
                  </a:lnTo>
                  <a:close/>
                </a:path>
              </a:pathLst>
            </a:custGeom>
            <a:solidFill>
              <a:srgbClr val="E6E5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3" name="任意多边形: 形状 1092"/>
            <p:cNvSpPr/>
            <p:nvPr/>
          </p:nvSpPr>
          <p:spPr>
            <a:xfrm>
              <a:off x="9588182" y="2409508"/>
              <a:ext cx="438150" cy="285750"/>
            </a:xfrm>
            <a:custGeom>
              <a:avLst/>
              <a:gdLst>
                <a:gd name="connsiteX0" fmla="*/ 4763 w 438150"/>
                <a:gd name="connsiteY0" fmla="*/ 4763 h 285750"/>
                <a:gd name="connsiteX1" fmla="*/ 6668 w 438150"/>
                <a:gd name="connsiteY1" fmla="*/ 40957 h 285750"/>
                <a:gd name="connsiteX2" fmla="*/ 436563 w 438150"/>
                <a:gd name="connsiteY2" fmla="*/ 284163 h 285750"/>
                <a:gd name="connsiteX3" fmla="*/ 435293 w 438150"/>
                <a:gd name="connsiteY3" fmla="*/ 248602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150" h="285750">
                  <a:moveTo>
                    <a:pt x="4763" y="4763"/>
                  </a:moveTo>
                  <a:lnTo>
                    <a:pt x="6668" y="40957"/>
                  </a:lnTo>
                  <a:lnTo>
                    <a:pt x="436563" y="284163"/>
                  </a:lnTo>
                  <a:lnTo>
                    <a:pt x="435293" y="248602"/>
                  </a:lnTo>
                  <a:close/>
                </a:path>
              </a:pathLst>
            </a:custGeom>
            <a:solidFill>
              <a:srgbClr val="E6E5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4" name="任意多边形: 形状 1093"/>
            <p:cNvSpPr/>
            <p:nvPr/>
          </p:nvSpPr>
          <p:spPr>
            <a:xfrm>
              <a:off x="9526588" y="2946083"/>
              <a:ext cx="552450" cy="349250"/>
            </a:xfrm>
            <a:custGeom>
              <a:avLst/>
              <a:gdLst>
                <a:gd name="connsiteX0" fmla="*/ 4763 w 552450"/>
                <a:gd name="connsiteY0" fmla="*/ 4763 h 349250"/>
                <a:gd name="connsiteX1" fmla="*/ 6032 w 552450"/>
                <a:gd name="connsiteY1" fmla="*/ 40957 h 349250"/>
                <a:gd name="connsiteX2" fmla="*/ 551497 w 552450"/>
                <a:gd name="connsiteY2" fmla="*/ 350202 h 349250"/>
                <a:gd name="connsiteX3" fmla="*/ 550228 w 552450"/>
                <a:gd name="connsiteY3" fmla="*/ 314642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2450" h="349250">
                  <a:moveTo>
                    <a:pt x="4763" y="4763"/>
                  </a:moveTo>
                  <a:lnTo>
                    <a:pt x="6032" y="40957"/>
                  </a:lnTo>
                  <a:lnTo>
                    <a:pt x="551497" y="350202"/>
                  </a:lnTo>
                  <a:lnTo>
                    <a:pt x="550228" y="314642"/>
                  </a:lnTo>
                  <a:close/>
                </a:path>
              </a:pathLst>
            </a:custGeom>
            <a:solidFill>
              <a:srgbClr val="E6E5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5" name="任意多边形: 形状 1094"/>
            <p:cNvSpPr/>
            <p:nvPr/>
          </p:nvSpPr>
          <p:spPr>
            <a:xfrm>
              <a:off x="9641522" y="3143567"/>
              <a:ext cx="438150" cy="285750"/>
            </a:xfrm>
            <a:custGeom>
              <a:avLst/>
              <a:gdLst>
                <a:gd name="connsiteX0" fmla="*/ 4763 w 438150"/>
                <a:gd name="connsiteY0" fmla="*/ 4763 h 285750"/>
                <a:gd name="connsiteX1" fmla="*/ 6668 w 438150"/>
                <a:gd name="connsiteY1" fmla="*/ 40323 h 285750"/>
                <a:gd name="connsiteX2" fmla="*/ 436563 w 438150"/>
                <a:gd name="connsiteY2" fmla="*/ 283528 h 285750"/>
                <a:gd name="connsiteX3" fmla="*/ 435293 w 438150"/>
                <a:gd name="connsiteY3" fmla="*/ 247967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150" h="285750">
                  <a:moveTo>
                    <a:pt x="4763" y="4763"/>
                  </a:moveTo>
                  <a:lnTo>
                    <a:pt x="6668" y="40323"/>
                  </a:lnTo>
                  <a:lnTo>
                    <a:pt x="436563" y="283528"/>
                  </a:lnTo>
                  <a:lnTo>
                    <a:pt x="435293" y="247967"/>
                  </a:lnTo>
                  <a:close/>
                </a:path>
              </a:pathLst>
            </a:custGeom>
            <a:solidFill>
              <a:srgbClr val="E6E5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6" name="任意多边形: 形状 1095"/>
            <p:cNvSpPr/>
            <p:nvPr/>
          </p:nvSpPr>
          <p:spPr>
            <a:xfrm>
              <a:off x="9637713" y="2659063"/>
              <a:ext cx="438150" cy="285750"/>
            </a:xfrm>
            <a:custGeom>
              <a:avLst/>
              <a:gdLst>
                <a:gd name="connsiteX0" fmla="*/ 4763 w 438150"/>
                <a:gd name="connsiteY0" fmla="*/ 4763 h 285750"/>
                <a:gd name="connsiteX1" fmla="*/ 6032 w 438150"/>
                <a:gd name="connsiteY1" fmla="*/ 40323 h 285750"/>
                <a:gd name="connsiteX2" fmla="*/ 436563 w 438150"/>
                <a:gd name="connsiteY2" fmla="*/ 283527 h 285750"/>
                <a:gd name="connsiteX3" fmla="*/ 434657 w 438150"/>
                <a:gd name="connsiteY3" fmla="*/ 247967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150" h="285750">
                  <a:moveTo>
                    <a:pt x="4763" y="4763"/>
                  </a:moveTo>
                  <a:lnTo>
                    <a:pt x="6032" y="40323"/>
                  </a:lnTo>
                  <a:lnTo>
                    <a:pt x="436563" y="283527"/>
                  </a:lnTo>
                  <a:lnTo>
                    <a:pt x="434657" y="247967"/>
                  </a:lnTo>
                  <a:close/>
                </a:path>
              </a:pathLst>
            </a:custGeom>
            <a:solidFill>
              <a:srgbClr val="E6E5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7" name="任意多边形: 形状 1096"/>
            <p:cNvSpPr/>
            <p:nvPr/>
          </p:nvSpPr>
          <p:spPr>
            <a:xfrm>
              <a:off x="10100628" y="2441892"/>
              <a:ext cx="266700" cy="476250"/>
            </a:xfrm>
            <a:custGeom>
              <a:avLst/>
              <a:gdLst>
                <a:gd name="connsiteX0" fmla="*/ 5397 w 266700"/>
                <a:gd name="connsiteY0" fmla="*/ 4763 h 476250"/>
                <a:gd name="connsiteX1" fmla="*/ 4763 w 266700"/>
                <a:gd name="connsiteY1" fmla="*/ 326708 h 476250"/>
                <a:gd name="connsiteX2" fmla="*/ 263207 w 266700"/>
                <a:gd name="connsiteY2" fmla="*/ 473393 h 476250"/>
                <a:gd name="connsiteX3" fmla="*/ 263842 w 266700"/>
                <a:gd name="connsiteY3" fmla="*/ 151448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476250">
                  <a:moveTo>
                    <a:pt x="5397" y="4763"/>
                  </a:moveTo>
                  <a:lnTo>
                    <a:pt x="4763" y="326708"/>
                  </a:lnTo>
                  <a:lnTo>
                    <a:pt x="263207" y="473393"/>
                  </a:lnTo>
                  <a:lnTo>
                    <a:pt x="263842" y="151448"/>
                  </a:lnTo>
                  <a:close/>
                </a:path>
              </a:pathLst>
            </a:custGeom>
            <a:solidFill>
              <a:srgbClr val="005FFF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8" name="任意多边形: 形状 1097"/>
            <p:cNvSpPr/>
            <p:nvPr/>
          </p:nvSpPr>
          <p:spPr>
            <a:xfrm>
              <a:off x="10162222" y="3255963"/>
              <a:ext cx="177800" cy="311150"/>
            </a:xfrm>
            <a:custGeom>
              <a:avLst/>
              <a:gdLst>
                <a:gd name="connsiteX0" fmla="*/ 4763 w 177800"/>
                <a:gd name="connsiteY0" fmla="*/ 4763 h 311150"/>
                <a:gd name="connsiteX1" fmla="*/ 4763 w 177800"/>
                <a:gd name="connsiteY1" fmla="*/ 214947 h 311150"/>
                <a:gd name="connsiteX2" fmla="*/ 173038 w 177800"/>
                <a:gd name="connsiteY2" fmla="*/ 310197 h 311150"/>
                <a:gd name="connsiteX3" fmla="*/ 173672 w 177800"/>
                <a:gd name="connsiteY3" fmla="*/ 100013 h 31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800" h="311150">
                  <a:moveTo>
                    <a:pt x="4763" y="4763"/>
                  </a:moveTo>
                  <a:lnTo>
                    <a:pt x="4763" y="214947"/>
                  </a:lnTo>
                  <a:lnTo>
                    <a:pt x="173038" y="310197"/>
                  </a:lnTo>
                  <a:lnTo>
                    <a:pt x="173672" y="100013"/>
                  </a:lnTo>
                  <a:close/>
                </a:path>
              </a:pathLst>
            </a:custGeom>
            <a:solidFill>
              <a:srgbClr val="88AD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9" name="任意多边形: 形状 1098"/>
            <p:cNvSpPr/>
            <p:nvPr/>
          </p:nvSpPr>
          <p:spPr>
            <a:xfrm>
              <a:off x="9344343" y="2454592"/>
              <a:ext cx="215900" cy="387350"/>
            </a:xfrm>
            <a:custGeom>
              <a:avLst/>
              <a:gdLst>
                <a:gd name="connsiteX0" fmla="*/ 5397 w 215900"/>
                <a:gd name="connsiteY0" fmla="*/ 4763 h 387350"/>
                <a:gd name="connsiteX1" fmla="*/ 4763 w 215900"/>
                <a:gd name="connsiteY1" fmla="*/ 265113 h 387350"/>
                <a:gd name="connsiteX2" fmla="*/ 213677 w 215900"/>
                <a:gd name="connsiteY2" fmla="*/ 383858 h 387350"/>
                <a:gd name="connsiteX3" fmla="*/ 214313 w 215900"/>
                <a:gd name="connsiteY3" fmla="*/ 122873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900" h="387350">
                  <a:moveTo>
                    <a:pt x="5397" y="4763"/>
                  </a:moveTo>
                  <a:lnTo>
                    <a:pt x="4763" y="265113"/>
                  </a:lnTo>
                  <a:lnTo>
                    <a:pt x="213677" y="383858"/>
                  </a:lnTo>
                  <a:lnTo>
                    <a:pt x="214313" y="122873"/>
                  </a:lnTo>
                  <a:close/>
                </a:path>
              </a:pathLst>
            </a:custGeom>
            <a:solidFill>
              <a:srgbClr val="FFD61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0" name="任意多边形: 形状 1099"/>
            <p:cNvSpPr/>
            <p:nvPr/>
          </p:nvSpPr>
          <p:spPr>
            <a:xfrm>
              <a:off x="11136313" y="3084650"/>
              <a:ext cx="190500" cy="1155700"/>
            </a:xfrm>
            <a:custGeom>
              <a:avLst/>
              <a:gdLst>
                <a:gd name="connsiteX0" fmla="*/ 173038 w 190500"/>
                <a:gd name="connsiteY0" fmla="*/ 85270 h 1155700"/>
                <a:gd name="connsiteX1" fmla="*/ 53022 w 190500"/>
                <a:gd name="connsiteY1" fmla="*/ 9705 h 1155700"/>
                <a:gd name="connsiteX2" fmla="*/ 4763 w 190500"/>
                <a:gd name="connsiteY2" fmla="*/ 36375 h 1155700"/>
                <a:gd name="connsiteX3" fmla="*/ 7303 w 190500"/>
                <a:gd name="connsiteY3" fmla="*/ 1046025 h 1155700"/>
                <a:gd name="connsiteX4" fmla="*/ 21907 w 190500"/>
                <a:gd name="connsiteY4" fmla="*/ 1072696 h 1155700"/>
                <a:gd name="connsiteX5" fmla="*/ 141922 w 190500"/>
                <a:gd name="connsiteY5" fmla="*/ 1148260 h 1155700"/>
                <a:gd name="connsiteX6" fmla="*/ 190182 w 190500"/>
                <a:gd name="connsiteY6" fmla="*/ 1121591 h 1155700"/>
                <a:gd name="connsiteX7" fmla="*/ 187643 w 190500"/>
                <a:gd name="connsiteY7" fmla="*/ 111940 h 1155700"/>
                <a:gd name="connsiteX8" fmla="*/ 173038 w 190500"/>
                <a:gd name="connsiteY8" fmla="*/ 85270 h 1155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00" h="1155700">
                  <a:moveTo>
                    <a:pt x="173038" y="85270"/>
                  </a:moveTo>
                  <a:lnTo>
                    <a:pt x="53022" y="9705"/>
                  </a:lnTo>
                  <a:cubicBezTo>
                    <a:pt x="32068" y="-3630"/>
                    <a:pt x="4763" y="11610"/>
                    <a:pt x="4763" y="36375"/>
                  </a:cubicBezTo>
                  <a:lnTo>
                    <a:pt x="7303" y="1046025"/>
                  </a:lnTo>
                  <a:cubicBezTo>
                    <a:pt x="7303" y="1056821"/>
                    <a:pt x="13018" y="1066980"/>
                    <a:pt x="21907" y="1072696"/>
                  </a:cubicBezTo>
                  <a:lnTo>
                    <a:pt x="141922" y="1148260"/>
                  </a:lnTo>
                  <a:cubicBezTo>
                    <a:pt x="162878" y="1161596"/>
                    <a:pt x="190182" y="1146355"/>
                    <a:pt x="190182" y="1121591"/>
                  </a:cubicBezTo>
                  <a:lnTo>
                    <a:pt x="187643" y="111940"/>
                  </a:lnTo>
                  <a:cubicBezTo>
                    <a:pt x="187643" y="101145"/>
                    <a:pt x="182563" y="90985"/>
                    <a:pt x="173038" y="85270"/>
                  </a:cubicBezTo>
                  <a:close/>
                </a:path>
              </a:pathLst>
            </a:custGeom>
            <a:solidFill>
              <a:srgbClr val="D7E9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1" name="任意多边形: 形状 1100"/>
            <p:cNvSpPr/>
            <p:nvPr/>
          </p:nvSpPr>
          <p:spPr>
            <a:xfrm>
              <a:off x="10193338" y="2597467"/>
              <a:ext cx="76200" cy="177800"/>
            </a:xfrm>
            <a:custGeom>
              <a:avLst/>
              <a:gdLst>
                <a:gd name="connsiteX0" fmla="*/ 48578 w 76200"/>
                <a:gd name="connsiteY0" fmla="*/ 15558 h 177800"/>
                <a:gd name="connsiteX1" fmla="*/ 47943 w 76200"/>
                <a:gd name="connsiteY1" fmla="*/ 143193 h 177800"/>
                <a:gd name="connsiteX2" fmla="*/ 75247 w 76200"/>
                <a:gd name="connsiteY2" fmla="*/ 159068 h 177800"/>
                <a:gd name="connsiteX3" fmla="*/ 75247 w 76200"/>
                <a:gd name="connsiteY3" fmla="*/ 174308 h 177800"/>
                <a:gd name="connsiteX4" fmla="*/ 5397 w 76200"/>
                <a:gd name="connsiteY4" fmla="*/ 134303 h 177800"/>
                <a:gd name="connsiteX5" fmla="*/ 5397 w 76200"/>
                <a:gd name="connsiteY5" fmla="*/ 119063 h 177800"/>
                <a:gd name="connsiteX6" fmla="*/ 32703 w 76200"/>
                <a:gd name="connsiteY6" fmla="*/ 134303 h 177800"/>
                <a:gd name="connsiteX7" fmla="*/ 33338 w 76200"/>
                <a:gd name="connsiteY7" fmla="*/ 28258 h 177800"/>
                <a:gd name="connsiteX8" fmla="*/ 4763 w 76200"/>
                <a:gd name="connsiteY8" fmla="*/ 21273 h 177800"/>
                <a:gd name="connsiteX9" fmla="*/ 5397 w 76200"/>
                <a:gd name="connsiteY9" fmla="*/ 4763 h 17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177800">
                  <a:moveTo>
                    <a:pt x="48578" y="15558"/>
                  </a:moveTo>
                  <a:lnTo>
                    <a:pt x="47943" y="143193"/>
                  </a:lnTo>
                  <a:lnTo>
                    <a:pt x="75247" y="159068"/>
                  </a:lnTo>
                  <a:lnTo>
                    <a:pt x="75247" y="174308"/>
                  </a:lnTo>
                  <a:lnTo>
                    <a:pt x="5397" y="134303"/>
                  </a:lnTo>
                  <a:lnTo>
                    <a:pt x="5397" y="119063"/>
                  </a:lnTo>
                  <a:lnTo>
                    <a:pt x="32703" y="134303"/>
                  </a:lnTo>
                  <a:lnTo>
                    <a:pt x="33338" y="28258"/>
                  </a:lnTo>
                  <a:lnTo>
                    <a:pt x="4763" y="21273"/>
                  </a:lnTo>
                  <a:lnTo>
                    <a:pt x="5397" y="4763"/>
                  </a:lnTo>
                  <a:close/>
                </a:path>
              </a:pathLst>
            </a:custGeom>
            <a:solidFill>
              <a:srgbClr val="F8F8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2" name="任意多边形: 形状 1101"/>
            <p:cNvSpPr/>
            <p:nvPr/>
          </p:nvSpPr>
          <p:spPr>
            <a:xfrm>
              <a:off x="9410382" y="2595344"/>
              <a:ext cx="76200" cy="158750"/>
            </a:xfrm>
            <a:custGeom>
              <a:avLst/>
              <a:gdLst>
                <a:gd name="connsiteX0" fmla="*/ 41593 w 76200"/>
                <a:gd name="connsiteY0" fmla="*/ 11966 h 158750"/>
                <a:gd name="connsiteX1" fmla="*/ 65088 w 76200"/>
                <a:gd name="connsiteY1" fmla="*/ 34826 h 158750"/>
                <a:gd name="connsiteX2" fmla="*/ 73343 w 76200"/>
                <a:gd name="connsiteY2" fmla="*/ 64671 h 158750"/>
                <a:gd name="connsiteX3" fmla="*/ 67628 w 76200"/>
                <a:gd name="connsiteY3" fmla="*/ 84356 h 158750"/>
                <a:gd name="connsiteX4" fmla="*/ 46673 w 76200"/>
                <a:gd name="connsiteY4" fmla="*/ 101501 h 158750"/>
                <a:gd name="connsiteX5" fmla="*/ 21273 w 76200"/>
                <a:gd name="connsiteY5" fmla="*/ 115471 h 158750"/>
                <a:gd name="connsiteX6" fmla="*/ 72073 w 76200"/>
                <a:gd name="connsiteY6" fmla="*/ 145316 h 158750"/>
                <a:gd name="connsiteX7" fmla="*/ 72073 w 76200"/>
                <a:gd name="connsiteY7" fmla="*/ 159921 h 158750"/>
                <a:gd name="connsiteX8" fmla="*/ 4763 w 76200"/>
                <a:gd name="connsiteY8" fmla="*/ 121186 h 158750"/>
                <a:gd name="connsiteX9" fmla="*/ 4763 w 76200"/>
                <a:gd name="connsiteY9" fmla="*/ 107216 h 158750"/>
                <a:gd name="connsiteX10" fmla="*/ 37148 w 76200"/>
                <a:gd name="connsiteY10" fmla="*/ 88801 h 158750"/>
                <a:gd name="connsiteX11" fmla="*/ 54928 w 76200"/>
                <a:gd name="connsiteY11" fmla="*/ 74831 h 158750"/>
                <a:gd name="connsiteX12" fmla="*/ 59373 w 76200"/>
                <a:gd name="connsiteY12" fmla="*/ 58956 h 158750"/>
                <a:gd name="connsiteX13" fmla="*/ 54293 w 76200"/>
                <a:gd name="connsiteY13" fmla="*/ 39271 h 158750"/>
                <a:gd name="connsiteX14" fmla="*/ 39053 w 76200"/>
                <a:gd name="connsiteY14" fmla="*/ 24666 h 158750"/>
                <a:gd name="connsiteX15" fmla="*/ 11113 w 76200"/>
                <a:gd name="connsiteY15" fmla="*/ 22761 h 158750"/>
                <a:gd name="connsiteX16" fmla="*/ 11113 w 76200"/>
                <a:gd name="connsiteY16" fmla="*/ 6251 h 158750"/>
                <a:gd name="connsiteX17" fmla="*/ 41593 w 76200"/>
                <a:gd name="connsiteY17" fmla="*/ 11966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6200" h="158750">
                  <a:moveTo>
                    <a:pt x="41593" y="11966"/>
                  </a:moveTo>
                  <a:cubicBezTo>
                    <a:pt x="51753" y="17681"/>
                    <a:pt x="59373" y="25301"/>
                    <a:pt x="65088" y="34826"/>
                  </a:cubicBezTo>
                  <a:cubicBezTo>
                    <a:pt x="70803" y="44351"/>
                    <a:pt x="73978" y="54511"/>
                    <a:pt x="73343" y="64671"/>
                  </a:cubicBezTo>
                  <a:cubicBezTo>
                    <a:pt x="73343" y="72291"/>
                    <a:pt x="71438" y="79276"/>
                    <a:pt x="67628" y="84356"/>
                  </a:cubicBezTo>
                  <a:cubicBezTo>
                    <a:pt x="63818" y="90071"/>
                    <a:pt x="56833" y="95786"/>
                    <a:pt x="46673" y="101501"/>
                  </a:cubicBezTo>
                  <a:lnTo>
                    <a:pt x="21273" y="115471"/>
                  </a:lnTo>
                  <a:lnTo>
                    <a:pt x="72073" y="145316"/>
                  </a:lnTo>
                  <a:lnTo>
                    <a:pt x="72073" y="159921"/>
                  </a:lnTo>
                  <a:lnTo>
                    <a:pt x="4763" y="121186"/>
                  </a:lnTo>
                  <a:lnTo>
                    <a:pt x="4763" y="107216"/>
                  </a:lnTo>
                  <a:lnTo>
                    <a:pt x="37148" y="88801"/>
                  </a:lnTo>
                  <a:cubicBezTo>
                    <a:pt x="46038" y="83721"/>
                    <a:pt x="51753" y="79276"/>
                    <a:pt x="54928" y="74831"/>
                  </a:cubicBezTo>
                  <a:cubicBezTo>
                    <a:pt x="58103" y="70386"/>
                    <a:pt x="59373" y="65306"/>
                    <a:pt x="59373" y="58956"/>
                  </a:cubicBezTo>
                  <a:cubicBezTo>
                    <a:pt x="59373" y="51971"/>
                    <a:pt x="57468" y="44986"/>
                    <a:pt x="54293" y="39271"/>
                  </a:cubicBezTo>
                  <a:cubicBezTo>
                    <a:pt x="51118" y="33556"/>
                    <a:pt x="45403" y="28476"/>
                    <a:pt x="39053" y="24666"/>
                  </a:cubicBezTo>
                  <a:cubicBezTo>
                    <a:pt x="28893" y="18951"/>
                    <a:pt x="20003" y="18316"/>
                    <a:pt x="11113" y="22761"/>
                  </a:cubicBezTo>
                  <a:lnTo>
                    <a:pt x="11113" y="6251"/>
                  </a:lnTo>
                  <a:cubicBezTo>
                    <a:pt x="20003" y="3076"/>
                    <a:pt x="30163" y="4981"/>
                    <a:pt x="41593" y="11966"/>
                  </a:cubicBezTo>
                  <a:close/>
                </a:path>
              </a:pathLst>
            </a:custGeom>
            <a:solidFill>
              <a:srgbClr val="F8F8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3" name="任意多边形: 形状 1102"/>
            <p:cNvSpPr/>
            <p:nvPr/>
          </p:nvSpPr>
          <p:spPr>
            <a:xfrm>
              <a:off x="10218738" y="3353634"/>
              <a:ext cx="57150" cy="120650"/>
            </a:xfrm>
            <a:custGeom>
              <a:avLst/>
              <a:gdLst>
                <a:gd name="connsiteX0" fmla="*/ 28257 w 57150"/>
                <a:gd name="connsiteY0" fmla="*/ 10596 h 120650"/>
                <a:gd name="connsiteX1" fmla="*/ 46038 w 57150"/>
                <a:gd name="connsiteY1" fmla="*/ 27741 h 120650"/>
                <a:gd name="connsiteX2" fmla="*/ 52388 w 57150"/>
                <a:gd name="connsiteY2" fmla="*/ 48696 h 120650"/>
                <a:gd name="connsiteX3" fmla="*/ 34607 w 57150"/>
                <a:gd name="connsiteY3" fmla="*/ 63937 h 120650"/>
                <a:gd name="connsiteX4" fmla="*/ 49213 w 57150"/>
                <a:gd name="connsiteY4" fmla="*/ 80446 h 120650"/>
                <a:gd name="connsiteX5" fmla="*/ 54928 w 57150"/>
                <a:gd name="connsiteY5" fmla="*/ 99496 h 120650"/>
                <a:gd name="connsiteX6" fmla="*/ 46672 w 57150"/>
                <a:gd name="connsiteY6" fmla="*/ 116641 h 120650"/>
                <a:gd name="connsiteX7" fmla="*/ 24447 w 57150"/>
                <a:gd name="connsiteY7" fmla="*/ 112196 h 120650"/>
                <a:gd name="connsiteX8" fmla="*/ 4763 w 57150"/>
                <a:gd name="connsiteY8" fmla="*/ 95687 h 120650"/>
                <a:gd name="connsiteX9" fmla="*/ 4763 w 57150"/>
                <a:gd name="connsiteY9" fmla="*/ 82351 h 120650"/>
                <a:gd name="connsiteX10" fmla="*/ 25082 w 57150"/>
                <a:gd name="connsiteY10" fmla="*/ 102037 h 120650"/>
                <a:gd name="connsiteX11" fmla="*/ 39053 w 57150"/>
                <a:gd name="connsiteY11" fmla="*/ 105212 h 120650"/>
                <a:gd name="connsiteX12" fmla="*/ 44132 w 57150"/>
                <a:gd name="connsiteY12" fmla="*/ 94416 h 120650"/>
                <a:gd name="connsiteX13" fmla="*/ 20638 w 57150"/>
                <a:gd name="connsiteY13" fmla="*/ 62032 h 120650"/>
                <a:gd name="connsiteX14" fmla="*/ 13653 w 57150"/>
                <a:gd name="connsiteY14" fmla="*/ 57587 h 120650"/>
                <a:gd name="connsiteX15" fmla="*/ 13653 w 57150"/>
                <a:gd name="connsiteY15" fmla="*/ 46791 h 120650"/>
                <a:gd name="connsiteX16" fmla="*/ 20638 w 57150"/>
                <a:gd name="connsiteY16" fmla="*/ 50601 h 120650"/>
                <a:gd name="connsiteX17" fmla="*/ 41593 w 57150"/>
                <a:gd name="connsiteY17" fmla="*/ 44887 h 120650"/>
                <a:gd name="connsiteX18" fmla="*/ 25718 w 57150"/>
                <a:gd name="connsiteY18" fmla="*/ 19487 h 120650"/>
                <a:gd name="connsiteX19" fmla="*/ 8572 w 57150"/>
                <a:gd name="connsiteY19" fmla="*/ 16946 h 120650"/>
                <a:gd name="connsiteX20" fmla="*/ 8572 w 57150"/>
                <a:gd name="connsiteY20" fmla="*/ 4882 h 120650"/>
                <a:gd name="connsiteX21" fmla="*/ 28257 w 57150"/>
                <a:gd name="connsiteY21" fmla="*/ 10596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7150" h="120650">
                  <a:moveTo>
                    <a:pt x="28257" y="10596"/>
                  </a:moveTo>
                  <a:cubicBezTo>
                    <a:pt x="35878" y="15041"/>
                    <a:pt x="41593" y="20757"/>
                    <a:pt x="46038" y="27741"/>
                  </a:cubicBezTo>
                  <a:cubicBezTo>
                    <a:pt x="50482" y="34726"/>
                    <a:pt x="53022" y="41712"/>
                    <a:pt x="52388" y="48696"/>
                  </a:cubicBezTo>
                  <a:cubicBezTo>
                    <a:pt x="52388" y="62032"/>
                    <a:pt x="46672" y="67112"/>
                    <a:pt x="34607" y="63937"/>
                  </a:cubicBezTo>
                  <a:cubicBezTo>
                    <a:pt x="40957" y="68382"/>
                    <a:pt x="46038" y="74096"/>
                    <a:pt x="49213" y="80446"/>
                  </a:cubicBezTo>
                  <a:cubicBezTo>
                    <a:pt x="53022" y="86796"/>
                    <a:pt x="54928" y="93146"/>
                    <a:pt x="54928" y="99496"/>
                  </a:cubicBezTo>
                  <a:cubicBezTo>
                    <a:pt x="54928" y="108387"/>
                    <a:pt x="52388" y="114101"/>
                    <a:pt x="46672" y="116641"/>
                  </a:cubicBezTo>
                  <a:cubicBezTo>
                    <a:pt x="40957" y="119182"/>
                    <a:pt x="33338" y="117276"/>
                    <a:pt x="24447" y="112196"/>
                  </a:cubicBezTo>
                  <a:cubicBezTo>
                    <a:pt x="16193" y="107751"/>
                    <a:pt x="9843" y="102037"/>
                    <a:pt x="4763" y="95687"/>
                  </a:cubicBezTo>
                  <a:lnTo>
                    <a:pt x="4763" y="82351"/>
                  </a:lnTo>
                  <a:cubicBezTo>
                    <a:pt x="10478" y="91241"/>
                    <a:pt x="17463" y="97591"/>
                    <a:pt x="25082" y="102037"/>
                  </a:cubicBezTo>
                  <a:cubicBezTo>
                    <a:pt x="30797" y="105212"/>
                    <a:pt x="35878" y="106482"/>
                    <a:pt x="39053" y="105212"/>
                  </a:cubicBezTo>
                  <a:cubicBezTo>
                    <a:pt x="42863" y="103941"/>
                    <a:pt x="44132" y="100132"/>
                    <a:pt x="44132" y="94416"/>
                  </a:cubicBezTo>
                  <a:cubicBezTo>
                    <a:pt x="44132" y="81716"/>
                    <a:pt x="36513" y="70921"/>
                    <a:pt x="20638" y="62032"/>
                  </a:cubicBezTo>
                  <a:lnTo>
                    <a:pt x="13653" y="57587"/>
                  </a:lnTo>
                  <a:lnTo>
                    <a:pt x="13653" y="46791"/>
                  </a:lnTo>
                  <a:lnTo>
                    <a:pt x="20638" y="50601"/>
                  </a:lnTo>
                  <a:cubicBezTo>
                    <a:pt x="34607" y="58857"/>
                    <a:pt x="41593" y="56951"/>
                    <a:pt x="41593" y="44887"/>
                  </a:cubicBezTo>
                  <a:cubicBezTo>
                    <a:pt x="41593" y="34091"/>
                    <a:pt x="36513" y="25201"/>
                    <a:pt x="25718" y="19487"/>
                  </a:cubicBezTo>
                  <a:cubicBezTo>
                    <a:pt x="19368" y="15676"/>
                    <a:pt x="13653" y="15041"/>
                    <a:pt x="8572" y="16946"/>
                  </a:cubicBezTo>
                  <a:lnTo>
                    <a:pt x="8572" y="4882"/>
                  </a:lnTo>
                  <a:cubicBezTo>
                    <a:pt x="14288" y="4246"/>
                    <a:pt x="21272" y="6151"/>
                    <a:pt x="28257" y="10596"/>
                  </a:cubicBezTo>
                  <a:close/>
                </a:path>
              </a:pathLst>
            </a:custGeom>
            <a:solidFill>
              <a:srgbClr val="F8F8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4" name="任意多边形: 形状 1103"/>
            <p:cNvSpPr/>
            <p:nvPr/>
          </p:nvSpPr>
          <p:spPr>
            <a:xfrm>
              <a:off x="6198363" y="3330258"/>
              <a:ext cx="5200650" cy="3149600"/>
            </a:xfrm>
            <a:custGeom>
              <a:avLst/>
              <a:gdLst>
                <a:gd name="connsiteX0" fmla="*/ 2463672 w 5200650"/>
                <a:gd name="connsiteY0" fmla="*/ 3146743 h 3149600"/>
                <a:gd name="connsiteX1" fmla="*/ 5197982 w 5200650"/>
                <a:gd name="connsiteY1" fmla="*/ 1550352 h 3149600"/>
                <a:gd name="connsiteX2" fmla="*/ 2471292 w 5200650"/>
                <a:gd name="connsiteY2" fmla="*/ 4763 h 3149600"/>
                <a:gd name="connsiteX3" fmla="*/ 1973452 w 5200650"/>
                <a:gd name="connsiteY3" fmla="*/ 205422 h 3149600"/>
                <a:gd name="connsiteX4" fmla="*/ 1312417 w 5200650"/>
                <a:gd name="connsiteY4" fmla="*/ 502602 h 3149600"/>
                <a:gd name="connsiteX5" fmla="*/ 1149222 w 5200650"/>
                <a:gd name="connsiteY5" fmla="*/ 940752 h 3149600"/>
                <a:gd name="connsiteX6" fmla="*/ 131317 w 5200650"/>
                <a:gd name="connsiteY6" fmla="*/ 1342072 h 3149600"/>
                <a:gd name="connsiteX7" fmla="*/ 153542 w 5200650"/>
                <a:gd name="connsiteY7" fmla="*/ 1839913 h 3149600"/>
                <a:gd name="connsiteX8" fmla="*/ 2463672 w 5200650"/>
                <a:gd name="connsiteY8" fmla="*/ 3146743 h 314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00650" h="3149600">
                  <a:moveTo>
                    <a:pt x="2463672" y="3146743"/>
                  </a:moveTo>
                  <a:lnTo>
                    <a:pt x="5197982" y="1550352"/>
                  </a:lnTo>
                  <a:lnTo>
                    <a:pt x="2471292" y="4763"/>
                  </a:lnTo>
                  <a:cubicBezTo>
                    <a:pt x="2411602" y="167958"/>
                    <a:pt x="2144267" y="205422"/>
                    <a:pt x="1973452" y="205422"/>
                  </a:cubicBezTo>
                  <a:cubicBezTo>
                    <a:pt x="1802637" y="205422"/>
                    <a:pt x="1260347" y="331788"/>
                    <a:pt x="1312417" y="502602"/>
                  </a:cubicBezTo>
                  <a:cubicBezTo>
                    <a:pt x="1364487" y="673417"/>
                    <a:pt x="1267967" y="844233"/>
                    <a:pt x="1149222" y="940752"/>
                  </a:cubicBezTo>
                  <a:cubicBezTo>
                    <a:pt x="1030477" y="1037272"/>
                    <a:pt x="428497" y="1193483"/>
                    <a:pt x="131317" y="1342072"/>
                  </a:cubicBezTo>
                  <a:cubicBezTo>
                    <a:pt x="-165863" y="1490663"/>
                    <a:pt x="153542" y="1839913"/>
                    <a:pt x="153542" y="1839913"/>
                  </a:cubicBezTo>
                  <a:lnTo>
                    <a:pt x="2463672" y="314674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5" name="任意多边形: 形状 1104"/>
            <p:cNvSpPr/>
            <p:nvPr/>
          </p:nvSpPr>
          <p:spPr>
            <a:xfrm>
              <a:off x="6371908" y="3534092"/>
              <a:ext cx="4159250" cy="2711450"/>
            </a:xfrm>
            <a:custGeom>
              <a:avLst/>
              <a:gdLst>
                <a:gd name="connsiteX0" fmla="*/ 2469198 w 4159250"/>
                <a:gd name="connsiteY0" fmla="*/ 2367598 h 2711450"/>
                <a:gd name="connsiteX1" fmla="*/ 4156393 w 4159250"/>
                <a:gd name="connsiteY1" fmla="*/ 1391603 h 2711450"/>
                <a:gd name="connsiteX2" fmla="*/ 1742123 w 4159250"/>
                <a:gd name="connsiteY2" fmla="*/ 4763 h 2711450"/>
                <a:gd name="connsiteX3" fmla="*/ 1683067 w 4159250"/>
                <a:gd name="connsiteY3" fmla="*/ 12383 h 2711450"/>
                <a:gd name="connsiteX4" fmla="*/ 2263458 w 4159250"/>
                <a:gd name="connsiteY4" fmla="*/ 345758 h 2711450"/>
                <a:gd name="connsiteX5" fmla="*/ 4763 w 4159250"/>
                <a:gd name="connsiteY5" fmla="*/ 1650683 h 2711450"/>
                <a:gd name="connsiteX6" fmla="*/ 40958 w 4159250"/>
                <a:gd name="connsiteY6" fmla="*/ 1671003 h 2711450"/>
                <a:gd name="connsiteX7" fmla="*/ 2299652 w 4159250"/>
                <a:gd name="connsiteY7" fmla="*/ 366713 h 2711450"/>
                <a:gd name="connsiteX8" fmla="*/ 2736533 w 4159250"/>
                <a:gd name="connsiteY8" fmla="*/ 617538 h 2711450"/>
                <a:gd name="connsiteX9" fmla="*/ 445452 w 4159250"/>
                <a:gd name="connsiteY9" fmla="*/ 1898967 h 2711450"/>
                <a:gd name="connsiteX10" fmla="*/ 482283 w 4159250"/>
                <a:gd name="connsiteY10" fmla="*/ 1919923 h 2711450"/>
                <a:gd name="connsiteX11" fmla="*/ 2772727 w 4159250"/>
                <a:gd name="connsiteY11" fmla="*/ 638492 h 2711450"/>
                <a:gd name="connsiteX12" fmla="*/ 3169602 w 4159250"/>
                <a:gd name="connsiteY12" fmla="*/ 866458 h 2711450"/>
                <a:gd name="connsiteX13" fmla="*/ 928052 w 4159250"/>
                <a:gd name="connsiteY13" fmla="*/ 2172018 h 2711450"/>
                <a:gd name="connsiteX14" fmla="*/ 964248 w 4159250"/>
                <a:gd name="connsiteY14" fmla="*/ 2192338 h 2711450"/>
                <a:gd name="connsiteX15" fmla="*/ 1524317 w 4159250"/>
                <a:gd name="connsiteY15" fmla="*/ 1865948 h 2711450"/>
                <a:gd name="connsiteX16" fmla="*/ 1927542 w 4159250"/>
                <a:gd name="connsiteY16" fmla="*/ 2097723 h 2711450"/>
                <a:gd name="connsiteX17" fmla="*/ 1363027 w 4159250"/>
                <a:gd name="connsiteY17" fmla="*/ 2417128 h 2711450"/>
                <a:gd name="connsiteX18" fmla="*/ 1399858 w 4159250"/>
                <a:gd name="connsiteY18" fmla="*/ 2438083 h 2711450"/>
                <a:gd name="connsiteX19" fmla="*/ 1964373 w 4159250"/>
                <a:gd name="connsiteY19" fmla="*/ 2119313 h 2711450"/>
                <a:gd name="connsiteX20" fmla="*/ 2396808 w 4159250"/>
                <a:gd name="connsiteY20" fmla="*/ 2368233 h 2711450"/>
                <a:gd name="connsiteX21" fmla="*/ 1842452 w 4159250"/>
                <a:gd name="connsiteY21" fmla="*/ 2688908 h 2711450"/>
                <a:gd name="connsiteX22" fmla="*/ 1878648 w 4159250"/>
                <a:gd name="connsiteY22" fmla="*/ 2709228 h 2711450"/>
                <a:gd name="connsiteX23" fmla="*/ 2432368 w 4159250"/>
                <a:gd name="connsiteY23" fmla="*/ 2389188 h 2711450"/>
                <a:gd name="connsiteX24" fmla="*/ 2831148 w 4159250"/>
                <a:gd name="connsiteY24" fmla="*/ 2618423 h 2711450"/>
                <a:gd name="connsiteX25" fmla="*/ 2867343 w 4159250"/>
                <a:gd name="connsiteY25" fmla="*/ 2597468 h 2711450"/>
                <a:gd name="connsiteX26" fmla="*/ 2469198 w 4159250"/>
                <a:gd name="connsiteY26" fmla="*/ 2367598 h 2711450"/>
                <a:gd name="connsiteX27" fmla="*/ 1561148 w 4159250"/>
                <a:gd name="connsiteY27" fmla="*/ 1845628 h 2711450"/>
                <a:gd name="connsiteX28" fmla="*/ 3206433 w 4159250"/>
                <a:gd name="connsiteY28" fmla="*/ 887413 h 2711450"/>
                <a:gd name="connsiteX29" fmla="*/ 3635693 w 4159250"/>
                <a:gd name="connsiteY29" fmla="*/ 1133792 h 2711450"/>
                <a:gd name="connsiteX30" fmla="*/ 1965642 w 4159250"/>
                <a:gd name="connsiteY30" fmla="*/ 2077403 h 2711450"/>
                <a:gd name="connsiteX31" fmla="*/ 1561148 w 4159250"/>
                <a:gd name="connsiteY31" fmla="*/ 1845628 h 2711450"/>
                <a:gd name="connsiteX32" fmla="*/ 2433002 w 4159250"/>
                <a:gd name="connsiteY32" fmla="*/ 2347278 h 2711450"/>
                <a:gd name="connsiteX33" fmla="*/ 2001202 w 4159250"/>
                <a:gd name="connsiteY33" fmla="*/ 2098993 h 2711450"/>
                <a:gd name="connsiteX34" fmla="*/ 3671252 w 4159250"/>
                <a:gd name="connsiteY34" fmla="*/ 1155383 h 2711450"/>
                <a:gd name="connsiteX35" fmla="*/ 4084637 w 4159250"/>
                <a:gd name="connsiteY35" fmla="*/ 1392873 h 2711450"/>
                <a:gd name="connsiteX36" fmla="*/ 2433002 w 4159250"/>
                <a:gd name="connsiteY36" fmla="*/ 2347278 h 271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159250" h="2711450">
                  <a:moveTo>
                    <a:pt x="2469198" y="2367598"/>
                  </a:moveTo>
                  <a:lnTo>
                    <a:pt x="4156393" y="1391603"/>
                  </a:lnTo>
                  <a:lnTo>
                    <a:pt x="1742123" y="4763"/>
                  </a:lnTo>
                  <a:cubicBezTo>
                    <a:pt x="1723708" y="6667"/>
                    <a:pt x="1704023" y="9208"/>
                    <a:pt x="1683067" y="12383"/>
                  </a:cubicBezTo>
                  <a:lnTo>
                    <a:pt x="2263458" y="345758"/>
                  </a:lnTo>
                  <a:lnTo>
                    <a:pt x="4763" y="1650683"/>
                  </a:lnTo>
                  <a:lnTo>
                    <a:pt x="40958" y="1671003"/>
                  </a:lnTo>
                  <a:lnTo>
                    <a:pt x="2299652" y="366713"/>
                  </a:lnTo>
                  <a:lnTo>
                    <a:pt x="2736533" y="617538"/>
                  </a:lnTo>
                  <a:lnTo>
                    <a:pt x="445452" y="1898967"/>
                  </a:lnTo>
                  <a:lnTo>
                    <a:pt x="482283" y="1919923"/>
                  </a:lnTo>
                  <a:lnTo>
                    <a:pt x="2772727" y="638492"/>
                  </a:lnTo>
                  <a:lnTo>
                    <a:pt x="3169602" y="866458"/>
                  </a:lnTo>
                  <a:lnTo>
                    <a:pt x="928052" y="2172018"/>
                  </a:lnTo>
                  <a:lnTo>
                    <a:pt x="964248" y="2192338"/>
                  </a:lnTo>
                  <a:lnTo>
                    <a:pt x="1524317" y="1865948"/>
                  </a:lnTo>
                  <a:lnTo>
                    <a:pt x="1927542" y="2097723"/>
                  </a:lnTo>
                  <a:lnTo>
                    <a:pt x="1363027" y="2417128"/>
                  </a:lnTo>
                  <a:lnTo>
                    <a:pt x="1399858" y="2438083"/>
                  </a:lnTo>
                  <a:lnTo>
                    <a:pt x="1964373" y="2119313"/>
                  </a:lnTo>
                  <a:lnTo>
                    <a:pt x="2396808" y="2368233"/>
                  </a:lnTo>
                  <a:lnTo>
                    <a:pt x="1842452" y="2688908"/>
                  </a:lnTo>
                  <a:lnTo>
                    <a:pt x="1878648" y="2709228"/>
                  </a:lnTo>
                  <a:lnTo>
                    <a:pt x="2432368" y="2389188"/>
                  </a:lnTo>
                  <a:lnTo>
                    <a:pt x="2831148" y="2618423"/>
                  </a:lnTo>
                  <a:lnTo>
                    <a:pt x="2867343" y="2597468"/>
                  </a:lnTo>
                  <a:lnTo>
                    <a:pt x="2469198" y="2367598"/>
                  </a:lnTo>
                  <a:close/>
                  <a:moveTo>
                    <a:pt x="1561148" y="1845628"/>
                  </a:moveTo>
                  <a:lnTo>
                    <a:pt x="3206433" y="887413"/>
                  </a:lnTo>
                  <a:lnTo>
                    <a:pt x="3635693" y="1133792"/>
                  </a:lnTo>
                  <a:lnTo>
                    <a:pt x="1965642" y="2077403"/>
                  </a:lnTo>
                  <a:lnTo>
                    <a:pt x="1561148" y="1845628"/>
                  </a:lnTo>
                  <a:close/>
                  <a:moveTo>
                    <a:pt x="2433002" y="2347278"/>
                  </a:moveTo>
                  <a:lnTo>
                    <a:pt x="2001202" y="2098993"/>
                  </a:lnTo>
                  <a:lnTo>
                    <a:pt x="3671252" y="1155383"/>
                  </a:lnTo>
                  <a:lnTo>
                    <a:pt x="4084637" y="1392873"/>
                  </a:lnTo>
                  <a:lnTo>
                    <a:pt x="2433002" y="234727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6" name="任意多边形: 形状 1105"/>
            <p:cNvSpPr/>
            <p:nvPr/>
          </p:nvSpPr>
          <p:spPr>
            <a:xfrm>
              <a:off x="6373178" y="5018927"/>
              <a:ext cx="990600" cy="317500"/>
            </a:xfrm>
            <a:custGeom>
              <a:avLst/>
              <a:gdLst>
                <a:gd name="connsiteX0" fmla="*/ 525463 w 990600"/>
                <a:gd name="connsiteY0" fmla="*/ 264908 h 317500"/>
                <a:gd name="connsiteX1" fmla="*/ 763588 w 990600"/>
                <a:gd name="connsiteY1" fmla="*/ 200138 h 317500"/>
                <a:gd name="connsiteX2" fmla="*/ 985203 w 990600"/>
                <a:gd name="connsiteY2" fmla="*/ 89648 h 317500"/>
                <a:gd name="connsiteX3" fmla="*/ 915988 w 990600"/>
                <a:gd name="connsiteY3" fmla="*/ 24243 h 317500"/>
                <a:gd name="connsiteX4" fmla="*/ 289878 w 990600"/>
                <a:gd name="connsiteY4" fmla="*/ 69328 h 317500"/>
                <a:gd name="connsiteX5" fmla="*/ 4763 w 990600"/>
                <a:gd name="connsiteY5" fmla="*/ 165848 h 317500"/>
                <a:gd name="connsiteX6" fmla="*/ 274003 w 990600"/>
                <a:gd name="connsiteY6" fmla="*/ 317613 h 317500"/>
                <a:gd name="connsiteX7" fmla="*/ 525463 w 990600"/>
                <a:gd name="connsiteY7" fmla="*/ 264908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0600" h="317500">
                  <a:moveTo>
                    <a:pt x="525463" y="264908"/>
                  </a:moveTo>
                  <a:cubicBezTo>
                    <a:pt x="816292" y="235063"/>
                    <a:pt x="763588" y="200138"/>
                    <a:pt x="763588" y="200138"/>
                  </a:cubicBezTo>
                  <a:cubicBezTo>
                    <a:pt x="790257" y="228713"/>
                    <a:pt x="970597" y="134733"/>
                    <a:pt x="985203" y="89648"/>
                  </a:cubicBezTo>
                  <a:cubicBezTo>
                    <a:pt x="999807" y="45198"/>
                    <a:pt x="915988" y="24243"/>
                    <a:pt x="915988" y="24243"/>
                  </a:cubicBezTo>
                  <a:cubicBezTo>
                    <a:pt x="834072" y="-39257"/>
                    <a:pt x="501967" y="73138"/>
                    <a:pt x="289878" y="69328"/>
                  </a:cubicBezTo>
                  <a:cubicBezTo>
                    <a:pt x="228917" y="68058"/>
                    <a:pt x="105727" y="120128"/>
                    <a:pt x="4763" y="165848"/>
                  </a:cubicBezTo>
                  <a:lnTo>
                    <a:pt x="274003" y="317613"/>
                  </a:lnTo>
                  <a:cubicBezTo>
                    <a:pt x="371157" y="312533"/>
                    <a:pt x="435928" y="274433"/>
                    <a:pt x="525463" y="264908"/>
                  </a:cubicBezTo>
                  <a:close/>
                </a:path>
              </a:pathLst>
            </a:custGeom>
            <a:solidFill>
              <a:srgbClr val="CCD8EA">
                <a:alpha val="4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7" name="任意多边形: 形状 1106"/>
            <p:cNvSpPr/>
            <p:nvPr/>
          </p:nvSpPr>
          <p:spPr>
            <a:xfrm>
              <a:off x="6898322" y="3901751"/>
              <a:ext cx="2692400" cy="1625600"/>
            </a:xfrm>
            <a:custGeom>
              <a:avLst/>
              <a:gdLst>
                <a:gd name="connsiteX0" fmla="*/ 2690813 w 2692400"/>
                <a:gd name="connsiteY0" fmla="*/ 1143959 h 1625600"/>
                <a:gd name="connsiteX1" fmla="*/ 2544128 w 2692400"/>
                <a:gd name="connsiteY1" fmla="*/ 765499 h 1625600"/>
                <a:gd name="connsiteX2" fmla="*/ 1347788 w 2692400"/>
                <a:gd name="connsiteY2" fmla="*/ 4769 h 1625600"/>
                <a:gd name="connsiteX3" fmla="*/ 627063 w 2692400"/>
                <a:gd name="connsiteY3" fmla="*/ 26358 h 1625600"/>
                <a:gd name="connsiteX4" fmla="*/ 449263 w 2692400"/>
                <a:gd name="connsiteY4" fmla="*/ 369258 h 1625600"/>
                <a:gd name="connsiteX5" fmla="*/ 4763 w 2692400"/>
                <a:gd name="connsiteY5" fmla="*/ 550869 h 1625600"/>
                <a:gd name="connsiteX6" fmla="*/ 1798003 w 2692400"/>
                <a:gd name="connsiteY6" fmla="*/ 1624019 h 1625600"/>
                <a:gd name="connsiteX7" fmla="*/ 2237422 w 2692400"/>
                <a:gd name="connsiteY7" fmla="*/ 1410024 h 1625600"/>
                <a:gd name="connsiteX8" fmla="*/ 2690813 w 2692400"/>
                <a:gd name="connsiteY8" fmla="*/ 1143959 h 162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2400" h="1625600">
                  <a:moveTo>
                    <a:pt x="2690813" y="1143959"/>
                  </a:moveTo>
                  <a:cubicBezTo>
                    <a:pt x="2690813" y="1143959"/>
                    <a:pt x="2680018" y="881704"/>
                    <a:pt x="2544128" y="765499"/>
                  </a:cubicBezTo>
                  <a:cubicBezTo>
                    <a:pt x="2161858" y="439744"/>
                    <a:pt x="1352233" y="2864"/>
                    <a:pt x="1347788" y="4769"/>
                  </a:cubicBezTo>
                  <a:cubicBezTo>
                    <a:pt x="1342072" y="6674"/>
                    <a:pt x="817563" y="21279"/>
                    <a:pt x="627063" y="26358"/>
                  </a:cubicBezTo>
                  <a:cubicBezTo>
                    <a:pt x="627697" y="162883"/>
                    <a:pt x="545783" y="290519"/>
                    <a:pt x="449263" y="369258"/>
                  </a:cubicBezTo>
                  <a:cubicBezTo>
                    <a:pt x="389572" y="417519"/>
                    <a:pt x="208597" y="481019"/>
                    <a:pt x="4763" y="550869"/>
                  </a:cubicBezTo>
                  <a:cubicBezTo>
                    <a:pt x="494983" y="911549"/>
                    <a:pt x="1788478" y="1637989"/>
                    <a:pt x="1798003" y="1624019"/>
                  </a:cubicBezTo>
                  <a:cubicBezTo>
                    <a:pt x="1810068" y="1606239"/>
                    <a:pt x="2083118" y="1457014"/>
                    <a:pt x="2237422" y="1410024"/>
                  </a:cubicBezTo>
                  <a:cubicBezTo>
                    <a:pt x="2391728" y="1363034"/>
                    <a:pt x="2690813" y="1143959"/>
                    <a:pt x="2690813" y="1143959"/>
                  </a:cubicBezTo>
                  <a:close/>
                </a:path>
              </a:pathLst>
            </a:custGeom>
            <a:solidFill>
              <a:srgbClr val="CCD8EA">
                <a:alpha val="4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8" name="任意多边形: 形状 1107"/>
            <p:cNvSpPr/>
            <p:nvPr/>
          </p:nvSpPr>
          <p:spPr>
            <a:xfrm>
              <a:off x="7849553" y="4378642"/>
              <a:ext cx="44450" cy="203200"/>
            </a:xfrm>
            <a:custGeom>
              <a:avLst/>
              <a:gdLst>
                <a:gd name="connsiteX0" fmla="*/ 4763 w 44450"/>
                <a:gd name="connsiteY0" fmla="*/ 7938 h 203200"/>
                <a:gd name="connsiteX1" fmla="*/ 9842 w 44450"/>
                <a:gd name="connsiteY1" fmla="*/ 176848 h 203200"/>
                <a:gd name="connsiteX2" fmla="*/ 42863 w 44450"/>
                <a:gd name="connsiteY2" fmla="*/ 202883 h 203200"/>
                <a:gd name="connsiteX3" fmla="*/ 44132 w 44450"/>
                <a:gd name="connsiteY3" fmla="*/ 4763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203200">
                  <a:moveTo>
                    <a:pt x="4763" y="7938"/>
                  </a:moveTo>
                  <a:lnTo>
                    <a:pt x="9842" y="176848"/>
                  </a:lnTo>
                  <a:lnTo>
                    <a:pt x="42863" y="202883"/>
                  </a:lnTo>
                  <a:lnTo>
                    <a:pt x="44132" y="4763"/>
                  </a:lnTo>
                  <a:close/>
                </a:path>
              </a:pathLst>
            </a:custGeom>
            <a:solidFill>
              <a:srgbClr val="B5CE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9" name="任意多边形: 形状 1108"/>
            <p:cNvSpPr/>
            <p:nvPr/>
          </p:nvSpPr>
          <p:spPr>
            <a:xfrm>
              <a:off x="7887653" y="4378642"/>
              <a:ext cx="50800" cy="203200"/>
            </a:xfrm>
            <a:custGeom>
              <a:avLst/>
              <a:gdLst>
                <a:gd name="connsiteX0" fmla="*/ 47942 w 50800"/>
                <a:gd name="connsiteY0" fmla="*/ 172403 h 203200"/>
                <a:gd name="connsiteX1" fmla="*/ 4763 w 50800"/>
                <a:gd name="connsiteY1" fmla="*/ 202883 h 203200"/>
                <a:gd name="connsiteX2" fmla="*/ 6032 w 50800"/>
                <a:gd name="connsiteY2" fmla="*/ 4763 h 203200"/>
                <a:gd name="connsiteX3" fmla="*/ 50482 w 50800"/>
                <a:gd name="connsiteY3" fmla="*/ 28892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203200">
                  <a:moveTo>
                    <a:pt x="47942" y="172403"/>
                  </a:moveTo>
                  <a:lnTo>
                    <a:pt x="4763" y="202883"/>
                  </a:lnTo>
                  <a:lnTo>
                    <a:pt x="6032" y="4763"/>
                  </a:lnTo>
                  <a:lnTo>
                    <a:pt x="50482" y="28892"/>
                  </a:lnTo>
                  <a:close/>
                </a:path>
              </a:pathLst>
            </a:custGeom>
            <a:solidFill>
              <a:srgbClr val="9CB5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0" name="任意多边形: 形状 1109"/>
            <p:cNvSpPr/>
            <p:nvPr/>
          </p:nvSpPr>
          <p:spPr>
            <a:xfrm>
              <a:off x="9110028" y="4958397"/>
              <a:ext cx="44450" cy="349250"/>
            </a:xfrm>
            <a:custGeom>
              <a:avLst/>
              <a:gdLst>
                <a:gd name="connsiteX0" fmla="*/ 4763 w 44450"/>
                <a:gd name="connsiteY0" fmla="*/ 7303 h 349250"/>
                <a:gd name="connsiteX1" fmla="*/ 9207 w 44450"/>
                <a:gd name="connsiteY1" fmla="*/ 320358 h 349250"/>
                <a:gd name="connsiteX2" fmla="*/ 42863 w 44450"/>
                <a:gd name="connsiteY2" fmla="*/ 347028 h 349250"/>
                <a:gd name="connsiteX3" fmla="*/ 44132 w 44450"/>
                <a:gd name="connsiteY3" fmla="*/ 4763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349250">
                  <a:moveTo>
                    <a:pt x="4763" y="7303"/>
                  </a:moveTo>
                  <a:lnTo>
                    <a:pt x="9207" y="320358"/>
                  </a:lnTo>
                  <a:lnTo>
                    <a:pt x="42863" y="347028"/>
                  </a:lnTo>
                  <a:lnTo>
                    <a:pt x="44132" y="4763"/>
                  </a:lnTo>
                  <a:close/>
                </a:path>
              </a:pathLst>
            </a:custGeom>
            <a:solidFill>
              <a:srgbClr val="B5CE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1" name="任意多边形: 形状 1110"/>
            <p:cNvSpPr/>
            <p:nvPr/>
          </p:nvSpPr>
          <p:spPr>
            <a:xfrm>
              <a:off x="9148128" y="4958397"/>
              <a:ext cx="50800" cy="349250"/>
            </a:xfrm>
            <a:custGeom>
              <a:avLst/>
              <a:gdLst>
                <a:gd name="connsiteX0" fmla="*/ 47942 w 50800"/>
                <a:gd name="connsiteY0" fmla="*/ 315913 h 349250"/>
                <a:gd name="connsiteX1" fmla="*/ 4763 w 50800"/>
                <a:gd name="connsiteY1" fmla="*/ 347028 h 349250"/>
                <a:gd name="connsiteX2" fmla="*/ 6032 w 50800"/>
                <a:gd name="connsiteY2" fmla="*/ 4763 h 349250"/>
                <a:gd name="connsiteX3" fmla="*/ 49847 w 50800"/>
                <a:gd name="connsiteY3" fmla="*/ 28893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349250">
                  <a:moveTo>
                    <a:pt x="47942" y="315913"/>
                  </a:moveTo>
                  <a:lnTo>
                    <a:pt x="4763" y="347028"/>
                  </a:lnTo>
                  <a:lnTo>
                    <a:pt x="6032" y="4763"/>
                  </a:lnTo>
                  <a:lnTo>
                    <a:pt x="49847" y="28893"/>
                  </a:lnTo>
                  <a:close/>
                </a:path>
              </a:pathLst>
            </a:custGeom>
            <a:solidFill>
              <a:srgbClr val="9CB5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2" name="任意多边形: 形状 1111"/>
            <p:cNvSpPr/>
            <p:nvPr/>
          </p:nvSpPr>
          <p:spPr>
            <a:xfrm>
              <a:off x="9503093" y="4729797"/>
              <a:ext cx="44450" cy="349250"/>
            </a:xfrm>
            <a:custGeom>
              <a:avLst/>
              <a:gdLst>
                <a:gd name="connsiteX0" fmla="*/ 4763 w 44450"/>
                <a:gd name="connsiteY0" fmla="*/ 7303 h 349250"/>
                <a:gd name="connsiteX1" fmla="*/ 9842 w 44450"/>
                <a:gd name="connsiteY1" fmla="*/ 320993 h 349250"/>
                <a:gd name="connsiteX2" fmla="*/ 42863 w 44450"/>
                <a:gd name="connsiteY2" fmla="*/ 347028 h 349250"/>
                <a:gd name="connsiteX3" fmla="*/ 44132 w 44450"/>
                <a:gd name="connsiteY3" fmla="*/ 4763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349250">
                  <a:moveTo>
                    <a:pt x="4763" y="7303"/>
                  </a:moveTo>
                  <a:lnTo>
                    <a:pt x="9842" y="320993"/>
                  </a:lnTo>
                  <a:lnTo>
                    <a:pt x="42863" y="347028"/>
                  </a:lnTo>
                  <a:lnTo>
                    <a:pt x="44132" y="4763"/>
                  </a:lnTo>
                  <a:close/>
                </a:path>
              </a:pathLst>
            </a:custGeom>
            <a:solidFill>
              <a:srgbClr val="B5CE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3" name="任意多边形: 形状 1112"/>
            <p:cNvSpPr/>
            <p:nvPr/>
          </p:nvSpPr>
          <p:spPr>
            <a:xfrm>
              <a:off x="9541193" y="4729797"/>
              <a:ext cx="50800" cy="349250"/>
            </a:xfrm>
            <a:custGeom>
              <a:avLst/>
              <a:gdLst>
                <a:gd name="connsiteX0" fmla="*/ 47942 w 50800"/>
                <a:gd name="connsiteY0" fmla="*/ 315913 h 349250"/>
                <a:gd name="connsiteX1" fmla="*/ 4763 w 50800"/>
                <a:gd name="connsiteY1" fmla="*/ 347028 h 349250"/>
                <a:gd name="connsiteX2" fmla="*/ 6032 w 50800"/>
                <a:gd name="connsiteY2" fmla="*/ 4763 h 349250"/>
                <a:gd name="connsiteX3" fmla="*/ 50482 w 50800"/>
                <a:gd name="connsiteY3" fmla="*/ 28893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349250">
                  <a:moveTo>
                    <a:pt x="47942" y="315913"/>
                  </a:moveTo>
                  <a:lnTo>
                    <a:pt x="4763" y="347028"/>
                  </a:lnTo>
                  <a:lnTo>
                    <a:pt x="6032" y="4763"/>
                  </a:lnTo>
                  <a:lnTo>
                    <a:pt x="50482" y="28893"/>
                  </a:lnTo>
                  <a:close/>
                </a:path>
              </a:pathLst>
            </a:custGeom>
            <a:solidFill>
              <a:srgbClr val="9CB5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4" name="任意多边形: 形状 1113"/>
            <p:cNvSpPr/>
            <p:nvPr/>
          </p:nvSpPr>
          <p:spPr>
            <a:xfrm>
              <a:off x="7714111" y="3899853"/>
              <a:ext cx="1924050" cy="1193800"/>
            </a:xfrm>
            <a:custGeom>
              <a:avLst/>
              <a:gdLst>
                <a:gd name="connsiteX0" fmla="*/ 538349 w 1924050"/>
                <a:gd name="connsiteY0" fmla="*/ 4763 h 1193800"/>
                <a:gd name="connsiteX1" fmla="*/ 44954 w 1924050"/>
                <a:gd name="connsiteY1" fmla="*/ 295592 h 1193800"/>
                <a:gd name="connsiteX2" fmla="*/ 8759 w 1924050"/>
                <a:gd name="connsiteY2" fmla="*/ 403542 h 1193800"/>
                <a:gd name="connsiteX3" fmla="*/ 156079 w 1924050"/>
                <a:gd name="connsiteY3" fmla="*/ 514667 h 1193800"/>
                <a:gd name="connsiteX4" fmla="*/ 1328924 w 1924050"/>
                <a:gd name="connsiteY4" fmla="*/ 1190942 h 1193800"/>
                <a:gd name="connsiteX5" fmla="*/ 1845179 w 1924050"/>
                <a:gd name="connsiteY5" fmla="*/ 893763 h 1193800"/>
                <a:gd name="connsiteX6" fmla="*/ 1920109 w 1924050"/>
                <a:gd name="connsiteY6" fmla="*/ 684847 h 1193800"/>
                <a:gd name="connsiteX7" fmla="*/ 538349 w 1924050"/>
                <a:gd name="connsiteY7" fmla="*/ 4763 h 1193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4050" h="1193800">
                  <a:moveTo>
                    <a:pt x="538349" y="4763"/>
                  </a:moveTo>
                  <a:lnTo>
                    <a:pt x="44954" y="295592"/>
                  </a:lnTo>
                  <a:cubicBezTo>
                    <a:pt x="44954" y="295592"/>
                    <a:pt x="-10291" y="341313"/>
                    <a:pt x="8759" y="403542"/>
                  </a:cubicBezTo>
                  <a:cubicBezTo>
                    <a:pt x="27809" y="465772"/>
                    <a:pt x="86864" y="472122"/>
                    <a:pt x="156079" y="514667"/>
                  </a:cubicBezTo>
                  <a:cubicBezTo>
                    <a:pt x="224659" y="557213"/>
                    <a:pt x="1328924" y="1190942"/>
                    <a:pt x="1328924" y="1190942"/>
                  </a:cubicBezTo>
                  <a:lnTo>
                    <a:pt x="1845179" y="893763"/>
                  </a:lnTo>
                  <a:lnTo>
                    <a:pt x="1920109" y="684847"/>
                  </a:lnTo>
                  <a:lnTo>
                    <a:pt x="538349" y="4763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5" name="任意多边形: 形状 1114"/>
            <p:cNvSpPr/>
            <p:nvPr/>
          </p:nvSpPr>
          <p:spPr>
            <a:xfrm>
              <a:off x="9008945" y="4085908"/>
              <a:ext cx="679450" cy="1003300"/>
            </a:xfrm>
            <a:custGeom>
              <a:avLst/>
              <a:gdLst>
                <a:gd name="connsiteX0" fmla="*/ 677980 w 679450"/>
                <a:gd name="connsiteY0" fmla="*/ 641667 h 1003300"/>
                <a:gd name="connsiteX1" fmla="*/ 63935 w 679450"/>
                <a:gd name="connsiteY1" fmla="*/ 1001077 h 1003300"/>
                <a:gd name="connsiteX2" fmla="*/ 4880 w 679450"/>
                <a:gd name="connsiteY2" fmla="*/ 958533 h 1003300"/>
                <a:gd name="connsiteX3" fmla="*/ 89970 w 679450"/>
                <a:gd name="connsiteY3" fmla="*/ 821372 h 1003300"/>
                <a:gd name="connsiteX4" fmla="*/ 540820 w 679450"/>
                <a:gd name="connsiteY4" fmla="*/ 559752 h 1003300"/>
                <a:gd name="connsiteX5" fmla="*/ 521135 w 679450"/>
                <a:gd name="connsiteY5" fmla="*/ 60008 h 1003300"/>
                <a:gd name="connsiteX6" fmla="*/ 576380 w 679450"/>
                <a:gd name="connsiteY6" fmla="*/ 4763 h 1003300"/>
                <a:gd name="connsiteX7" fmla="*/ 677980 w 679450"/>
                <a:gd name="connsiteY7" fmla="*/ 33972 h 1003300"/>
                <a:gd name="connsiteX8" fmla="*/ 677980 w 679450"/>
                <a:gd name="connsiteY8" fmla="*/ 641667 h 1003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9450" h="1003300">
                  <a:moveTo>
                    <a:pt x="677980" y="641667"/>
                  </a:moveTo>
                  <a:lnTo>
                    <a:pt x="63935" y="1001077"/>
                  </a:lnTo>
                  <a:cubicBezTo>
                    <a:pt x="63935" y="1001077"/>
                    <a:pt x="1705" y="1020763"/>
                    <a:pt x="4880" y="958533"/>
                  </a:cubicBezTo>
                  <a:cubicBezTo>
                    <a:pt x="8055" y="896302"/>
                    <a:pt x="34090" y="847408"/>
                    <a:pt x="89970" y="821372"/>
                  </a:cubicBezTo>
                  <a:cubicBezTo>
                    <a:pt x="145215" y="795338"/>
                    <a:pt x="540820" y="559752"/>
                    <a:pt x="540820" y="559752"/>
                  </a:cubicBezTo>
                  <a:lnTo>
                    <a:pt x="521135" y="60008"/>
                  </a:lnTo>
                  <a:lnTo>
                    <a:pt x="576380" y="4763"/>
                  </a:lnTo>
                  <a:lnTo>
                    <a:pt x="677980" y="33972"/>
                  </a:lnTo>
                  <a:lnTo>
                    <a:pt x="677980" y="641667"/>
                  </a:lnTo>
                  <a:close/>
                </a:path>
              </a:pathLst>
            </a:custGeom>
            <a:solidFill>
              <a:srgbClr val="D4DE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6" name="任意多边形: 形状 1115"/>
            <p:cNvSpPr/>
            <p:nvPr/>
          </p:nvSpPr>
          <p:spPr>
            <a:xfrm>
              <a:off x="8247697" y="3350929"/>
              <a:ext cx="1441450" cy="1295400"/>
            </a:xfrm>
            <a:custGeom>
              <a:avLst/>
              <a:gdLst>
                <a:gd name="connsiteX0" fmla="*/ 4763 w 1441450"/>
                <a:gd name="connsiteY0" fmla="*/ 553686 h 1295400"/>
                <a:gd name="connsiteX1" fmla="*/ 4763 w 1441450"/>
                <a:gd name="connsiteY1" fmla="*/ 122521 h 1295400"/>
                <a:gd name="connsiteX2" fmla="*/ 109538 w 1441450"/>
                <a:gd name="connsiteY2" fmla="*/ 5046 h 1295400"/>
                <a:gd name="connsiteX3" fmla="*/ 1439228 w 1441450"/>
                <a:gd name="connsiteY3" fmla="*/ 769586 h 1295400"/>
                <a:gd name="connsiteX4" fmla="*/ 1334453 w 1441450"/>
                <a:gd name="connsiteY4" fmla="*/ 786096 h 1295400"/>
                <a:gd name="connsiteX5" fmla="*/ 1298258 w 1441450"/>
                <a:gd name="connsiteY5" fmla="*/ 959451 h 1295400"/>
                <a:gd name="connsiteX6" fmla="*/ 1301433 w 1441450"/>
                <a:gd name="connsiteY6" fmla="*/ 1296001 h 1295400"/>
                <a:gd name="connsiteX7" fmla="*/ 4763 w 1441450"/>
                <a:gd name="connsiteY7" fmla="*/ 553686 h 129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1450" h="1295400">
                  <a:moveTo>
                    <a:pt x="4763" y="553686"/>
                  </a:moveTo>
                  <a:lnTo>
                    <a:pt x="4763" y="122521"/>
                  </a:lnTo>
                  <a:cubicBezTo>
                    <a:pt x="4763" y="122521"/>
                    <a:pt x="37147" y="-1939"/>
                    <a:pt x="109538" y="5046"/>
                  </a:cubicBezTo>
                  <a:cubicBezTo>
                    <a:pt x="181293" y="11396"/>
                    <a:pt x="1439228" y="769586"/>
                    <a:pt x="1439228" y="769586"/>
                  </a:cubicBezTo>
                  <a:cubicBezTo>
                    <a:pt x="1439228" y="769586"/>
                    <a:pt x="1364297" y="737201"/>
                    <a:pt x="1334453" y="786096"/>
                  </a:cubicBezTo>
                  <a:cubicBezTo>
                    <a:pt x="1305243" y="834991"/>
                    <a:pt x="1302068" y="854676"/>
                    <a:pt x="1298258" y="959451"/>
                  </a:cubicBezTo>
                  <a:cubicBezTo>
                    <a:pt x="1294447" y="1064226"/>
                    <a:pt x="1301433" y="1296001"/>
                    <a:pt x="1301433" y="1296001"/>
                  </a:cubicBezTo>
                  <a:lnTo>
                    <a:pt x="4763" y="553686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7" name="任意多边形: 形状 1116"/>
            <p:cNvSpPr/>
            <p:nvPr/>
          </p:nvSpPr>
          <p:spPr>
            <a:xfrm>
              <a:off x="8266864" y="5085869"/>
              <a:ext cx="133350" cy="146050"/>
            </a:xfrm>
            <a:custGeom>
              <a:avLst/>
              <a:gdLst>
                <a:gd name="connsiteX0" fmla="*/ 19886 w 133350"/>
                <a:gd name="connsiteY0" fmla="*/ 145261 h 146050"/>
                <a:gd name="connsiteX1" fmla="*/ 8456 w 133350"/>
                <a:gd name="connsiteY1" fmla="*/ 124306 h 146050"/>
                <a:gd name="connsiteX2" fmla="*/ 44016 w 133350"/>
                <a:gd name="connsiteY2" fmla="*/ 22706 h 146050"/>
                <a:gd name="connsiteX3" fmla="*/ 129106 w 133350"/>
                <a:gd name="connsiteY3" fmla="*/ 13816 h 146050"/>
                <a:gd name="connsiteX4" fmla="*/ 131646 w 133350"/>
                <a:gd name="connsiteY4" fmla="*/ 64616 h 146050"/>
                <a:gd name="connsiteX5" fmla="*/ 19886 w 133350"/>
                <a:gd name="connsiteY5" fmla="*/ 145261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350" h="146050">
                  <a:moveTo>
                    <a:pt x="19886" y="145261"/>
                  </a:moveTo>
                  <a:cubicBezTo>
                    <a:pt x="19886" y="145261"/>
                    <a:pt x="-4244" y="156691"/>
                    <a:pt x="8456" y="124306"/>
                  </a:cubicBezTo>
                  <a:cubicBezTo>
                    <a:pt x="21156" y="91921"/>
                    <a:pt x="41476" y="56996"/>
                    <a:pt x="44016" y="22706"/>
                  </a:cubicBezTo>
                  <a:cubicBezTo>
                    <a:pt x="46556" y="-11584"/>
                    <a:pt x="129106" y="13816"/>
                    <a:pt x="129106" y="13816"/>
                  </a:cubicBezTo>
                  <a:lnTo>
                    <a:pt x="131646" y="64616"/>
                  </a:lnTo>
                  <a:cubicBezTo>
                    <a:pt x="131646" y="64616"/>
                    <a:pt x="46556" y="135736"/>
                    <a:pt x="19886" y="145261"/>
                  </a:cubicBezTo>
                  <a:close/>
                </a:path>
              </a:pathLst>
            </a:custGeom>
            <a:solidFill>
              <a:srgbClr val="2C2F7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8" name="任意多边形: 形状 1117"/>
            <p:cNvSpPr/>
            <p:nvPr/>
          </p:nvSpPr>
          <p:spPr>
            <a:xfrm>
              <a:off x="8319429" y="5234040"/>
              <a:ext cx="120650" cy="158750"/>
            </a:xfrm>
            <a:custGeom>
              <a:avLst/>
              <a:gdLst>
                <a:gd name="connsiteX0" fmla="*/ 49236 w 120650"/>
                <a:gd name="connsiteY0" fmla="*/ 14235 h 158750"/>
                <a:gd name="connsiteX1" fmla="*/ 6691 w 120650"/>
                <a:gd name="connsiteY1" fmla="*/ 117740 h 158750"/>
                <a:gd name="connsiteX2" fmla="*/ 27646 w 120650"/>
                <a:gd name="connsiteY2" fmla="*/ 154570 h 158750"/>
                <a:gd name="connsiteX3" fmla="*/ 116546 w 120650"/>
                <a:gd name="connsiteY3" fmla="*/ 45350 h 158750"/>
                <a:gd name="connsiteX4" fmla="*/ 49236 w 120650"/>
                <a:gd name="connsiteY4" fmla="*/ 14235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650" h="158750">
                  <a:moveTo>
                    <a:pt x="49236" y="14235"/>
                  </a:moveTo>
                  <a:cubicBezTo>
                    <a:pt x="49236" y="14235"/>
                    <a:pt x="12406" y="79640"/>
                    <a:pt x="6691" y="117740"/>
                  </a:cubicBezTo>
                  <a:cubicBezTo>
                    <a:pt x="977" y="155840"/>
                    <a:pt x="7961" y="160285"/>
                    <a:pt x="27646" y="154570"/>
                  </a:cubicBezTo>
                  <a:cubicBezTo>
                    <a:pt x="47331" y="148855"/>
                    <a:pt x="117181" y="112025"/>
                    <a:pt x="116546" y="45350"/>
                  </a:cubicBezTo>
                  <a:cubicBezTo>
                    <a:pt x="115911" y="-21325"/>
                    <a:pt x="49236" y="14235"/>
                    <a:pt x="49236" y="14235"/>
                  </a:cubicBezTo>
                  <a:close/>
                </a:path>
              </a:pathLst>
            </a:custGeom>
            <a:solidFill>
              <a:srgbClr val="2C2F7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9" name="任意多边形: 形状 1118"/>
            <p:cNvSpPr/>
            <p:nvPr/>
          </p:nvSpPr>
          <p:spPr>
            <a:xfrm>
              <a:off x="8158242" y="4506913"/>
              <a:ext cx="349250" cy="615950"/>
            </a:xfrm>
            <a:custGeom>
              <a:avLst/>
              <a:gdLst>
                <a:gd name="connsiteX0" fmla="*/ 152638 w 349250"/>
                <a:gd name="connsiteY0" fmla="*/ 601663 h 615950"/>
                <a:gd name="connsiteX1" fmla="*/ 5952 w 349250"/>
                <a:gd name="connsiteY1" fmla="*/ 194628 h 615950"/>
                <a:gd name="connsiteX2" fmla="*/ 46592 w 349250"/>
                <a:gd name="connsiteY2" fmla="*/ 105728 h 615950"/>
                <a:gd name="connsiteX3" fmla="*/ 198358 w 349250"/>
                <a:gd name="connsiteY3" fmla="*/ 4763 h 615950"/>
                <a:gd name="connsiteX4" fmla="*/ 343138 w 349250"/>
                <a:gd name="connsiteY4" fmla="*/ 86678 h 615950"/>
                <a:gd name="connsiteX5" fmla="*/ 350123 w 349250"/>
                <a:gd name="connsiteY5" fmla="*/ 108267 h 615950"/>
                <a:gd name="connsiteX6" fmla="*/ 150098 w 349250"/>
                <a:gd name="connsiteY6" fmla="*/ 226378 h 615950"/>
                <a:gd name="connsiteX7" fmla="*/ 225027 w 349250"/>
                <a:gd name="connsiteY7" fmla="*/ 536892 h 615950"/>
                <a:gd name="connsiteX8" fmla="*/ 193913 w 349250"/>
                <a:gd name="connsiteY8" fmla="*/ 616267 h 615950"/>
                <a:gd name="connsiteX9" fmla="*/ 152638 w 349250"/>
                <a:gd name="connsiteY9" fmla="*/ 601663 h 6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9250" h="615950">
                  <a:moveTo>
                    <a:pt x="152638" y="601663"/>
                  </a:moveTo>
                  <a:lnTo>
                    <a:pt x="5952" y="194628"/>
                  </a:lnTo>
                  <a:cubicBezTo>
                    <a:pt x="5952" y="194628"/>
                    <a:pt x="-6112" y="131763"/>
                    <a:pt x="46592" y="105728"/>
                  </a:cubicBezTo>
                  <a:cubicBezTo>
                    <a:pt x="99298" y="79058"/>
                    <a:pt x="198358" y="4763"/>
                    <a:pt x="198358" y="4763"/>
                  </a:cubicBezTo>
                  <a:lnTo>
                    <a:pt x="343138" y="86678"/>
                  </a:lnTo>
                  <a:lnTo>
                    <a:pt x="350123" y="108267"/>
                  </a:lnTo>
                  <a:lnTo>
                    <a:pt x="150098" y="226378"/>
                  </a:lnTo>
                  <a:lnTo>
                    <a:pt x="225027" y="536892"/>
                  </a:lnTo>
                  <a:cubicBezTo>
                    <a:pt x="225027" y="536892"/>
                    <a:pt x="225027" y="613728"/>
                    <a:pt x="193913" y="616267"/>
                  </a:cubicBezTo>
                  <a:cubicBezTo>
                    <a:pt x="162163" y="618172"/>
                    <a:pt x="152638" y="601663"/>
                    <a:pt x="152638" y="601663"/>
                  </a:cubicBezTo>
                  <a:close/>
                </a:path>
              </a:pathLst>
            </a:custGeom>
            <a:solidFill>
              <a:srgbClr val="3E82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0" name="任意多边形: 形状 1119"/>
            <p:cNvSpPr/>
            <p:nvPr/>
          </p:nvSpPr>
          <p:spPr>
            <a:xfrm>
              <a:off x="8356477" y="4465003"/>
              <a:ext cx="469900" cy="831850"/>
            </a:xfrm>
            <a:custGeom>
              <a:avLst/>
              <a:gdLst>
                <a:gd name="connsiteX0" fmla="*/ 460498 w 469900"/>
                <a:gd name="connsiteY0" fmla="*/ 4763 h 831850"/>
                <a:gd name="connsiteX1" fmla="*/ 448433 w 469900"/>
                <a:gd name="connsiteY1" fmla="*/ 127317 h 831850"/>
                <a:gd name="connsiteX2" fmla="*/ 169033 w 469900"/>
                <a:gd name="connsiteY2" fmla="*/ 416242 h 831850"/>
                <a:gd name="connsiteX3" fmla="*/ 80133 w 469900"/>
                <a:gd name="connsiteY3" fmla="*/ 813752 h 831850"/>
                <a:gd name="connsiteX4" fmla="*/ 7743 w 469900"/>
                <a:gd name="connsiteY4" fmla="*/ 808672 h 831850"/>
                <a:gd name="connsiteX5" fmla="*/ 36954 w 469900"/>
                <a:gd name="connsiteY5" fmla="*/ 370522 h 831850"/>
                <a:gd name="connsiteX6" fmla="*/ 210308 w 469900"/>
                <a:gd name="connsiteY6" fmla="*/ 93663 h 831850"/>
                <a:gd name="connsiteX7" fmla="*/ 306829 w 469900"/>
                <a:gd name="connsiteY7" fmla="*/ 23813 h 831850"/>
                <a:gd name="connsiteX8" fmla="*/ 460498 w 469900"/>
                <a:gd name="connsiteY8" fmla="*/ 4763 h 83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9900" h="831850">
                  <a:moveTo>
                    <a:pt x="460498" y="4763"/>
                  </a:moveTo>
                  <a:cubicBezTo>
                    <a:pt x="460498" y="4763"/>
                    <a:pt x="482088" y="77152"/>
                    <a:pt x="448433" y="127317"/>
                  </a:cubicBezTo>
                  <a:cubicBezTo>
                    <a:pt x="414779" y="177482"/>
                    <a:pt x="212213" y="336867"/>
                    <a:pt x="169033" y="416242"/>
                  </a:cubicBezTo>
                  <a:cubicBezTo>
                    <a:pt x="139188" y="471488"/>
                    <a:pt x="80133" y="813752"/>
                    <a:pt x="80133" y="813752"/>
                  </a:cubicBezTo>
                  <a:cubicBezTo>
                    <a:pt x="80133" y="813752"/>
                    <a:pt x="22348" y="854392"/>
                    <a:pt x="7743" y="808672"/>
                  </a:cubicBezTo>
                  <a:cubicBezTo>
                    <a:pt x="-6862" y="762952"/>
                    <a:pt x="36954" y="370522"/>
                    <a:pt x="36954" y="370522"/>
                  </a:cubicBezTo>
                  <a:cubicBezTo>
                    <a:pt x="36954" y="370522"/>
                    <a:pt x="183638" y="122238"/>
                    <a:pt x="210308" y="93663"/>
                  </a:cubicBezTo>
                  <a:cubicBezTo>
                    <a:pt x="236979" y="64452"/>
                    <a:pt x="275079" y="18732"/>
                    <a:pt x="306829" y="23813"/>
                  </a:cubicBezTo>
                  <a:cubicBezTo>
                    <a:pt x="338579" y="28892"/>
                    <a:pt x="460498" y="4763"/>
                    <a:pt x="460498" y="4763"/>
                  </a:cubicBezTo>
                  <a:close/>
                </a:path>
              </a:pathLst>
            </a:custGeom>
            <a:solidFill>
              <a:srgbClr val="6591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1" name="任意多边形: 形状 1120"/>
            <p:cNvSpPr/>
            <p:nvPr/>
          </p:nvSpPr>
          <p:spPr>
            <a:xfrm>
              <a:off x="8227378" y="4307522"/>
              <a:ext cx="527050" cy="336550"/>
            </a:xfrm>
            <a:custGeom>
              <a:avLst/>
              <a:gdLst>
                <a:gd name="connsiteX0" fmla="*/ 168592 w 527050"/>
                <a:gd name="connsiteY0" fmla="*/ 4763 h 336550"/>
                <a:gd name="connsiteX1" fmla="*/ 4763 w 527050"/>
                <a:gd name="connsiteY1" fmla="*/ 118428 h 336550"/>
                <a:gd name="connsiteX2" fmla="*/ 287338 w 527050"/>
                <a:gd name="connsiteY2" fmla="*/ 337503 h 336550"/>
                <a:gd name="connsiteX3" fmla="*/ 528003 w 527050"/>
                <a:gd name="connsiteY3" fmla="*/ 220663 h 3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7050" h="336550">
                  <a:moveTo>
                    <a:pt x="168592" y="4763"/>
                  </a:moveTo>
                  <a:lnTo>
                    <a:pt x="4763" y="118428"/>
                  </a:lnTo>
                  <a:lnTo>
                    <a:pt x="287338" y="337503"/>
                  </a:lnTo>
                  <a:lnTo>
                    <a:pt x="528003" y="2206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2" name="任意多边形: 形状 1121"/>
            <p:cNvSpPr/>
            <p:nvPr/>
          </p:nvSpPr>
          <p:spPr>
            <a:xfrm>
              <a:off x="7986713" y="4252913"/>
              <a:ext cx="527050" cy="393700"/>
            </a:xfrm>
            <a:custGeom>
              <a:avLst/>
              <a:gdLst>
                <a:gd name="connsiteX0" fmla="*/ 4763 w 527050"/>
                <a:gd name="connsiteY0" fmla="*/ 4763 h 393700"/>
                <a:gd name="connsiteX1" fmla="*/ 350203 w 527050"/>
                <a:gd name="connsiteY1" fmla="*/ 210503 h 393700"/>
                <a:gd name="connsiteX2" fmla="*/ 528003 w 527050"/>
                <a:gd name="connsiteY2" fmla="*/ 392113 h 393700"/>
                <a:gd name="connsiteX3" fmla="*/ 210503 w 527050"/>
                <a:gd name="connsiteY3" fmla="*/ 227647 h 39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7050" h="393700">
                  <a:moveTo>
                    <a:pt x="4763" y="4763"/>
                  </a:moveTo>
                  <a:lnTo>
                    <a:pt x="350203" y="210503"/>
                  </a:lnTo>
                  <a:lnTo>
                    <a:pt x="528003" y="392113"/>
                  </a:lnTo>
                  <a:lnTo>
                    <a:pt x="210503" y="227647"/>
                  </a:lnTo>
                  <a:close/>
                </a:path>
              </a:pathLst>
            </a:custGeom>
            <a:solidFill>
              <a:srgbClr val="D4DE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3" name="任意多边形: 形状 1122"/>
            <p:cNvSpPr/>
            <p:nvPr/>
          </p:nvSpPr>
          <p:spPr>
            <a:xfrm>
              <a:off x="8372865" y="4086542"/>
              <a:ext cx="177800" cy="361950"/>
            </a:xfrm>
            <a:custGeom>
              <a:avLst/>
              <a:gdLst>
                <a:gd name="connsiteX0" fmla="*/ 107560 w 177800"/>
                <a:gd name="connsiteY0" fmla="*/ 4763 h 361950"/>
                <a:gd name="connsiteX1" fmla="*/ 107560 w 177800"/>
                <a:gd name="connsiteY1" fmla="*/ 137478 h 361950"/>
                <a:gd name="connsiteX2" fmla="*/ 57395 w 177800"/>
                <a:gd name="connsiteY2" fmla="*/ 259398 h 361950"/>
                <a:gd name="connsiteX3" fmla="*/ 17391 w 177800"/>
                <a:gd name="connsiteY3" fmla="*/ 282892 h 361950"/>
                <a:gd name="connsiteX4" fmla="*/ 9135 w 177800"/>
                <a:gd name="connsiteY4" fmla="*/ 338138 h 361950"/>
                <a:gd name="connsiteX5" fmla="*/ 52316 w 177800"/>
                <a:gd name="connsiteY5" fmla="*/ 359092 h 361950"/>
                <a:gd name="connsiteX6" fmla="*/ 75810 w 177800"/>
                <a:gd name="connsiteY6" fmla="*/ 307658 h 361950"/>
                <a:gd name="connsiteX7" fmla="*/ 103116 w 177800"/>
                <a:gd name="connsiteY7" fmla="*/ 323533 h 361950"/>
                <a:gd name="connsiteX8" fmla="*/ 100575 w 177800"/>
                <a:gd name="connsiteY8" fmla="*/ 276542 h 361950"/>
                <a:gd name="connsiteX9" fmla="*/ 147566 w 177800"/>
                <a:gd name="connsiteY9" fmla="*/ 201613 h 361950"/>
                <a:gd name="connsiteX10" fmla="*/ 176775 w 177800"/>
                <a:gd name="connsiteY10" fmla="*/ 35878 h 361950"/>
                <a:gd name="connsiteX11" fmla="*/ 107560 w 177800"/>
                <a:gd name="connsiteY11" fmla="*/ 4763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7800" h="361950">
                  <a:moveTo>
                    <a:pt x="107560" y="4763"/>
                  </a:moveTo>
                  <a:cubicBezTo>
                    <a:pt x="107560" y="4763"/>
                    <a:pt x="121530" y="88583"/>
                    <a:pt x="107560" y="137478"/>
                  </a:cubicBezTo>
                  <a:cubicBezTo>
                    <a:pt x="98035" y="169863"/>
                    <a:pt x="72000" y="249238"/>
                    <a:pt x="57395" y="259398"/>
                  </a:cubicBezTo>
                  <a:cubicBezTo>
                    <a:pt x="50410" y="264478"/>
                    <a:pt x="33266" y="263842"/>
                    <a:pt x="17391" y="282892"/>
                  </a:cubicBezTo>
                  <a:cubicBezTo>
                    <a:pt x="4691" y="297498"/>
                    <a:pt x="880" y="324167"/>
                    <a:pt x="9135" y="338138"/>
                  </a:cubicBezTo>
                  <a:cubicBezTo>
                    <a:pt x="16755" y="352742"/>
                    <a:pt x="40885" y="367348"/>
                    <a:pt x="52316" y="359092"/>
                  </a:cubicBezTo>
                  <a:cubicBezTo>
                    <a:pt x="63745" y="350838"/>
                    <a:pt x="65650" y="298767"/>
                    <a:pt x="75810" y="307658"/>
                  </a:cubicBezTo>
                  <a:cubicBezTo>
                    <a:pt x="86605" y="316548"/>
                    <a:pt x="92955" y="333692"/>
                    <a:pt x="103116" y="323533"/>
                  </a:cubicBezTo>
                  <a:cubicBezTo>
                    <a:pt x="103116" y="323533"/>
                    <a:pt x="91050" y="290513"/>
                    <a:pt x="100575" y="276542"/>
                  </a:cubicBezTo>
                  <a:cubicBezTo>
                    <a:pt x="109466" y="261938"/>
                    <a:pt x="147566" y="201613"/>
                    <a:pt x="147566" y="201613"/>
                  </a:cubicBezTo>
                  <a:lnTo>
                    <a:pt x="176775" y="35878"/>
                  </a:lnTo>
                  <a:lnTo>
                    <a:pt x="107560" y="4763"/>
                  </a:lnTo>
                  <a:close/>
                </a:path>
              </a:pathLst>
            </a:custGeom>
            <a:solidFill>
              <a:srgbClr val="F7AF9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4" name="任意多边形: 形状 1123"/>
            <p:cNvSpPr/>
            <p:nvPr/>
          </p:nvSpPr>
          <p:spPr>
            <a:xfrm>
              <a:off x="8471218" y="3825942"/>
              <a:ext cx="406400" cy="692150"/>
            </a:xfrm>
            <a:custGeom>
              <a:avLst/>
              <a:gdLst>
                <a:gd name="connsiteX0" fmla="*/ 360997 w 406400"/>
                <a:gd name="connsiteY0" fmla="*/ 93913 h 692150"/>
                <a:gd name="connsiteX1" fmla="*/ 192088 w 406400"/>
                <a:gd name="connsiteY1" fmla="*/ 8188 h 692150"/>
                <a:gd name="connsiteX2" fmla="*/ 39052 w 406400"/>
                <a:gd name="connsiteY2" fmla="*/ 30413 h 692150"/>
                <a:gd name="connsiteX3" fmla="*/ 4763 w 406400"/>
                <a:gd name="connsiteY3" fmla="*/ 180273 h 692150"/>
                <a:gd name="connsiteX4" fmla="*/ 56197 w 406400"/>
                <a:gd name="connsiteY4" fmla="*/ 294573 h 692150"/>
                <a:gd name="connsiteX5" fmla="*/ 40322 w 406400"/>
                <a:gd name="connsiteY5" fmla="*/ 556192 h 692150"/>
                <a:gd name="connsiteX6" fmla="*/ 262572 w 406400"/>
                <a:gd name="connsiteY6" fmla="*/ 689542 h 692150"/>
                <a:gd name="connsiteX7" fmla="*/ 363538 w 406400"/>
                <a:gd name="connsiteY7" fmla="*/ 642553 h 692150"/>
                <a:gd name="connsiteX8" fmla="*/ 407352 w 406400"/>
                <a:gd name="connsiteY8" fmla="*/ 454592 h 692150"/>
                <a:gd name="connsiteX9" fmla="*/ 360997 w 406400"/>
                <a:gd name="connsiteY9" fmla="*/ 93913 h 69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6400" h="692150">
                  <a:moveTo>
                    <a:pt x="360997" y="93913"/>
                  </a:moveTo>
                  <a:cubicBezTo>
                    <a:pt x="360997" y="93913"/>
                    <a:pt x="278447" y="22792"/>
                    <a:pt x="192088" y="8188"/>
                  </a:cubicBezTo>
                  <a:cubicBezTo>
                    <a:pt x="105727" y="-6417"/>
                    <a:pt x="39052" y="30413"/>
                    <a:pt x="39052" y="30413"/>
                  </a:cubicBezTo>
                  <a:lnTo>
                    <a:pt x="4763" y="180273"/>
                  </a:lnTo>
                  <a:lnTo>
                    <a:pt x="56197" y="294573"/>
                  </a:lnTo>
                  <a:cubicBezTo>
                    <a:pt x="56197" y="294573"/>
                    <a:pt x="56197" y="537142"/>
                    <a:pt x="40322" y="556192"/>
                  </a:cubicBezTo>
                  <a:lnTo>
                    <a:pt x="262572" y="689542"/>
                  </a:lnTo>
                  <a:cubicBezTo>
                    <a:pt x="262572" y="689542"/>
                    <a:pt x="340677" y="690178"/>
                    <a:pt x="363538" y="642553"/>
                  </a:cubicBezTo>
                  <a:cubicBezTo>
                    <a:pt x="386397" y="594928"/>
                    <a:pt x="409257" y="495233"/>
                    <a:pt x="407352" y="454592"/>
                  </a:cubicBezTo>
                  <a:cubicBezTo>
                    <a:pt x="405447" y="413953"/>
                    <a:pt x="360997" y="93913"/>
                    <a:pt x="360997" y="93913"/>
                  </a:cubicBezTo>
                  <a:close/>
                </a:path>
              </a:pathLst>
            </a:custGeom>
            <a:solidFill>
              <a:srgbClr val="54559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5" name="任意多边形: 形状 1124"/>
            <p:cNvSpPr/>
            <p:nvPr/>
          </p:nvSpPr>
          <p:spPr>
            <a:xfrm>
              <a:off x="8463950" y="3832542"/>
              <a:ext cx="63500" cy="292100"/>
            </a:xfrm>
            <a:custGeom>
              <a:avLst/>
              <a:gdLst>
                <a:gd name="connsiteX0" fmla="*/ 59019 w 63500"/>
                <a:gd name="connsiteY0" fmla="*/ 4763 h 292100"/>
                <a:gd name="connsiteX1" fmla="*/ 10125 w 63500"/>
                <a:gd name="connsiteY1" fmla="*/ 85408 h 292100"/>
                <a:gd name="connsiteX2" fmla="*/ 10125 w 63500"/>
                <a:gd name="connsiteY2" fmla="*/ 266383 h 292100"/>
                <a:gd name="connsiteX3" fmla="*/ 64735 w 63500"/>
                <a:gd name="connsiteY3" fmla="*/ 287338 h 292100"/>
                <a:gd name="connsiteX4" fmla="*/ 39969 w 63500"/>
                <a:gd name="connsiteY4" fmla="*/ 72708 h 292100"/>
                <a:gd name="connsiteX5" fmla="*/ 59019 w 63500"/>
                <a:gd name="connsiteY5" fmla="*/ 4763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00" h="292100">
                  <a:moveTo>
                    <a:pt x="59019" y="4763"/>
                  </a:moveTo>
                  <a:cubicBezTo>
                    <a:pt x="59019" y="4763"/>
                    <a:pt x="22190" y="4763"/>
                    <a:pt x="10125" y="85408"/>
                  </a:cubicBezTo>
                  <a:cubicBezTo>
                    <a:pt x="-1940" y="166053"/>
                    <a:pt x="10125" y="266383"/>
                    <a:pt x="10125" y="266383"/>
                  </a:cubicBezTo>
                  <a:lnTo>
                    <a:pt x="64735" y="287338"/>
                  </a:lnTo>
                  <a:cubicBezTo>
                    <a:pt x="64735" y="287338"/>
                    <a:pt x="26000" y="104458"/>
                    <a:pt x="39969" y="72708"/>
                  </a:cubicBezTo>
                  <a:cubicBezTo>
                    <a:pt x="53940" y="41592"/>
                    <a:pt x="59019" y="4763"/>
                    <a:pt x="59019" y="4763"/>
                  </a:cubicBezTo>
                  <a:close/>
                </a:path>
              </a:pathLst>
            </a:custGeom>
            <a:solidFill>
              <a:srgbClr val="3F427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6" name="任意多边形: 形状 1125"/>
            <p:cNvSpPr/>
            <p:nvPr/>
          </p:nvSpPr>
          <p:spPr>
            <a:xfrm>
              <a:off x="8428038" y="3612833"/>
              <a:ext cx="266700" cy="342900"/>
            </a:xfrm>
            <a:custGeom>
              <a:avLst/>
              <a:gdLst>
                <a:gd name="connsiteX0" fmla="*/ 4763 w 266700"/>
                <a:gd name="connsiteY0" fmla="*/ 83502 h 342900"/>
                <a:gd name="connsiteX1" fmla="*/ 96838 w 266700"/>
                <a:gd name="connsiteY1" fmla="*/ 246697 h 342900"/>
                <a:gd name="connsiteX2" fmla="*/ 154622 w 266700"/>
                <a:gd name="connsiteY2" fmla="*/ 227013 h 342900"/>
                <a:gd name="connsiteX3" fmla="*/ 148272 w 266700"/>
                <a:gd name="connsiteY3" fmla="*/ 280988 h 342900"/>
                <a:gd name="connsiteX4" fmla="*/ 187643 w 266700"/>
                <a:gd name="connsiteY4" fmla="*/ 340042 h 342900"/>
                <a:gd name="connsiteX5" fmla="*/ 263843 w 266700"/>
                <a:gd name="connsiteY5" fmla="*/ 282258 h 342900"/>
                <a:gd name="connsiteX6" fmla="*/ 234632 w 266700"/>
                <a:gd name="connsiteY6" fmla="*/ 221933 h 342900"/>
                <a:gd name="connsiteX7" fmla="*/ 218757 w 266700"/>
                <a:gd name="connsiteY7" fmla="*/ 161608 h 342900"/>
                <a:gd name="connsiteX8" fmla="*/ 134303 w 266700"/>
                <a:gd name="connsiteY8" fmla="*/ 4763 h 342900"/>
                <a:gd name="connsiteX9" fmla="*/ 4763 w 266700"/>
                <a:gd name="connsiteY9" fmla="*/ 83502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6700" h="342900">
                  <a:moveTo>
                    <a:pt x="4763" y="83502"/>
                  </a:moveTo>
                  <a:cubicBezTo>
                    <a:pt x="6032" y="87313"/>
                    <a:pt x="56197" y="242888"/>
                    <a:pt x="96838" y="246697"/>
                  </a:cubicBezTo>
                  <a:cubicBezTo>
                    <a:pt x="137478" y="250508"/>
                    <a:pt x="154622" y="227013"/>
                    <a:pt x="154622" y="227013"/>
                  </a:cubicBezTo>
                  <a:cubicBezTo>
                    <a:pt x="154622" y="227013"/>
                    <a:pt x="160972" y="246697"/>
                    <a:pt x="148272" y="280988"/>
                  </a:cubicBezTo>
                  <a:cubicBezTo>
                    <a:pt x="134938" y="315277"/>
                    <a:pt x="159068" y="341313"/>
                    <a:pt x="187643" y="340042"/>
                  </a:cubicBezTo>
                  <a:cubicBezTo>
                    <a:pt x="216853" y="338772"/>
                    <a:pt x="254953" y="322897"/>
                    <a:pt x="263843" y="282258"/>
                  </a:cubicBezTo>
                  <a:cubicBezTo>
                    <a:pt x="273368" y="241617"/>
                    <a:pt x="246697" y="228283"/>
                    <a:pt x="234632" y="221933"/>
                  </a:cubicBezTo>
                  <a:cubicBezTo>
                    <a:pt x="222568" y="215583"/>
                    <a:pt x="214947" y="214313"/>
                    <a:pt x="218757" y="161608"/>
                  </a:cubicBezTo>
                  <a:cubicBezTo>
                    <a:pt x="222568" y="108902"/>
                    <a:pt x="134303" y="4763"/>
                    <a:pt x="134303" y="4763"/>
                  </a:cubicBezTo>
                  <a:lnTo>
                    <a:pt x="4763" y="83502"/>
                  </a:lnTo>
                  <a:close/>
                </a:path>
              </a:pathLst>
            </a:custGeom>
            <a:solidFill>
              <a:srgbClr val="F7AF9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7" name="任意多边形: 形状 1126"/>
            <p:cNvSpPr/>
            <p:nvPr/>
          </p:nvSpPr>
          <p:spPr>
            <a:xfrm>
              <a:off x="8372157" y="3540827"/>
              <a:ext cx="298450" cy="260350"/>
            </a:xfrm>
            <a:custGeom>
              <a:avLst/>
              <a:gdLst>
                <a:gd name="connsiteX0" fmla="*/ 4763 w 298450"/>
                <a:gd name="connsiteY0" fmla="*/ 97088 h 260350"/>
                <a:gd name="connsiteX1" fmla="*/ 70803 w 298450"/>
                <a:gd name="connsiteY1" fmla="*/ 175828 h 260350"/>
                <a:gd name="connsiteX2" fmla="*/ 192723 w 298450"/>
                <a:gd name="connsiteY2" fmla="*/ 155508 h 260350"/>
                <a:gd name="connsiteX3" fmla="*/ 220663 w 298450"/>
                <a:gd name="connsiteY3" fmla="*/ 193608 h 260350"/>
                <a:gd name="connsiteX4" fmla="*/ 258763 w 298450"/>
                <a:gd name="connsiteY4" fmla="*/ 188528 h 260350"/>
                <a:gd name="connsiteX5" fmla="*/ 248603 w 298450"/>
                <a:gd name="connsiteY5" fmla="*/ 244408 h 260350"/>
                <a:gd name="connsiteX6" fmla="*/ 291783 w 298450"/>
                <a:gd name="connsiteY6" fmla="*/ 254568 h 260350"/>
                <a:gd name="connsiteX7" fmla="*/ 291783 w 298450"/>
                <a:gd name="connsiteY7" fmla="*/ 86293 h 260350"/>
                <a:gd name="connsiteX8" fmla="*/ 213043 w 298450"/>
                <a:gd name="connsiteY8" fmla="*/ 55813 h 260350"/>
                <a:gd name="connsiteX9" fmla="*/ 131763 w 298450"/>
                <a:gd name="connsiteY9" fmla="*/ 15173 h 260350"/>
                <a:gd name="connsiteX10" fmla="*/ 4763 w 298450"/>
                <a:gd name="connsiteY10" fmla="*/ 97088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450" h="260350">
                  <a:moveTo>
                    <a:pt x="4763" y="97088"/>
                  </a:moveTo>
                  <a:cubicBezTo>
                    <a:pt x="4763" y="97088"/>
                    <a:pt x="17463" y="193608"/>
                    <a:pt x="70803" y="175828"/>
                  </a:cubicBezTo>
                  <a:cubicBezTo>
                    <a:pt x="124143" y="158048"/>
                    <a:pt x="164783" y="117408"/>
                    <a:pt x="192723" y="155508"/>
                  </a:cubicBezTo>
                  <a:cubicBezTo>
                    <a:pt x="220663" y="193608"/>
                    <a:pt x="220663" y="193608"/>
                    <a:pt x="220663" y="193608"/>
                  </a:cubicBezTo>
                  <a:cubicBezTo>
                    <a:pt x="220663" y="193608"/>
                    <a:pt x="251143" y="165668"/>
                    <a:pt x="258763" y="188528"/>
                  </a:cubicBezTo>
                  <a:cubicBezTo>
                    <a:pt x="266383" y="211388"/>
                    <a:pt x="240983" y="229168"/>
                    <a:pt x="248603" y="244408"/>
                  </a:cubicBezTo>
                  <a:cubicBezTo>
                    <a:pt x="256223" y="259648"/>
                    <a:pt x="279083" y="267268"/>
                    <a:pt x="291783" y="254568"/>
                  </a:cubicBezTo>
                  <a:cubicBezTo>
                    <a:pt x="304483" y="241868"/>
                    <a:pt x="291783" y="116773"/>
                    <a:pt x="291783" y="86293"/>
                  </a:cubicBezTo>
                  <a:cubicBezTo>
                    <a:pt x="291783" y="55813"/>
                    <a:pt x="243523" y="32953"/>
                    <a:pt x="213043" y="55813"/>
                  </a:cubicBezTo>
                  <a:cubicBezTo>
                    <a:pt x="213043" y="55813"/>
                    <a:pt x="213043" y="-22927"/>
                    <a:pt x="131763" y="15173"/>
                  </a:cubicBezTo>
                  <a:cubicBezTo>
                    <a:pt x="50483" y="53273"/>
                    <a:pt x="42863" y="107883"/>
                    <a:pt x="4763" y="97088"/>
                  </a:cubicBezTo>
                  <a:close/>
                </a:path>
              </a:pathLst>
            </a:custGeom>
            <a:solidFill>
              <a:srgbClr val="AE5A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8" name="任意多边形: 形状 1127"/>
            <p:cNvSpPr/>
            <p:nvPr/>
          </p:nvSpPr>
          <p:spPr>
            <a:xfrm>
              <a:off x="8474537" y="4137342"/>
              <a:ext cx="438150" cy="374650"/>
            </a:xfrm>
            <a:custGeom>
              <a:avLst/>
              <a:gdLst>
                <a:gd name="connsiteX0" fmla="*/ 319578 w 438150"/>
                <a:gd name="connsiteY0" fmla="*/ 45403 h 374650"/>
                <a:gd name="connsiteX1" fmla="*/ 344978 w 438150"/>
                <a:gd name="connsiteY1" fmla="*/ 132398 h 374650"/>
                <a:gd name="connsiteX2" fmla="*/ 104313 w 438150"/>
                <a:gd name="connsiteY2" fmla="*/ 292417 h 374650"/>
                <a:gd name="connsiteX3" fmla="*/ 25573 w 438150"/>
                <a:gd name="connsiteY3" fmla="*/ 307658 h 374650"/>
                <a:gd name="connsiteX4" fmla="*/ 15413 w 438150"/>
                <a:gd name="connsiteY4" fmla="*/ 367348 h 374650"/>
                <a:gd name="connsiteX5" fmla="*/ 77644 w 438150"/>
                <a:gd name="connsiteY5" fmla="*/ 357188 h 374650"/>
                <a:gd name="connsiteX6" fmla="*/ 136063 w 438150"/>
                <a:gd name="connsiteY6" fmla="*/ 320992 h 374650"/>
                <a:gd name="connsiteX7" fmla="*/ 431338 w 438150"/>
                <a:gd name="connsiteY7" fmla="*/ 164783 h 374650"/>
                <a:gd name="connsiteX8" fmla="*/ 432608 w 438150"/>
                <a:gd name="connsiteY8" fmla="*/ 4763 h 374650"/>
                <a:gd name="connsiteX9" fmla="*/ 319578 w 438150"/>
                <a:gd name="connsiteY9" fmla="*/ 45403 h 37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150" h="374650">
                  <a:moveTo>
                    <a:pt x="319578" y="45403"/>
                  </a:moveTo>
                  <a:cubicBezTo>
                    <a:pt x="319578" y="45403"/>
                    <a:pt x="338628" y="123508"/>
                    <a:pt x="344978" y="132398"/>
                  </a:cubicBezTo>
                  <a:cubicBezTo>
                    <a:pt x="344978" y="132398"/>
                    <a:pt x="217344" y="253048"/>
                    <a:pt x="104313" y="292417"/>
                  </a:cubicBezTo>
                  <a:cubicBezTo>
                    <a:pt x="104313" y="292417"/>
                    <a:pt x="55419" y="286067"/>
                    <a:pt x="25573" y="307658"/>
                  </a:cubicBezTo>
                  <a:cubicBezTo>
                    <a:pt x="-4272" y="329883"/>
                    <a:pt x="3348" y="361633"/>
                    <a:pt x="15413" y="367348"/>
                  </a:cubicBezTo>
                  <a:cubicBezTo>
                    <a:pt x="26844" y="372428"/>
                    <a:pt x="42719" y="385128"/>
                    <a:pt x="77644" y="357188"/>
                  </a:cubicBezTo>
                  <a:cubicBezTo>
                    <a:pt x="112569" y="328613"/>
                    <a:pt x="104313" y="331788"/>
                    <a:pt x="136063" y="320992"/>
                  </a:cubicBezTo>
                  <a:cubicBezTo>
                    <a:pt x="153208" y="315278"/>
                    <a:pt x="413558" y="244792"/>
                    <a:pt x="431338" y="164783"/>
                  </a:cubicBezTo>
                  <a:cubicBezTo>
                    <a:pt x="449119" y="84773"/>
                    <a:pt x="432608" y="4763"/>
                    <a:pt x="432608" y="4763"/>
                  </a:cubicBezTo>
                  <a:lnTo>
                    <a:pt x="319578" y="45403"/>
                  </a:lnTo>
                  <a:close/>
                </a:path>
              </a:pathLst>
            </a:custGeom>
            <a:solidFill>
              <a:srgbClr val="F7AF9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9" name="任意多边形: 形状 1128"/>
            <p:cNvSpPr/>
            <p:nvPr/>
          </p:nvSpPr>
          <p:spPr>
            <a:xfrm>
              <a:off x="8752646" y="3901122"/>
              <a:ext cx="158750" cy="285750"/>
            </a:xfrm>
            <a:custGeom>
              <a:avLst/>
              <a:gdLst>
                <a:gd name="connsiteX0" fmla="*/ 42739 w 158750"/>
                <a:gd name="connsiteY0" fmla="*/ 4763 h 285750"/>
                <a:gd name="connsiteX1" fmla="*/ 5909 w 158750"/>
                <a:gd name="connsiteY1" fmla="*/ 178753 h 285750"/>
                <a:gd name="connsiteX2" fmla="*/ 24959 w 158750"/>
                <a:gd name="connsiteY2" fmla="*/ 282258 h 285750"/>
                <a:gd name="connsiteX3" fmla="*/ 160214 w 158750"/>
                <a:gd name="connsiteY3" fmla="*/ 247333 h 285750"/>
                <a:gd name="connsiteX4" fmla="*/ 42739 w 158750"/>
                <a:gd name="connsiteY4" fmla="*/ 4763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750" h="285750">
                  <a:moveTo>
                    <a:pt x="42739" y="4763"/>
                  </a:moveTo>
                  <a:cubicBezTo>
                    <a:pt x="42739" y="4763"/>
                    <a:pt x="-2981" y="87313"/>
                    <a:pt x="5909" y="178753"/>
                  </a:cubicBezTo>
                  <a:cubicBezTo>
                    <a:pt x="14799" y="270193"/>
                    <a:pt x="24959" y="282258"/>
                    <a:pt x="24959" y="282258"/>
                  </a:cubicBezTo>
                  <a:cubicBezTo>
                    <a:pt x="24959" y="282258"/>
                    <a:pt x="118304" y="305118"/>
                    <a:pt x="160214" y="247333"/>
                  </a:cubicBezTo>
                  <a:cubicBezTo>
                    <a:pt x="160214" y="247333"/>
                    <a:pt x="165929" y="17463"/>
                    <a:pt x="42739" y="4763"/>
                  </a:cubicBezTo>
                  <a:close/>
                </a:path>
              </a:pathLst>
            </a:custGeom>
            <a:solidFill>
              <a:srgbClr val="5E63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0" name="任意多边形: 形状 1129"/>
            <p:cNvSpPr/>
            <p:nvPr/>
          </p:nvSpPr>
          <p:spPr>
            <a:xfrm>
              <a:off x="7043103" y="4850447"/>
              <a:ext cx="387350" cy="323850"/>
            </a:xfrm>
            <a:custGeom>
              <a:avLst/>
              <a:gdLst>
                <a:gd name="connsiteX0" fmla="*/ 315278 w 387350"/>
                <a:gd name="connsiteY0" fmla="*/ 258763 h 323850"/>
                <a:gd name="connsiteX1" fmla="*/ 251142 w 387350"/>
                <a:gd name="connsiteY1" fmla="*/ 314643 h 323850"/>
                <a:gd name="connsiteX2" fmla="*/ 101282 w 387350"/>
                <a:gd name="connsiteY2" fmla="*/ 295593 h 323850"/>
                <a:gd name="connsiteX3" fmla="*/ 4763 w 387350"/>
                <a:gd name="connsiteY3" fmla="*/ 28258 h 323850"/>
                <a:gd name="connsiteX4" fmla="*/ 388303 w 387350"/>
                <a:gd name="connsiteY4" fmla="*/ 4763 h 323850"/>
                <a:gd name="connsiteX5" fmla="*/ 315278 w 387350"/>
                <a:gd name="connsiteY5" fmla="*/ 258763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7350" h="323850">
                  <a:moveTo>
                    <a:pt x="315278" y="258763"/>
                  </a:moveTo>
                  <a:cubicBezTo>
                    <a:pt x="315278" y="258763"/>
                    <a:pt x="304482" y="299403"/>
                    <a:pt x="251142" y="314643"/>
                  </a:cubicBezTo>
                  <a:cubicBezTo>
                    <a:pt x="197803" y="329883"/>
                    <a:pt x="112078" y="319088"/>
                    <a:pt x="101282" y="295593"/>
                  </a:cubicBezTo>
                  <a:cubicBezTo>
                    <a:pt x="90488" y="272098"/>
                    <a:pt x="4763" y="28258"/>
                    <a:pt x="4763" y="28258"/>
                  </a:cubicBezTo>
                  <a:lnTo>
                    <a:pt x="388303" y="4763"/>
                  </a:lnTo>
                  <a:lnTo>
                    <a:pt x="315278" y="25876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1" name="任意多边形: 形状 1130"/>
            <p:cNvSpPr/>
            <p:nvPr/>
          </p:nvSpPr>
          <p:spPr>
            <a:xfrm>
              <a:off x="7042670" y="4783982"/>
              <a:ext cx="393700" cy="190500"/>
            </a:xfrm>
            <a:custGeom>
              <a:avLst/>
              <a:gdLst>
                <a:gd name="connsiteX0" fmla="*/ 33136 w 393700"/>
                <a:gd name="connsiteY0" fmla="*/ 31858 h 190500"/>
                <a:gd name="connsiteX1" fmla="*/ 11545 w 393700"/>
                <a:gd name="connsiteY1" fmla="*/ 106788 h 190500"/>
                <a:gd name="connsiteX2" fmla="*/ 208396 w 393700"/>
                <a:gd name="connsiteY2" fmla="*/ 188068 h 190500"/>
                <a:gd name="connsiteX3" fmla="*/ 390640 w 393700"/>
                <a:gd name="connsiteY3" fmla="*/ 83293 h 190500"/>
                <a:gd name="connsiteX4" fmla="*/ 247130 w 393700"/>
                <a:gd name="connsiteY4" fmla="*/ 6458 h 190500"/>
                <a:gd name="connsiteX5" fmla="*/ 33136 w 393700"/>
                <a:gd name="connsiteY5" fmla="*/ 31858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700" h="190500">
                  <a:moveTo>
                    <a:pt x="33136" y="31858"/>
                  </a:moveTo>
                  <a:cubicBezTo>
                    <a:pt x="33136" y="31858"/>
                    <a:pt x="-11950" y="72498"/>
                    <a:pt x="11545" y="106788"/>
                  </a:cubicBezTo>
                  <a:cubicBezTo>
                    <a:pt x="35040" y="141078"/>
                    <a:pt x="129021" y="186163"/>
                    <a:pt x="208396" y="188068"/>
                  </a:cubicBezTo>
                  <a:cubicBezTo>
                    <a:pt x="287771" y="189973"/>
                    <a:pt x="381750" y="128378"/>
                    <a:pt x="390640" y="83293"/>
                  </a:cubicBezTo>
                  <a:cubicBezTo>
                    <a:pt x="398896" y="38208"/>
                    <a:pt x="343650" y="-4337"/>
                    <a:pt x="247130" y="6458"/>
                  </a:cubicBezTo>
                  <a:cubicBezTo>
                    <a:pt x="151246" y="17253"/>
                    <a:pt x="33136" y="31858"/>
                    <a:pt x="33136" y="31858"/>
                  </a:cubicBezTo>
                  <a:close/>
                </a:path>
              </a:pathLst>
            </a:custGeom>
            <a:solidFill>
              <a:srgbClr val="A7BBE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2" name="任意多边形: 形状 1131"/>
            <p:cNvSpPr/>
            <p:nvPr/>
          </p:nvSpPr>
          <p:spPr>
            <a:xfrm>
              <a:off x="6981511" y="3701821"/>
              <a:ext cx="488950" cy="1231900"/>
            </a:xfrm>
            <a:custGeom>
              <a:avLst/>
              <a:gdLst>
                <a:gd name="connsiteX0" fmla="*/ 215579 w 488950"/>
                <a:gd name="connsiteY0" fmla="*/ 614909 h 1231900"/>
                <a:gd name="connsiteX1" fmla="*/ 178749 w 488950"/>
                <a:gd name="connsiteY1" fmla="*/ 321539 h 1231900"/>
                <a:gd name="connsiteX2" fmla="*/ 301939 w 488950"/>
                <a:gd name="connsiteY2" fmla="*/ 21184 h 1231900"/>
                <a:gd name="connsiteX3" fmla="*/ 352104 w 488950"/>
                <a:gd name="connsiteY3" fmla="*/ 411709 h 1231900"/>
                <a:gd name="connsiteX4" fmla="*/ 388934 w 488950"/>
                <a:gd name="connsiteY4" fmla="*/ 578714 h 1231900"/>
                <a:gd name="connsiteX5" fmla="*/ 479104 w 488950"/>
                <a:gd name="connsiteY5" fmla="*/ 605384 h 1231900"/>
                <a:gd name="connsiteX6" fmla="*/ 392109 w 488950"/>
                <a:gd name="connsiteY6" fmla="*/ 879069 h 1231900"/>
                <a:gd name="connsiteX7" fmla="*/ 435289 w 488950"/>
                <a:gd name="connsiteY7" fmla="*/ 935584 h 1231900"/>
                <a:gd name="connsiteX8" fmla="*/ 448624 w 488950"/>
                <a:gd name="connsiteY8" fmla="*/ 1105764 h 1231900"/>
                <a:gd name="connsiteX9" fmla="*/ 178114 w 488950"/>
                <a:gd name="connsiteY9" fmla="*/ 1209269 h 1231900"/>
                <a:gd name="connsiteX10" fmla="*/ 44764 w 488950"/>
                <a:gd name="connsiteY10" fmla="*/ 929234 h 1231900"/>
                <a:gd name="connsiteX11" fmla="*/ 127949 w 488950"/>
                <a:gd name="connsiteY11" fmla="*/ 922249 h 1231900"/>
                <a:gd name="connsiteX12" fmla="*/ 44764 w 488950"/>
                <a:gd name="connsiteY12" fmla="*/ 648564 h 1231900"/>
                <a:gd name="connsiteX13" fmla="*/ 215579 w 488950"/>
                <a:gd name="connsiteY13" fmla="*/ 614909 h 1231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8950" h="1231900">
                  <a:moveTo>
                    <a:pt x="215579" y="614909"/>
                  </a:moveTo>
                  <a:cubicBezTo>
                    <a:pt x="215579" y="614909"/>
                    <a:pt x="181924" y="451714"/>
                    <a:pt x="178749" y="321539"/>
                  </a:cubicBezTo>
                  <a:cubicBezTo>
                    <a:pt x="175574" y="191364"/>
                    <a:pt x="218754" y="-62001"/>
                    <a:pt x="301939" y="21184"/>
                  </a:cubicBezTo>
                  <a:cubicBezTo>
                    <a:pt x="385124" y="104369"/>
                    <a:pt x="362264" y="265024"/>
                    <a:pt x="352104" y="411709"/>
                  </a:cubicBezTo>
                  <a:cubicBezTo>
                    <a:pt x="341944" y="558394"/>
                    <a:pt x="345119" y="588239"/>
                    <a:pt x="388934" y="578714"/>
                  </a:cubicBezTo>
                  <a:cubicBezTo>
                    <a:pt x="432114" y="568554"/>
                    <a:pt x="475929" y="512039"/>
                    <a:pt x="479104" y="605384"/>
                  </a:cubicBezTo>
                  <a:cubicBezTo>
                    <a:pt x="482279" y="698729"/>
                    <a:pt x="462594" y="792074"/>
                    <a:pt x="392109" y="879069"/>
                  </a:cubicBezTo>
                  <a:cubicBezTo>
                    <a:pt x="322259" y="966064"/>
                    <a:pt x="395284" y="929234"/>
                    <a:pt x="435289" y="935584"/>
                  </a:cubicBezTo>
                  <a:cubicBezTo>
                    <a:pt x="475294" y="942569"/>
                    <a:pt x="518474" y="985749"/>
                    <a:pt x="448624" y="1105764"/>
                  </a:cubicBezTo>
                  <a:cubicBezTo>
                    <a:pt x="378774" y="1225779"/>
                    <a:pt x="340039" y="1254989"/>
                    <a:pt x="178114" y="1209269"/>
                  </a:cubicBezTo>
                  <a:cubicBezTo>
                    <a:pt x="10474" y="1161644"/>
                    <a:pt x="-39056" y="935584"/>
                    <a:pt x="44764" y="929234"/>
                  </a:cubicBezTo>
                  <a:cubicBezTo>
                    <a:pt x="127949" y="922249"/>
                    <a:pt x="127949" y="922249"/>
                    <a:pt x="127949" y="922249"/>
                  </a:cubicBezTo>
                  <a:cubicBezTo>
                    <a:pt x="127949" y="922249"/>
                    <a:pt x="14284" y="741909"/>
                    <a:pt x="44764" y="648564"/>
                  </a:cubicBezTo>
                  <a:cubicBezTo>
                    <a:pt x="75244" y="554584"/>
                    <a:pt x="119059" y="517754"/>
                    <a:pt x="215579" y="61490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3" name="任意多边形: 形状 1132"/>
            <p:cNvSpPr/>
            <p:nvPr/>
          </p:nvSpPr>
          <p:spPr>
            <a:xfrm>
              <a:off x="7471093" y="2961958"/>
              <a:ext cx="317500" cy="209550"/>
            </a:xfrm>
            <a:custGeom>
              <a:avLst/>
              <a:gdLst>
                <a:gd name="connsiteX0" fmla="*/ 313372 w 317500"/>
                <a:gd name="connsiteY0" fmla="*/ 4763 h 209550"/>
                <a:gd name="connsiteX1" fmla="*/ 313372 w 317500"/>
                <a:gd name="connsiteY1" fmla="*/ 30163 h 209550"/>
                <a:gd name="connsiteX2" fmla="*/ 4763 w 317500"/>
                <a:gd name="connsiteY2" fmla="*/ 208597 h 209550"/>
                <a:gd name="connsiteX3" fmla="*/ 4763 w 317500"/>
                <a:gd name="connsiteY3" fmla="*/ 18319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0" h="209550">
                  <a:moveTo>
                    <a:pt x="313372" y="4763"/>
                  </a:moveTo>
                  <a:lnTo>
                    <a:pt x="313372" y="30163"/>
                  </a:lnTo>
                  <a:lnTo>
                    <a:pt x="4763" y="208597"/>
                  </a:lnTo>
                  <a:lnTo>
                    <a:pt x="4763" y="18319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4" name="任意多边形: 形状 1133"/>
            <p:cNvSpPr/>
            <p:nvPr/>
          </p:nvSpPr>
          <p:spPr>
            <a:xfrm>
              <a:off x="7470457" y="2663508"/>
              <a:ext cx="317500" cy="361950"/>
            </a:xfrm>
            <a:custGeom>
              <a:avLst/>
              <a:gdLst>
                <a:gd name="connsiteX0" fmla="*/ 313373 w 317500"/>
                <a:gd name="connsiteY0" fmla="*/ 4763 h 361950"/>
                <a:gd name="connsiteX1" fmla="*/ 314008 w 317500"/>
                <a:gd name="connsiteY1" fmla="*/ 181927 h 361950"/>
                <a:gd name="connsiteX2" fmla="*/ 5398 w 317500"/>
                <a:gd name="connsiteY2" fmla="*/ 360363 h 361950"/>
                <a:gd name="connsiteX3" fmla="*/ 4763 w 317500"/>
                <a:gd name="connsiteY3" fmla="*/ 183197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0" h="361950">
                  <a:moveTo>
                    <a:pt x="313373" y="4763"/>
                  </a:moveTo>
                  <a:lnTo>
                    <a:pt x="314008" y="181927"/>
                  </a:lnTo>
                  <a:lnTo>
                    <a:pt x="5398" y="360363"/>
                  </a:lnTo>
                  <a:lnTo>
                    <a:pt x="4763" y="183197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5" name="任意多边形: 形状 1134"/>
            <p:cNvSpPr/>
            <p:nvPr/>
          </p:nvSpPr>
          <p:spPr>
            <a:xfrm>
              <a:off x="7100253" y="2877502"/>
              <a:ext cx="317500" cy="361950"/>
            </a:xfrm>
            <a:custGeom>
              <a:avLst/>
              <a:gdLst>
                <a:gd name="connsiteX0" fmla="*/ 313372 w 317500"/>
                <a:gd name="connsiteY0" fmla="*/ 4763 h 361950"/>
                <a:gd name="connsiteX1" fmla="*/ 314007 w 317500"/>
                <a:gd name="connsiteY1" fmla="*/ 181927 h 361950"/>
                <a:gd name="connsiteX2" fmla="*/ 5397 w 317500"/>
                <a:gd name="connsiteY2" fmla="*/ 359727 h 361950"/>
                <a:gd name="connsiteX3" fmla="*/ 4763 w 317500"/>
                <a:gd name="connsiteY3" fmla="*/ 182563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0" h="361950">
                  <a:moveTo>
                    <a:pt x="313372" y="4763"/>
                  </a:moveTo>
                  <a:lnTo>
                    <a:pt x="314007" y="181927"/>
                  </a:lnTo>
                  <a:lnTo>
                    <a:pt x="5397" y="359727"/>
                  </a:lnTo>
                  <a:lnTo>
                    <a:pt x="4763" y="18256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6" name="任意多边形: 形状 1135"/>
            <p:cNvSpPr/>
            <p:nvPr/>
          </p:nvSpPr>
          <p:spPr>
            <a:xfrm>
              <a:off x="6723697" y="2655888"/>
              <a:ext cx="330200" cy="558800"/>
            </a:xfrm>
            <a:custGeom>
              <a:avLst/>
              <a:gdLst>
                <a:gd name="connsiteX0" fmla="*/ 4763 w 330200"/>
                <a:gd name="connsiteY0" fmla="*/ 189548 h 558800"/>
                <a:gd name="connsiteX1" fmla="*/ 324803 w 330200"/>
                <a:gd name="connsiteY1" fmla="*/ 4763 h 558800"/>
                <a:gd name="connsiteX2" fmla="*/ 326072 w 330200"/>
                <a:gd name="connsiteY2" fmla="*/ 372427 h 558800"/>
                <a:gd name="connsiteX3" fmla="*/ 6033 w 330200"/>
                <a:gd name="connsiteY3" fmla="*/ 557213 h 558800"/>
                <a:gd name="connsiteX4" fmla="*/ 4763 w 330200"/>
                <a:gd name="connsiteY4" fmla="*/ 189548 h 558800"/>
                <a:gd name="connsiteX5" fmla="*/ 206693 w 330200"/>
                <a:gd name="connsiteY5" fmla="*/ 364173 h 558800"/>
                <a:gd name="connsiteX6" fmla="*/ 267018 w 330200"/>
                <a:gd name="connsiteY6" fmla="*/ 329248 h 558800"/>
                <a:gd name="connsiteX7" fmla="*/ 196533 w 330200"/>
                <a:gd name="connsiteY7" fmla="*/ 155892 h 558800"/>
                <a:gd name="connsiteX8" fmla="*/ 133668 w 330200"/>
                <a:gd name="connsiteY8" fmla="*/ 192088 h 558800"/>
                <a:gd name="connsiteX9" fmla="*/ 64453 w 330200"/>
                <a:gd name="connsiteY9" fmla="*/ 446723 h 558800"/>
                <a:gd name="connsiteX10" fmla="*/ 123508 w 330200"/>
                <a:gd name="connsiteY10" fmla="*/ 412433 h 558800"/>
                <a:gd name="connsiteX11" fmla="*/ 132397 w 330200"/>
                <a:gd name="connsiteY11" fmla="*/ 371792 h 558800"/>
                <a:gd name="connsiteX12" fmla="*/ 197803 w 330200"/>
                <a:gd name="connsiteY12" fmla="*/ 334327 h 558800"/>
                <a:gd name="connsiteX13" fmla="*/ 206693 w 330200"/>
                <a:gd name="connsiteY13" fmla="*/ 364173 h 55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0200" h="558800">
                  <a:moveTo>
                    <a:pt x="4763" y="189548"/>
                  </a:moveTo>
                  <a:lnTo>
                    <a:pt x="324803" y="4763"/>
                  </a:lnTo>
                  <a:lnTo>
                    <a:pt x="326072" y="372427"/>
                  </a:lnTo>
                  <a:lnTo>
                    <a:pt x="6033" y="557213"/>
                  </a:lnTo>
                  <a:lnTo>
                    <a:pt x="4763" y="189548"/>
                  </a:lnTo>
                  <a:close/>
                  <a:moveTo>
                    <a:pt x="206693" y="364173"/>
                  </a:moveTo>
                  <a:lnTo>
                    <a:pt x="267018" y="329248"/>
                  </a:lnTo>
                  <a:lnTo>
                    <a:pt x="196533" y="155892"/>
                  </a:lnTo>
                  <a:lnTo>
                    <a:pt x="133668" y="192088"/>
                  </a:lnTo>
                  <a:lnTo>
                    <a:pt x="64453" y="446723"/>
                  </a:lnTo>
                  <a:lnTo>
                    <a:pt x="123508" y="412433"/>
                  </a:lnTo>
                  <a:lnTo>
                    <a:pt x="132397" y="371792"/>
                  </a:lnTo>
                  <a:lnTo>
                    <a:pt x="197803" y="334327"/>
                  </a:lnTo>
                  <a:lnTo>
                    <a:pt x="206693" y="364173"/>
                  </a:lnTo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7" name="任意多边形: 形状 1136"/>
            <p:cNvSpPr/>
            <p:nvPr/>
          </p:nvSpPr>
          <p:spPr>
            <a:xfrm>
              <a:off x="6862763" y="2880677"/>
              <a:ext cx="50800" cy="95250"/>
            </a:xfrm>
            <a:custGeom>
              <a:avLst/>
              <a:gdLst>
                <a:gd name="connsiteX0" fmla="*/ 4763 w 50800"/>
                <a:gd name="connsiteY0" fmla="*/ 93663 h 95250"/>
                <a:gd name="connsiteX1" fmla="*/ 25082 w 50800"/>
                <a:gd name="connsiteY1" fmla="*/ 4763 h 95250"/>
                <a:gd name="connsiteX2" fmla="*/ 46038 w 50800"/>
                <a:gd name="connsiteY2" fmla="*/ 7016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800" h="95250">
                  <a:moveTo>
                    <a:pt x="4763" y="93663"/>
                  </a:moveTo>
                  <a:lnTo>
                    <a:pt x="25082" y="4763"/>
                  </a:lnTo>
                  <a:lnTo>
                    <a:pt x="46038" y="70168"/>
                  </a:lnTo>
                  <a:close/>
                </a:path>
              </a:pathLst>
            </a:custGeom>
            <a:solidFill>
              <a:srgbClr val="B5CE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8" name="任意多边形: 形状 1137"/>
            <p:cNvSpPr/>
            <p:nvPr/>
          </p:nvSpPr>
          <p:spPr>
            <a:xfrm>
              <a:off x="6526840" y="2078592"/>
              <a:ext cx="1435100" cy="1739900"/>
            </a:xfrm>
            <a:custGeom>
              <a:avLst/>
              <a:gdLst>
                <a:gd name="connsiteX0" fmla="*/ 1430979 w 1435100"/>
                <a:gd name="connsiteY0" fmla="*/ 850663 h 1739900"/>
                <a:gd name="connsiteX1" fmla="*/ 1430979 w 1435100"/>
                <a:gd name="connsiteY1" fmla="*/ 817643 h 1739900"/>
                <a:gd name="connsiteX2" fmla="*/ 1429075 w 1435100"/>
                <a:gd name="connsiteY2" fmla="*/ 72153 h 1739900"/>
                <a:gd name="connsiteX3" fmla="*/ 1333825 w 1435100"/>
                <a:gd name="connsiteY3" fmla="*/ 17543 h 1739900"/>
                <a:gd name="connsiteX4" fmla="*/ 99385 w 1435100"/>
                <a:gd name="connsiteY4" fmla="*/ 730648 h 1739900"/>
                <a:gd name="connsiteX5" fmla="*/ 4769 w 1435100"/>
                <a:gd name="connsiteY5" fmla="*/ 895113 h 1739900"/>
                <a:gd name="connsiteX6" fmla="*/ 6675 w 1435100"/>
                <a:gd name="connsiteY6" fmla="*/ 1673624 h 1739900"/>
                <a:gd name="connsiteX7" fmla="*/ 101925 w 1435100"/>
                <a:gd name="connsiteY7" fmla="*/ 1728233 h 1739900"/>
                <a:gd name="connsiteX8" fmla="*/ 1332554 w 1435100"/>
                <a:gd name="connsiteY8" fmla="*/ 1017668 h 1739900"/>
                <a:gd name="connsiteX9" fmla="*/ 1432250 w 1435100"/>
                <a:gd name="connsiteY9" fmla="*/ 1074183 h 1739900"/>
                <a:gd name="connsiteX10" fmla="*/ 1430979 w 1435100"/>
                <a:gd name="connsiteY10" fmla="*/ 850663 h 1739900"/>
                <a:gd name="connsiteX11" fmla="*/ 208604 w 1435100"/>
                <a:gd name="connsiteY11" fmla="*/ 1195468 h 1739900"/>
                <a:gd name="connsiteX12" fmla="*/ 517215 w 1435100"/>
                <a:gd name="connsiteY12" fmla="*/ 1017668 h 1739900"/>
                <a:gd name="connsiteX13" fmla="*/ 517850 w 1435100"/>
                <a:gd name="connsiteY13" fmla="*/ 1194833 h 1739900"/>
                <a:gd name="connsiteX14" fmla="*/ 209240 w 1435100"/>
                <a:gd name="connsiteY14" fmla="*/ 1372633 h 1739900"/>
                <a:gd name="connsiteX15" fmla="*/ 208604 w 1435100"/>
                <a:gd name="connsiteY15" fmla="*/ 1195468 h 1739900"/>
                <a:gd name="connsiteX16" fmla="*/ 209875 w 1435100"/>
                <a:gd name="connsiteY16" fmla="*/ 1569483 h 1739900"/>
                <a:gd name="connsiteX17" fmla="*/ 209875 w 1435100"/>
                <a:gd name="connsiteY17" fmla="*/ 1544083 h 1739900"/>
                <a:gd name="connsiteX18" fmla="*/ 364179 w 1435100"/>
                <a:gd name="connsiteY18" fmla="*/ 1455183 h 1739900"/>
                <a:gd name="connsiteX19" fmla="*/ 364179 w 1435100"/>
                <a:gd name="connsiteY19" fmla="*/ 1480583 h 1739900"/>
                <a:gd name="connsiteX20" fmla="*/ 209875 w 1435100"/>
                <a:gd name="connsiteY20" fmla="*/ 1569483 h 1739900"/>
                <a:gd name="connsiteX21" fmla="*/ 209240 w 1435100"/>
                <a:gd name="connsiteY21" fmla="*/ 1519318 h 1739900"/>
                <a:gd name="connsiteX22" fmla="*/ 209240 w 1435100"/>
                <a:gd name="connsiteY22" fmla="*/ 1493918 h 1739900"/>
                <a:gd name="connsiteX23" fmla="*/ 517850 w 1435100"/>
                <a:gd name="connsiteY23" fmla="*/ 1316118 h 1739900"/>
                <a:gd name="connsiteX24" fmla="*/ 517850 w 1435100"/>
                <a:gd name="connsiteY24" fmla="*/ 1341518 h 1739900"/>
                <a:gd name="connsiteX25" fmla="*/ 209240 w 1435100"/>
                <a:gd name="connsiteY25" fmla="*/ 1519318 h 1739900"/>
                <a:gd name="connsiteX26" fmla="*/ 202254 w 1435100"/>
                <a:gd name="connsiteY26" fmla="*/ 1134508 h 1739900"/>
                <a:gd name="connsiteX27" fmla="*/ 200985 w 1435100"/>
                <a:gd name="connsiteY27" fmla="*/ 766843 h 1739900"/>
                <a:gd name="connsiteX28" fmla="*/ 521660 w 1435100"/>
                <a:gd name="connsiteY28" fmla="*/ 582058 h 1739900"/>
                <a:gd name="connsiteX29" fmla="*/ 522929 w 1435100"/>
                <a:gd name="connsiteY29" fmla="*/ 949723 h 1739900"/>
                <a:gd name="connsiteX30" fmla="*/ 202254 w 1435100"/>
                <a:gd name="connsiteY30" fmla="*/ 1134508 h 1739900"/>
                <a:gd name="connsiteX31" fmla="*/ 577540 w 1435100"/>
                <a:gd name="connsiteY31" fmla="*/ 606823 h 1739900"/>
                <a:gd name="connsiteX32" fmla="*/ 1255719 w 1435100"/>
                <a:gd name="connsiteY32" fmla="*/ 215028 h 1739900"/>
                <a:gd name="connsiteX33" fmla="*/ 1255719 w 1435100"/>
                <a:gd name="connsiteY33" fmla="*/ 240428 h 1739900"/>
                <a:gd name="connsiteX34" fmla="*/ 577540 w 1435100"/>
                <a:gd name="connsiteY34" fmla="*/ 632223 h 1739900"/>
                <a:gd name="connsiteX35" fmla="*/ 577540 w 1435100"/>
                <a:gd name="connsiteY35" fmla="*/ 606823 h 1739900"/>
                <a:gd name="connsiteX36" fmla="*/ 577540 w 1435100"/>
                <a:gd name="connsiteY36" fmla="*/ 657623 h 1739900"/>
                <a:gd name="connsiteX37" fmla="*/ 1255719 w 1435100"/>
                <a:gd name="connsiteY37" fmla="*/ 265828 h 1739900"/>
                <a:gd name="connsiteX38" fmla="*/ 1255719 w 1435100"/>
                <a:gd name="connsiteY38" fmla="*/ 291228 h 1739900"/>
                <a:gd name="connsiteX39" fmla="*/ 577540 w 1435100"/>
                <a:gd name="connsiteY39" fmla="*/ 683023 h 1739900"/>
                <a:gd name="connsiteX40" fmla="*/ 577540 w 1435100"/>
                <a:gd name="connsiteY40" fmla="*/ 657623 h 1739900"/>
                <a:gd name="connsiteX41" fmla="*/ 578175 w 1435100"/>
                <a:gd name="connsiteY41" fmla="*/ 981473 h 1739900"/>
                <a:gd name="connsiteX42" fmla="*/ 886785 w 1435100"/>
                <a:gd name="connsiteY42" fmla="*/ 803673 h 1739900"/>
                <a:gd name="connsiteX43" fmla="*/ 887419 w 1435100"/>
                <a:gd name="connsiteY43" fmla="*/ 980838 h 1739900"/>
                <a:gd name="connsiteX44" fmla="*/ 578810 w 1435100"/>
                <a:gd name="connsiteY44" fmla="*/ 1158638 h 1739900"/>
                <a:gd name="connsiteX45" fmla="*/ 578175 w 1435100"/>
                <a:gd name="connsiteY45" fmla="*/ 981473 h 1739900"/>
                <a:gd name="connsiteX46" fmla="*/ 579444 w 1435100"/>
                <a:gd name="connsiteY46" fmla="*/ 1229758 h 1739900"/>
                <a:gd name="connsiteX47" fmla="*/ 888054 w 1435100"/>
                <a:gd name="connsiteY47" fmla="*/ 1051958 h 1739900"/>
                <a:gd name="connsiteX48" fmla="*/ 888054 w 1435100"/>
                <a:gd name="connsiteY48" fmla="*/ 1077358 h 1739900"/>
                <a:gd name="connsiteX49" fmla="*/ 579444 w 1435100"/>
                <a:gd name="connsiteY49" fmla="*/ 1255158 h 1739900"/>
                <a:gd name="connsiteX50" fmla="*/ 579444 w 1435100"/>
                <a:gd name="connsiteY50" fmla="*/ 1229758 h 1739900"/>
                <a:gd name="connsiteX51" fmla="*/ 579444 w 1435100"/>
                <a:gd name="connsiteY51" fmla="*/ 1356124 h 1739900"/>
                <a:gd name="connsiteX52" fmla="*/ 579444 w 1435100"/>
                <a:gd name="connsiteY52" fmla="*/ 1330724 h 1739900"/>
                <a:gd name="connsiteX53" fmla="*/ 733750 w 1435100"/>
                <a:gd name="connsiteY53" fmla="*/ 1241824 h 1739900"/>
                <a:gd name="connsiteX54" fmla="*/ 733750 w 1435100"/>
                <a:gd name="connsiteY54" fmla="*/ 1267224 h 1739900"/>
                <a:gd name="connsiteX55" fmla="*/ 579444 w 1435100"/>
                <a:gd name="connsiteY55" fmla="*/ 1356124 h 1739900"/>
                <a:gd name="connsiteX56" fmla="*/ 579444 w 1435100"/>
                <a:gd name="connsiteY56" fmla="*/ 1305324 h 1739900"/>
                <a:gd name="connsiteX57" fmla="*/ 579444 w 1435100"/>
                <a:gd name="connsiteY57" fmla="*/ 1279924 h 1739900"/>
                <a:gd name="connsiteX58" fmla="*/ 888054 w 1435100"/>
                <a:gd name="connsiteY58" fmla="*/ 1102123 h 1739900"/>
                <a:gd name="connsiteX59" fmla="*/ 888054 w 1435100"/>
                <a:gd name="connsiteY59" fmla="*/ 1127523 h 1739900"/>
                <a:gd name="connsiteX60" fmla="*/ 579444 w 1435100"/>
                <a:gd name="connsiteY60" fmla="*/ 1305324 h 1739900"/>
                <a:gd name="connsiteX61" fmla="*/ 577540 w 1435100"/>
                <a:gd name="connsiteY61" fmla="*/ 733823 h 1739900"/>
                <a:gd name="connsiteX62" fmla="*/ 577540 w 1435100"/>
                <a:gd name="connsiteY62" fmla="*/ 708423 h 1739900"/>
                <a:gd name="connsiteX63" fmla="*/ 916629 w 1435100"/>
                <a:gd name="connsiteY63" fmla="*/ 512843 h 1739900"/>
                <a:gd name="connsiteX64" fmla="*/ 916629 w 1435100"/>
                <a:gd name="connsiteY64" fmla="*/ 538243 h 1739900"/>
                <a:gd name="connsiteX65" fmla="*/ 577540 w 1435100"/>
                <a:gd name="connsiteY65" fmla="*/ 733823 h 1739900"/>
                <a:gd name="connsiteX66" fmla="*/ 948379 w 1435100"/>
                <a:gd name="connsiteY66" fmla="*/ 768113 h 1739900"/>
                <a:gd name="connsiteX67" fmla="*/ 1256990 w 1435100"/>
                <a:gd name="connsiteY67" fmla="*/ 590313 h 1739900"/>
                <a:gd name="connsiteX68" fmla="*/ 1257625 w 1435100"/>
                <a:gd name="connsiteY68" fmla="*/ 767479 h 1739900"/>
                <a:gd name="connsiteX69" fmla="*/ 949015 w 1435100"/>
                <a:gd name="connsiteY69" fmla="*/ 945279 h 1739900"/>
                <a:gd name="connsiteX70" fmla="*/ 948379 w 1435100"/>
                <a:gd name="connsiteY70" fmla="*/ 768113 h 1739900"/>
                <a:gd name="connsiteX71" fmla="*/ 949015 w 1435100"/>
                <a:gd name="connsiteY71" fmla="*/ 1015763 h 1739900"/>
                <a:gd name="connsiteX72" fmla="*/ 1257625 w 1435100"/>
                <a:gd name="connsiteY72" fmla="*/ 837963 h 1739900"/>
                <a:gd name="connsiteX73" fmla="*/ 1257625 w 1435100"/>
                <a:gd name="connsiteY73" fmla="*/ 863363 h 1739900"/>
                <a:gd name="connsiteX74" fmla="*/ 949015 w 1435100"/>
                <a:gd name="connsiteY74" fmla="*/ 1041163 h 1739900"/>
                <a:gd name="connsiteX75" fmla="*/ 949015 w 1435100"/>
                <a:gd name="connsiteY75" fmla="*/ 1015763 h 1739900"/>
                <a:gd name="connsiteX76" fmla="*/ 949015 w 1435100"/>
                <a:gd name="connsiteY76" fmla="*/ 1091963 h 1739900"/>
                <a:gd name="connsiteX77" fmla="*/ 949015 w 1435100"/>
                <a:gd name="connsiteY77" fmla="*/ 1066563 h 1739900"/>
                <a:gd name="connsiteX78" fmla="*/ 1257625 w 1435100"/>
                <a:gd name="connsiteY78" fmla="*/ 888763 h 1739900"/>
                <a:gd name="connsiteX79" fmla="*/ 1257625 w 1435100"/>
                <a:gd name="connsiteY79" fmla="*/ 914163 h 1739900"/>
                <a:gd name="connsiteX80" fmla="*/ 949015 w 1435100"/>
                <a:gd name="connsiteY80" fmla="*/ 1091963 h 1739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435100" h="1739900">
                  <a:moveTo>
                    <a:pt x="1430979" y="850663"/>
                  </a:moveTo>
                  <a:lnTo>
                    <a:pt x="1430979" y="817643"/>
                  </a:lnTo>
                  <a:lnTo>
                    <a:pt x="1429075" y="72153"/>
                  </a:lnTo>
                  <a:cubicBezTo>
                    <a:pt x="1429075" y="11828"/>
                    <a:pt x="1385894" y="-12302"/>
                    <a:pt x="1333825" y="17543"/>
                  </a:cubicBezTo>
                  <a:lnTo>
                    <a:pt x="99385" y="730648"/>
                  </a:lnTo>
                  <a:cubicBezTo>
                    <a:pt x="47315" y="761129"/>
                    <a:pt x="4135" y="834788"/>
                    <a:pt x="4769" y="895113"/>
                  </a:cubicBezTo>
                  <a:lnTo>
                    <a:pt x="6675" y="1673624"/>
                  </a:lnTo>
                  <a:cubicBezTo>
                    <a:pt x="6675" y="1733949"/>
                    <a:pt x="49854" y="1758079"/>
                    <a:pt x="101925" y="1728233"/>
                  </a:cubicBezTo>
                  <a:lnTo>
                    <a:pt x="1332554" y="1017668"/>
                  </a:lnTo>
                  <a:lnTo>
                    <a:pt x="1432250" y="1074183"/>
                  </a:lnTo>
                  <a:lnTo>
                    <a:pt x="1430979" y="850663"/>
                  </a:lnTo>
                  <a:close/>
                  <a:moveTo>
                    <a:pt x="208604" y="1195468"/>
                  </a:moveTo>
                  <a:lnTo>
                    <a:pt x="517215" y="1017668"/>
                  </a:lnTo>
                  <a:lnTo>
                    <a:pt x="517850" y="1194833"/>
                  </a:lnTo>
                  <a:lnTo>
                    <a:pt x="209240" y="1372633"/>
                  </a:lnTo>
                  <a:lnTo>
                    <a:pt x="208604" y="1195468"/>
                  </a:lnTo>
                  <a:close/>
                  <a:moveTo>
                    <a:pt x="209875" y="1569483"/>
                  </a:moveTo>
                  <a:lnTo>
                    <a:pt x="209875" y="1544083"/>
                  </a:lnTo>
                  <a:lnTo>
                    <a:pt x="364179" y="1455183"/>
                  </a:lnTo>
                  <a:lnTo>
                    <a:pt x="364179" y="1480583"/>
                  </a:lnTo>
                  <a:lnTo>
                    <a:pt x="209875" y="1569483"/>
                  </a:lnTo>
                  <a:close/>
                  <a:moveTo>
                    <a:pt x="209240" y="1519318"/>
                  </a:moveTo>
                  <a:lnTo>
                    <a:pt x="209240" y="1493918"/>
                  </a:lnTo>
                  <a:lnTo>
                    <a:pt x="517850" y="1316118"/>
                  </a:lnTo>
                  <a:lnTo>
                    <a:pt x="517850" y="1341518"/>
                  </a:lnTo>
                  <a:lnTo>
                    <a:pt x="209240" y="1519318"/>
                  </a:lnTo>
                  <a:close/>
                  <a:moveTo>
                    <a:pt x="202254" y="1134508"/>
                  </a:moveTo>
                  <a:lnTo>
                    <a:pt x="200985" y="766843"/>
                  </a:lnTo>
                  <a:lnTo>
                    <a:pt x="521660" y="582058"/>
                  </a:lnTo>
                  <a:lnTo>
                    <a:pt x="522929" y="949723"/>
                  </a:lnTo>
                  <a:lnTo>
                    <a:pt x="202254" y="1134508"/>
                  </a:lnTo>
                  <a:close/>
                  <a:moveTo>
                    <a:pt x="577540" y="606823"/>
                  </a:moveTo>
                  <a:lnTo>
                    <a:pt x="1255719" y="215028"/>
                  </a:lnTo>
                  <a:lnTo>
                    <a:pt x="1255719" y="240428"/>
                  </a:lnTo>
                  <a:lnTo>
                    <a:pt x="577540" y="632223"/>
                  </a:lnTo>
                  <a:lnTo>
                    <a:pt x="577540" y="606823"/>
                  </a:lnTo>
                  <a:close/>
                  <a:moveTo>
                    <a:pt x="577540" y="657623"/>
                  </a:moveTo>
                  <a:lnTo>
                    <a:pt x="1255719" y="265828"/>
                  </a:lnTo>
                  <a:lnTo>
                    <a:pt x="1255719" y="291228"/>
                  </a:lnTo>
                  <a:lnTo>
                    <a:pt x="577540" y="683023"/>
                  </a:lnTo>
                  <a:lnTo>
                    <a:pt x="577540" y="657623"/>
                  </a:lnTo>
                  <a:close/>
                  <a:moveTo>
                    <a:pt x="578175" y="981473"/>
                  </a:moveTo>
                  <a:lnTo>
                    <a:pt x="886785" y="803673"/>
                  </a:lnTo>
                  <a:lnTo>
                    <a:pt x="887419" y="980838"/>
                  </a:lnTo>
                  <a:lnTo>
                    <a:pt x="578810" y="1158638"/>
                  </a:lnTo>
                  <a:lnTo>
                    <a:pt x="578175" y="981473"/>
                  </a:lnTo>
                  <a:close/>
                  <a:moveTo>
                    <a:pt x="579444" y="1229758"/>
                  </a:moveTo>
                  <a:lnTo>
                    <a:pt x="888054" y="1051958"/>
                  </a:lnTo>
                  <a:lnTo>
                    <a:pt x="888054" y="1077358"/>
                  </a:lnTo>
                  <a:lnTo>
                    <a:pt x="579444" y="1255158"/>
                  </a:lnTo>
                  <a:lnTo>
                    <a:pt x="579444" y="1229758"/>
                  </a:lnTo>
                  <a:close/>
                  <a:moveTo>
                    <a:pt x="579444" y="1356124"/>
                  </a:moveTo>
                  <a:lnTo>
                    <a:pt x="579444" y="1330724"/>
                  </a:lnTo>
                  <a:lnTo>
                    <a:pt x="733750" y="1241824"/>
                  </a:lnTo>
                  <a:lnTo>
                    <a:pt x="733750" y="1267224"/>
                  </a:lnTo>
                  <a:lnTo>
                    <a:pt x="579444" y="1356124"/>
                  </a:lnTo>
                  <a:close/>
                  <a:moveTo>
                    <a:pt x="579444" y="1305324"/>
                  </a:moveTo>
                  <a:lnTo>
                    <a:pt x="579444" y="1279924"/>
                  </a:lnTo>
                  <a:lnTo>
                    <a:pt x="888054" y="1102123"/>
                  </a:lnTo>
                  <a:lnTo>
                    <a:pt x="888054" y="1127523"/>
                  </a:lnTo>
                  <a:lnTo>
                    <a:pt x="579444" y="1305324"/>
                  </a:lnTo>
                  <a:close/>
                  <a:moveTo>
                    <a:pt x="577540" y="733823"/>
                  </a:moveTo>
                  <a:lnTo>
                    <a:pt x="577540" y="708423"/>
                  </a:lnTo>
                  <a:lnTo>
                    <a:pt x="916629" y="512843"/>
                  </a:lnTo>
                  <a:lnTo>
                    <a:pt x="916629" y="538243"/>
                  </a:lnTo>
                  <a:lnTo>
                    <a:pt x="577540" y="733823"/>
                  </a:lnTo>
                  <a:close/>
                  <a:moveTo>
                    <a:pt x="948379" y="768113"/>
                  </a:moveTo>
                  <a:lnTo>
                    <a:pt x="1256990" y="590313"/>
                  </a:lnTo>
                  <a:lnTo>
                    <a:pt x="1257625" y="767479"/>
                  </a:lnTo>
                  <a:lnTo>
                    <a:pt x="949015" y="945279"/>
                  </a:lnTo>
                  <a:lnTo>
                    <a:pt x="948379" y="768113"/>
                  </a:lnTo>
                  <a:close/>
                  <a:moveTo>
                    <a:pt x="949015" y="1015763"/>
                  </a:moveTo>
                  <a:lnTo>
                    <a:pt x="1257625" y="837963"/>
                  </a:lnTo>
                  <a:lnTo>
                    <a:pt x="1257625" y="863363"/>
                  </a:lnTo>
                  <a:lnTo>
                    <a:pt x="949015" y="1041163"/>
                  </a:lnTo>
                  <a:lnTo>
                    <a:pt x="949015" y="1015763"/>
                  </a:lnTo>
                  <a:close/>
                  <a:moveTo>
                    <a:pt x="949015" y="1091963"/>
                  </a:moveTo>
                  <a:lnTo>
                    <a:pt x="949015" y="1066563"/>
                  </a:lnTo>
                  <a:lnTo>
                    <a:pt x="1257625" y="888763"/>
                  </a:lnTo>
                  <a:lnTo>
                    <a:pt x="1257625" y="914163"/>
                  </a:lnTo>
                  <a:lnTo>
                    <a:pt x="949015" y="1091963"/>
                  </a:lnTo>
                  <a:close/>
                </a:path>
              </a:pathLst>
            </a:custGeom>
            <a:solidFill>
              <a:srgbClr val="F3F6F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9" name="任意多边形: 形状 1138"/>
            <p:cNvSpPr/>
            <p:nvPr/>
          </p:nvSpPr>
          <p:spPr>
            <a:xfrm>
              <a:off x="7471093" y="2911792"/>
              <a:ext cx="317500" cy="209550"/>
            </a:xfrm>
            <a:custGeom>
              <a:avLst/>
              <a:gdLst>
                <a:gd name="connsiteX0" fmla="*/ 313372 w 317500"/>
                <a:gd name="connsiteY0" fmla="*/ 4763 h 209550"/>
                <a:gd name="connsiteX1" fmla="*/ 313372 w 317500"/>
                <a:gd name="connsiteY1" fmla="*/ 30163 h 209550"/>
                <a:gd name="connsiteX2" fmla="*/ 4763 w 317500"/>
                <a:gd name="connsiteY2" fmla="*/ 207963 h 209550"/>
                <a:gd name="connsiteX3" fmla="*/ 4763 w 317500"/>
                <a:gd name="connsiteY3" fmla="*/ 182563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0" h="209550">
                  <a:moveTo>
                    <a:pt x="313372" y="4763"/>
                  </a:moveTo>
                  <a:lnTo>
                    <a:pt x="313372" y="30163"/>
                  </a:lnTo>
                  <a:lnTo>
                    <a:pt x="4763" y="207963"/>
                  </a:lnTo>
                  <a:lnTo>
                    <a:pt x="4763" y="1825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0" name="任意多边形: 形状 1139"/>
            <p:cNvSpPr/>
            <p:nvPr/>
          </p:nvSpPr>
          <p:spPr>
            <a:xfrm>
              <a:off x="7099618" y="2586038"/>
              <a:ext cx="349250" cy="228600"/>
            </a:xfrm>
            <a:custGeom>
              <a:avLst/>
              <a:gdLst>
                <a:gd name="connsiteX0" fmla="*/ 343852 w 349250"/>
                <a:gd name="connsiteY0" fmla="*/ 4763 h 228600"/>
                <a:gd name="connsiteX1" fmla="*/ 344488 w 349250"/>
                <a:gd name="connsiteY1" fmla="*/ 30163 h 228600"/>
                <a:gd name="connsiteX2" fmla="*/ 4763 w 349250"/>
                <a:gd name="connsiteY2" fmla="*/ 226377 h 228600"/>
                <a:gd name="connsiteX3" fmla="*/ 4763 w 349250"/>
                <a:gd name="connsiteY3" fmla="*/ 200977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9250" h="228600">
                  <a:moveTo>
                    <a:pt x="343852" y="4763"/>
                  </a:moveTo>
                  <a:lnTo>
                    <a:pt x="344488" y="30163"/>
                  </a:lnTo>
                  <a:lnTo>
                    <a:pt x="4763" y="226377"/>
                  </a:lnTo>
                  <a:lnTo>
                    <a:pt x="4763" y="20097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1" name="任意多边形: 形状 1140"/>
            <p:cNvSpPr/>
            <p:nvPr/>
          </p:nvSpPr>
          <p:spPr>
            <a:xfrm>
              <a:off x="7099618" y="2339658"/>
              <a:ext cx="685800" cy="425450"/>
            </a:xfrm>
            <a:custGeom>
              <a:avLst/>
              <a:gdLst>
                <a:gd name="connsiteX0" fmla="*/ 682942 w 685800"/>
                <a:gd name="connsiteY0" fmla="*/ 4763 h 425450"/>
                <a:gd name="connsiteX1" fmla="*/ 682942 w 685800"/>
                <a:gd name="connsiteY1" fmla="*/ 30163 h 425450"/>
                <a:gd name="connsiteX2" fmla="*/ 4763 w 685800"/>
                <a:gd name="connsiteY2" fmla="*/ 421957 h 425450"/>
                <a:gd name="connsiteX3" fmla="*/ 4763 w 685800"/>
                <a:gd name="connsiteY3" fmla="*/ 396557 h 42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" h="425450">
                  <a:moveTo>
                    <a:pt x="682942" y="4763"/>
                  </a:moveTo>
                  <a:lnTo>
                    <a:pt x="682942" y="30163"/>
                  </a:lnTo>
                  <a:lnTo>
                    <a:pt x="4763" y="421957"/>
                  </a:lnTo>
                  <a:lnTo>
                    <a:pt x="4763" y="39655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2" name="任意多边形: 形状 1141"/>
            <p:cNvSpPr/>
            <p:nvPr/>
          </p:nvSpPr>
          <p:spPr>
            <a:xfrm>
              <a:off x="7099618" y="2289492"/>
              <a:ext cx="685800" cy="425450"/>
            </a:xfrm>
            <a:custGeom>
              <a:avLst/>
              <a:gdLst>
                <a:gd name="connsiteX0" fmla="*/ 682942 w 685800"/>
                <a:gd name="connsiteY0" fmla="*/ 4763 h 425450"/>
                <a:gd name="connsiteX1" fmla="*/ 682942 w 685800"/>
                <a:gd name="connsiteY1" fmla="*/ 29528 h 425450"/>
                <a:gd name="connsiteX2" fmla="*/ 4763 w 685800"/>
                <a:gd name="connsiteY2" fmla="*/ 421323 h 425450"/>
                <a:gd name="connsiteX3" fmla="*/ 4763 w 685800"/>
                <a:gd name="connsiteY3" fmla="*/ 395923 h 42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" h="425450">
                  <a:moveTo>
                    <a:pt x="682942" y="4763"/>
                  </a:moveTo>
                  <a:lnTo>
                    <a:pt x="682942" y="29528"/>
                  </a:lnTo>
                  <a:lnTo>
                    <a:pt x="4763" y="421323"/>
                  </a:lnTo>
                  <a:lnTo>
                    <a:pt x="4763" y="39592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3" name="任意多边形: 形状 1142"/>
            <p:cNvSpPr/>
            <p:nvPr/>
          </p:nvSpPr>
          <p:spPr>
            <a:xfrm>
              <a:off x="7477443" y="3102292"/>
              <a:ext cx="158750" cy="120650"/>
            </a:xfrm>
            <a:custGeom>
              <a:avLst/>
              <a:gdLst>
                <a:gd name="connsiteX0" fmla="*/ 159067 w 158750"/>
                <a:gd name="connsiteY0" fmla="*/ 4763 h 120650"/>
                <a:gd name="connsiteX1" fmla="*/ 159067 w 158750"/>
                <a:gd name="connsiteY1" fmla="*/ 29528 h 120650"/>
                <a:gd name="connsiteX2" fmla="*/ 4763 w 158750"/>
                <a:gd name="connsiteY2" fmla="*/ 119063 h 120650"/>
                <a:gd name="connsiteX3" fmla="*/ 4763 w 158750"/>
                <a:gd name="connsiteY3" fmla="*/ 93663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750" h="120650">
                  <a:moveTo>
                    <a:pt x="159067" y="4763"/>
                  </a:moveTo>
                  <a:lnTo>
                    <a:pt x="159067" y="29528"/>
                  </a:lnTo>
                  <a:lnTo>
                    <a:pt x="4763" y="119063"/>
                  </a:lnTo>
                  <a:lnTo>
                    <a:pt x="4763" y="936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4" name="任意多边形: 形状 1143"/>
            <p:cNvSpPr/>
            <p:nvPr/>
          </p:nvSpPr>
          <p:spPr>
            <a:xfrm>
              <a:off x="6729413" y="3327083"/>
              <a:ext cx="317500" cy="209550"/>
            </a:xfrm>
            <a:custGeom>
              <a:avLst/>
              <a:gdLst>
                <a:gd name="connsiteX0" fmla="*/ 313372 w 317500"/>
                <a:gd name="connsiteY0" fmla="*/ 4763 h 209550"/>
                <a:gd name="connsiteX1" fmla="*/ 313372 w 317500"/>
                <a:gd name="connsiteY1" fmla="*/ 29527 h 209550"/>
                <a:gd name="connsiteX2" fmla="*/ 4763 w 317500"/>
                <a:gd name="connsiteY2" fmla="*/ 207963 h 209550"/>
                <a:gd name="connsiteX3" fmla="*/ 4763 w 317500"/>
                <a:gd name="connsiteY3" fmla="*/ 182563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0" h="209550">
                  <a:moveTo>
                    <a:pt x="313372" y="4763"/>
                  </a:moveTo>
                  <a:lnTo>
                    <a:pt x="313372" y="29527"/>
                  </a:lnTo>
                  <a:lnTo>
                    <a:pt x="4763" y="207963"/>
                  </a:lnTo>
                  <a:lnTo>
                    <a:pt x="4763" y="1825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5" name="任意多边形: 形状 1144"/>
            <p:cNvSpPr/>
            <p:nvPr/>
          </p:nvSpPr>
          <p:spPr>
            <a:xfrm>
              <a:off x="6727507" y="3089592"/>
              <a:ext cx="317500" cy="368300"/>
            </a:xfrm>
            <a:custGeom>
              <a:avLst/>
              <a:gdLst>
                <a:gd name="connsiteX0" fmla="*/ 316548 w 317500"/>
                <a:gd name="connsiteY0" fmla="*/ 4763 h 368300"/>
                <a:gd name="connsiteX1" fmla="*/ 317183 w 317500"/>
                <a:gd name="connsiteY1" fmla="*/ 184467 h 368300"/>
                <a:gd name="connsiteX2" fmla="*/ 4763 w 317500"/>
                <a:gd name="connsiteY2" fmla="*/ 364173 h 368300"/>
                <a:gd name="connsiteX3" fmla="*/ 4763 w 317500"/>
                <a:gd name="connsiteY3" fmla="*/ 185103 h 36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0" h="368300">
                  <a:moveTo>
                    <a:pt x="316548" y="4763"/>
                  </a:moveTo>
                  <a:lnTo>
                    <a:pt x="317183" y="184467"/>
                  </a:lnTo>
                  <a:lnTo>
                    <a:pt x="4763" y="364173"/>
                  </a:lnTo>
                  <a:lnTo>
                    <a:pt x="4763" y="18510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6" name="任意多边形: 形状 1145"/>
            <p:cNvSpPr/>
            <p:nvPr/>
          </p:nvSpPr>
          <p:spPr>
            <a:xfrm>
              <a:off x="8581707" y="2420593"/>
              <a:ext cx="488950" cy="622300"/>
            </a:xfrm>
            <a:custGeom>
              <a:avLst/>
              <a:gdLst>
                <a:gd name="connsiteX0" fmla="*/ 430213 w 488950"/>
                <a:gd name="connsiteY0" fmla="*/ 226087 h 622300"/>
                <a:gd name="connsiteX1" fmla="*/ 484188 w 488950"/>
                <a:gd name="connsiteY1" fmla="*/ 319432 h 622300"/>
                <a:gd name="connsiteX2" fmla="*/ 482918 w 488950"/>
                <a:gd name="connsiteY2" fmla="*/ 583592 h 622300"/>
                <a:gd name="connsiteX3" fmla="*/ 428943 w 488950"/>
                <a:gd name="connsiteY3" fmla="*/ 614707 h 622300"/>
                <a:gd name="connsiteX4" fmla="*/ 58738 w 488950"/>
                <a:gd name="connsiteY4" fmla="*/ 400712 h 622300"/>
                <a:gd name="connsiteX5" fmla="*/ 4763 w 488950"/>
                <a:gd name="connsiteY5" fmla="*/ 307367 h 622300"/>
                <a:gd name="connsiteX6" fmla="*/ 6033 w 488950"/>
                <a:gd name="connsiteY6" fmla="*/ 43207 h 622300"/>
                <a:gd name="connsiteX7" fmla="*/ 60008 w 488950"/>
                <a:gd name="connsiteY7" fmla="*/ 12092 h 622300"/>
                <a:gd name="connsiteX8" fmla="*/ 430213 w 488950"/>
                <a:gd name="connsiteY8" fmla="*/ 226087 h 622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8950" h="622300">
                  <a:moveTo>
                    <a:pt x="430213" y="226087"/>
                  </a:moveTo>
                  <a:cubicBezTo>
                    <a:pt x="460058" y="243232"/>
                    <a:pt x="484188" y="285142"/>
                    <a:pt x="484188" y="319432"/>
                  </a:cubicBezTo>
                  <a:lnTo>
                    <a:pt x="482918" y="583592"/>
                  </a:lnTo>
                  <a:cubicBezTo>
                    <a:pt x="482918" y="617882"/>
                    <a:pt x="458788" y="631852"/>
                    <a:pt x="428943" y="614707"/>
                  </a:cubicBezTo>
                  <a:lnTo>
                    <a:pt x="58738" y="400712"/>
                  </a:lnTo>
                  <a:cubicBezTo>
                    <a:pt x="28893" y="383567"/>
                    <a:pt x="4763" y="341657"/>
                    <a:pt x="4763" y="307367"/>
                  </a:cubicBezTo>
                  <a:lnTo>
                    <a:pt x="6033" y="43207"/>
                  </a:lnTo>
                  <a:cubicBezTo>
                    <a:pt x="6033" y="8917"/>
                    <a:pt x="30798" y="-5053"/>
                    <a:pt x="60008" y="12092"/>
                  </a:cubicBezTo>
                  <a:lnTo>
                    <a:pt x="430213" y="226087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7" name="任意多边形: 形状 1146"/>
            <p:cNvSpPr/>
            <p:nvPr/>
          </p:nvSpPr>
          <p:spPr>
            <a:xfrm>
              <a:off x="8623618" y="2586038"/>
              <a:ext cx="127000" cy="139700"/>
            </a:xfrm>
            <a:custGeom>
              <a:avLst/>
              <a:gdLst>
                <a:gd name="connsiteX0" fmla="*/ 122238 w 127000"/>
                <a:gd name="connsiteY0" fmla="*/ 72073 h 139700"/>
                <a:gd name="connsiteX1" fmla="*/ 122238 w 127000"/>
                <a:gd name="connsiteY1" fmla="*/ 137477 h 139700"/>
                <a:gd name="connsiteX2" fmla="*/ 4763 w 127000"/>
                <a:gd name="connsiteY2" fmla="*/ 70167 h 139700"/>
                <a:gd name="connsiteX3" fmla="*/ 4763 w 127000"/>
                <a:gd name="connsiteY3" fmla="*/ 4763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" h="139700">
                  <a:moveTo>
                    <a:pt x="122238" y="72073"/>
                  </a:moveTo>
                  <a:lnTo>
                    <a:pt x="122238" y="137477"/>
                  </a:lnTo>
                  <a:lnTo>
                    <a:pt x="4763" y="70167"/>
                  </a:lnTo>
                  <a:lnTo>
                    <a:pt x="4763" y="4763"/>
                  </a:lnTo>
                  <a:close/>
                </a:path>
              </a:pathLst>
            </a:custGeom>
            <a:solidFill>
              <a:srgbClr val="D6A5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8" name="任意多边形: 形状 1147"/>
            <p:cNvSpPr/>
            <p:nvPr/>
          </p:nvSpPr>
          <p:spPr>
            <a:xfrm>
              <a:off x="8740457" y="2653983"/>
              <a:ext cx="247650" cy="209550"/>
            </a:xfrm>
            <a:custGeom>
              <a:avLst/>
              <a:gdLst>
                <a:gd name="connsiteX0" fmla="*/ 248603 w 247650"/>
                <a:gd name="connsiteY0" fmla="*/ 145097 h 209550"/>
                <a:gd name="connsiteX1" fmla="*/ 248603 w 247650"/>
                <a:gd name="connsiteY1" fmla="*/ 210502 h 209550"/>
                <a:gd name="connsiteX2" fmla="*/ 4763 w 247650"/>
                <a:gd name="connsiteY2" fmla="*/ 70167 h 209550"/>
                <a:gd name="connsiteX3" fmla="*/ 5398 w 247650"/>
                <a:gd name="connsiteY3" fmla="*/ 4763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50" h="209550">
                  <a:moveTo>
                    <a:pt x="248603" y="145097"/>
                  </a:moveTo>
                  <a:lnTo>
                    <a:pt x="248603" y="210502"/>
                  </a:lnTo>
                  <a:lnTo>
                    <a:pt x="4763" y="70167"/>
                  </a:lnTo>
                  <a:lnTo>
                    <a:pt x="5398" y="47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9" name="任意多边形: 形状 1148"/>
            <p:cNvSpPr/>
            <p:nvPr/>
          </p:nvSpPr>
          <p:spPr>
            <a:xfrm>
              <a:off x="5910897" y="3909281"/>
              <a:ext cx="469900" cy="603250"/>
            </a:xfrm>
            <a:custGeom>
              <a:avLst/>
              <a:gdLst>
                <a:gd name="connsiteX0" fmla="*/ 56833 w 469900"/>
                <a:gd name="connsiteY0" fmla="*/ 218219 h 603250"/>
                <a:gd name="connsiteX1" fmla="*/ 4763 w 469900"/>
                <a:gd name="connsiteY1" fmla="*/ 308389 h 603250"/>
                <a:gd name="connsiteX2" fmla="*/ 6033 w 469900"/>
                <a:gd name="connsiteY2" fmla="*/ 563024 h 603250"/>
                <a:gd name="connsiteX3" fmla="*/ 58103 w 469900"/>
                <a:gd name="connsiteY3" fmla="*/ 592869 h 603250"/>
                <a:gd name="connsiteX4" fmla="*/ 414973 w 469900"/>
                <a:gd name="connsiteY4" fmla="*/ 386494 h 603250"/>
                <a:gd name="connsiteX5" fmla="*/ 467043 w 469900"/>
                <a:gd name="connsiteY5" fmla="*/ 296324 h 603250"/>
                <a:gd name="connsiteX6" fmla="*/ 465773 w 469900"/>
                <a:gd name="connsiteY6" fmla="*/ 41689 h 603250"/>
                <a:gd name="connsiteX7" fmla="*/ 413703 w 469900"/>
                <a:gd name="connsiteY7" fmla="*/ 11844 h 603250"/>
                <a:gd name="connsiteX8" fmla="*/ 56833 w 469900"/>
                <a:gd name="connsiteY8" fmla="*/ 218219 h 603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9900" h="603250">
                  <a:moveTo>
                    <a:pt x="56833" y="218219"/>
                  </a:moveTo>
                  <a:cubicBezTo>
                    <a:pt x="28258" y="234729"/>
                    <a:pt x="4763" y="275369"/>
                    <a:pt x="4763" y="308389"/>
                  </a:cubicBezTo>
                  <a:lnTo>
                    <a:pt x="6033" y="563024"/>
                  </a:lnTo>
                  <a:cubicBezTo>
                    <a:pt x="6033" y="596044"/>
                    <a:pt x="29528" y="609379"/>
                    <a:pt x="58103" y="592869"/>
                  </a:cubicBezTo>
                  <a:lnTo>
                    <a:pt x="414973" y="386494"/>
                  </a:lnTo>
                  <a:cubicBezTo>
                    <a:pt x="443548" y="369984"/>
                    <a:pt x="467043" y="329344"/>
                    <a:pt x="467043" y="296324"/>
                  </a:cubicBezTo>
                  <a:lnTo>
                    <a:pt x="465773" y="41689"/>
                  </a:lnTo>
                  <a:cubicBezTo>
                    <a:pt x="465773" y="8669"/>
                    <a:pt x="442278" y="-4666"/>
                    <a:pt x="413703" y="11844"/>
                  </a:cubicBezTo>
                  <a:lnTo>
                    <a:pt x="56833" y="218219"/>
                  </a:lnTo>
                  <a:close/>
                </a:path>
              </a:pathLst>
            </a:custGeom>
            <a:solidFill>
              <a:srgbClr val="DAF1F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0" name="任意多边形: 形状 1149"/>
            <p:cNvSpPr/>
            <p:nvPr/>
          </p:nvSpPr>
          <p:spPr>
            <a:xfrm>
              <a:off x="6158547" y="4066858"/>
              <a:ext cx="139700" cy="107950"/>
            </a:xfrm>
            <a:custGeom>
              <a:avLst/>
              <a:gdLst>
                <a:gd name="connsiteX0" fmla="*/ 4763 w 139700"/>
                <a:gd name="connsiteY0" fmla="*/ 78422 h 107950"/>
                <a:gd name="connsiteX1" fmla="*/ 4763 w 139700"/>
                <a:gd name="connsiteY1" fmla="*/ 108267 h 107950"/>
                <a:gd name="connsiteX2" fmla="*/ 135573 w 139700"/>
                <a:gd name="connsiteY2" fmla="*/ 33972 h 107950"/>
                <a:gd name="connsiteX3" fmla="*/ 135573 w 139700"/>
                <a:gd name="connsiteY3" fmla="*/ 4763 h 10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700" h="107950">
                  <a:moveTo>
                    <a:pt x="4763" y="78422"/>
                  </a:moveTo>
                  <a:lnTo>
                    <a:pt x="4763" y="108267"/>
                  </a:lnTo>
                  <a:lnTo>
                    <a:pt x="135573" y="33972"/>
                  </a:lnTo>
                  <a:lnTo>
                    <a:pt x="135573" y="47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1" name="任意多边形: 形状 1150"/>
            <p:cNvSpPr/>
            <p:nvPr/>
          </p:nvSpPr>
          <p:spPr>
            <a:xfrm>
              <a:off x="6011863" y="4165283"/>
              <a:ext cx="285750" cy="196850"/>
            </a:xfrm>
            <a:custGeom>
              <a:avLst/>
              <a:gdLst>
                <a:gd name="connsiteX0" fmla="*/ 4763 w 285750"/>
                <a:gd name="connsiteY0" fmla="*/ 164783 h 196850"/>
                <a:gd name="connsiteX1" fmla="*/ 4763 w 285750"/>
                <a:gd name="connsiteY1" fmla="*/ 193992 h 196850"/>
                <a:gd name="connsiteX2" fmla="*/ 282258 w 285750"/>
                <a:gd name="connsiteY2" fmla="*/ 34608 h 196850"/>
                <a:gd name="connsiteX3" fmla="*/ 282258 w 285750"/>
                <a:gd name="connsiteY3" fmla="*/ 4763 h 19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196850">
                  <a:moveTo>
                    <a:pt x="4763" y="164783"/>
                  </a:moveTo>
                  <a:lnTo>
                    <a:pt x="4763" y="193992"/>
                  </a:lnTo>
                  <a:lnTo>
                    <a:pt x="282258" y="34608"/>
                  </a:lnTo>
                  <a:lnTo>
                    <a:pt x="282258" y="47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2" name="任意多边形: 形状 1151"/>
            <p:cNvSpPr/>
            <p:nvPr/>
          </p:nvSpPr>
          <p:spPr>
            <a:xfrm>
              <a:off x="10943908" y="5193983"/>
              <a:ext cx="50800" cy="139700"/>
            </a:xfrm>
            <a:custGeom>
              <a:avLst/>
              <a:gdLst>
                <a:gd name="connsiteX0" fmla="*/ 4762 w 50800"/>
                <a:gd name="connsiteY0" fmla="*/ 4763 h 139700"/>
                <a:gd name="connsiteX1" fmla="*/ 46672 w 50800"/>
                <a:gd name="connsiteY1" fmla="*/ 4763 h 139700"/>
                <a:gd name="connsiteX2" fmla="*/ 46672 w 50800"/>
                <a:gd name="connsiteY2" fmla="*/ 138747 h 139700"/>
                <a:gd name="connsiteX3" fmla="*/ 4762 w 50800"/>
                <a:gd name="connsiteY3" fmla="*/ 138747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39700">
                  <a:moveTo>
                    <a:pt x="4762" y="4763"/>
                  </a:moveTo>
                  <a:lnTo>
                    <a:pt x="46672" y="4763"/>
                  </a:lnTo>
                  <a:lnTo>
                    <a:pt x="46672" y="138747"/>
                  </a:lnTo>
                  <a:lnTo>
                    <a:pt x="4762" y="138747"/>
                  </a:lnTo>
                  <a:close/>
                </a:path>
              </a:pathLst>
            </a:custGeom>
            <a:solidFill>
              <a:srgbClr val="47476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3" name="任意多边形: 形状 1152"/>
            <p:cNvSpPr/>
            <p:nvPr/>
          </p:nvSpPr>
          <p:spPr>
            <a:xfrm>
              <a:off x="10964863" y="4828222"/>
              <a:ext cx="146050" cy="400050"/>
            </a:xfrm>
            <a:custGeom>
              <a:avLst/>
              <a:gdLst>
                <a:gd name="connsiteX0" fmla="*/ 4763 w 146050"/>
                <a:gd name="connsiteY0" fmla="*/ 4763 h 400050"/>
                <a:gd name="connsiteX1" fmla="*/ 4763 w 146050"/>
                <a:gd name="connsiteY1" fmla="*/ 399098 h 400050"/>
                <a:gd name="connsiteX2" fmla="*/ 142557 w 146050"/>
                <a:gd name="connsiteY2" fmla="*/ 319088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6050" h="400050">
                  <a:moveTo>
                    <a:pt x="4763" y="4763"/>
                  </a:moveTo>
                  <a:lnTo>
                    <a:pt x="4763" y="399098"/>
                  </a:lnTo>
                  <a:lnTo>
                    <a:pt x="142557" y="31908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4" name="任意多边形: 形状 1153"/>
            <p:cNvSpPr/>
            <p:nvPr/>
          </p:nvSpPr>
          <p:spPr>
            <a:xfrm>
              <a:off x="10827068" y="4828222"/>
              <a:ext cx="146050" cy="400050"/>
            </a:xfrm>
            <a:custGeom>
              <a:avLst/>
              <a:gdLst>
                <a:gd name="connsiteX0" fmla="*/ 142557 w 146050"/>
                <a:gd name="connsiteY0" fmla="*/ 4763 h 400050"/>
                <a:gd name="connsiteX1" fmla="*/ 142557 w 146050"/>
                <a:gd name="connsiteY1" fmla="*/ 399098 h 400050"/>
                <a:gd name="connsiteX2" fmla="*/ 4763 w 146050"/>
                <a:gd name="connsiteY2" fmla="*/ 319088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6050" h="400050">
                  <a:moveTo>
                    <a:pt x="142557" y="4763"/>
                  </a:moveTo>
                  <a:lnTo>
                    <a:pt x="142557" y="399098"/>
                  </a:lnTo>
                  <a:lnTo>
                    <a:pt x="4763" y="319088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5" name="任意多边形: 形状 1154"/>
            <p:cNvSpPr/>
            <p:nvPr/>
          </p:nvSpPr>
          <p:spPr>
            <a:xfrm>
              <a:off x="10958513" y="2288223"/>
              <a:ext cx="63500" cy="38100"/>
            </a:xfrm>
            <a:custGeom>
              <a:avLst/>
              <a:gdLst>
                <a:gd name="connsiteX0" fmla="*/ 4763 w 63500"/>
                <a:gd name="connsiteY0" fmla="*/ 35877 h 38100"/>
                <a:gd name="connsiteX1" fmla="*/ 56197 w 63500"/>
                <a:gd name="connsiteY1" fmla="*/ 6032 h 38100"/>
                <a:gd name="connsiteX2" fmla="*/ 59372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587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877"/>
                  </a:moveTo>
                  <a:lnTo>
                    <a:pt x="56197" y="6032"/>
                  </a:lnTo>
                  <a:cubicBezTo>
                    <a:pt x="57468" y="5398"/>
                    <a:pt x="58103" y="4763"/>
                    <a:pt x="59372" y="4763"/>
                  </a:cubicBezTo>
                  <a:lnTo>
                    <a:pt x="7938" y="34607"/>
                  </a:lnTo>
                  <a:cubicBezTo>
                    <a:pt x="6668" y="35242"/>
                    <a:pt x="5397" y="35877"/>
                    <a:pt x="4763" y="3587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6" name="任意多边形: 形状 1155"/>
            <p:cNvSpPr/>
            <p:nvPr/>
          </p:nvSpPr>
          <p:spPr>
            <a:xfrm>
              <a:off x="10961688" y="2287588"/>
              <a:ext cx="63500" cy="38100"/>
            </a:xfrm>
            <a:custGeom>
              <a:avLst/>
              <a:gdLst>
                <a:gd name="connsiteX0" fmla="*/ 4763 w 63500"/>
                <a:gd name="connsiteY0" fmla="*/ 35242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8 h 38100"/>
                <a:gd name="connsiteX4" fmla="*/ 4763 w 63500"/>
                <a:gd name="connsiteY4" fmla="*/ 3524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2"/>
                  </a:moveTo>
                  <a:lnTo>
                    <a:pt x="56197" y="5398"/>
                  </a:lnTo>
                  <a:cubicBezTo>
                    <a:pt x="56832" y="5398"/>
                    <a:pt x="58103" y="4763"/>
                    <a:pt x="58738" y="4763"/>
                  </a:cubicBezTo>
                  <a:lnTo>
                    <a:pt x="7303" y="34608"/>
                  </a:lnTo>
                  <a:cubicBezTo>
                    <a:pt x="6032" y="34608"/>
                    <a:pt x="5397" y="35242"/>
                    <a:pt x="4763" y="3524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7" name="任意多边形: 形状 1156"/>
            <p:cNvSpPr/>
            <p:nvPr/>
          </p:nvSpPr>
          <p:spPr>
            <a:xfrm>
              <a:off x="10964228" y="2286952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2" y="5398"/>
                    <a:pt x="57467" y="5398"/>
                    <a:pt x="58738" y="4763"/>
                  </a:cubicBezTo>
                  <a:lnTo>
                    <a:pt x="7303" y="34608"/>
                  </a:lnTo>
                  <a:cubicBezTo>
                    <a:pt x="6032" y="35243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8" name="任意多边形: 形状 1157"/>
            <p:cNvSpPr/>
            <p:nvPr/>
          </p:nvSpPr>
          <p:spPr>
            <a:xfrm>
              <a:off x="10966768" y="22869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4763"/>
                  </a:cubicBezTo>
                  <a:lnTo>
                    <a:pt x="6667" y="34608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9" name="任意多边形: 形状 1158"/>
            <p:cNvSpPr/>
            <p:nvPr/>
          </p:nvSpPr>
          <p:spPr>
            <a:xfrm>
              <a:off x="10968672" y="22869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0" name="任意多边形: 形状 1159"/>
            <p:cNvSpPr/>
            <p:nvPr/>
          </p:nvSpPr>
          <p:spPr>
            <a:xfrm>
              <a:off x="10970578" y="22869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3" y="4763"/>
                  </a:cubicBezTo>
                  <a:lnTo>
                    <a:pt x="6667" y="34608"/>
                  </a:lnTo>
                  <a:cubicBezTo>
                    <a:pt x="6032" y="35243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1" name="任意多边形: 形状 1160"/>
            <p:cNvSpPr/>
            <p:nvPr/>
          </p:nvSpPr>
          <p:spPr>
            <a:xfrm>
              <a:off x="10972482" y="22875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4608"/>
                    <a:pt x="5398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2" name="任意多边形: 形状 1161"/>
            <p:cNvSpPr/>
            <p:nvPr/>
          </p:nvSpPr>
          <p:spPr>
            <a:xfrm>
              <a:off x="10974388" y="22875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2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8" y="4763"/>
                    <a:pt x="58103" y="5398"/>
                  </a:cubicBezTo>
                  <a:lnTo>
                    <a:pt x="6668" y="35242"/>
                  </a:lnTo>
                  <a:cubicBezTo>
                    <a:pt x="5397" y="34608"/>
                    <a:pt x="476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3" name="任意多边形: 形状 1162"/>
            <p:cNvSpPr/>
            <p:nvPr/>
          </p:nvSpPr>
          <p:spPr>
            <a:xfrm>
              <a:off x="10975657" y="22882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5398"/>
                  </a:cubicBezTo>
                  <a:lnTo>
                    <a:pt x="6668" y="35242"/>
                  </a:lnTo>
                  <a:cubicBezTo>
                    <a:pt x="6033" y="34607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4" name="任意多边形: 形状 1163"/>
            <p:cNvSpPr/>
            <p:nvPr/>
          </p:nvSpPr>
          <p:spPr>
            <a:xfrm>
              <a:off x="10977563" y="22882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8" y="5398"/>
                    <a:pt x="58103" y="5398"/>
                  </a:cubicBezTo>
                  <a:lnTo>
                    <a:pt x="6668" y="35242"/>
                  </a:lnTo>
                  <a:cubicBezTo>
                    <a:pt x="6032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5" name="任意多边形: 形状 1164"/>
            <p:cNvSpPr/>
            <p:nvPr/>
          </p:nvSpPr>
          <p:spPr>
            <a:xfrm>
              <a:off x="10979468" y="22888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5397 h 38100"/>
                <a:gd name="connsiteX3" fmla="*/ 6667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7"/>
                    <a:pt x="58102" y="5397"/>
                  </a:cubicBezTo>
                  <a:lnTo>
                    <a:pt x="6667" y="35242"/>
                  </a:lnTo>
                  <a:cubicBezTo>
                    <a:pt x="5397" y="35242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6" name="任意多边形: 形状 1165"/>
            <p:cNvSpPr/>
            <p:nvPr/>
          </p:nvSpPr>
          <p:spPr>
            <a:xfrm>
              <a:off x="10980738" y="228949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832 w 57150"/>
                <a:gd name="connsiteY2" fmla="*/ 4763 h 38100"/>
                <a:gd name="connsiteX3" fmla="*/ 4763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4763"/>
                    <a:pt x="56832" y="4763"/>
                    <a:pt x="56832" y="4763"/>
                  </a:cubicBezTo>
                  <a:lnTo>
                    <a:pt x="4763" y="34608"/>
                  </a:lnTo>
                  <a:cubicBezTo>
                    <a:pt x="5397" y="35243"/>
                    <a:pt x="476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7" name="任意多边形: 形状 1166"/>
            <p:cNvSpPr/>
            <p:nvPr/>
          </p:nvSpPr>
          <p:spPr>
            <a:xfrm>
              <a:off x="10990897" y="2249488"/>
              <a:ext cx="63500" cy="38100"/>
            </a:xfrm>
            <a:custGeom>
              <a:avLst/>
              <a:gdLst>
                <a:gd name="connsiteX0" fmla="*/ 4763 w 63500"/>
                <a:gd name="connsiteY0" fmla="*/ 35877 h 38100"/>
                <a:gd name="connsiteX1" fmla="*/ 56197 w 63500"/>
                <a:gd name="connsiteY1" fmla="*/ 6033 h 38100"/>
                <a:gd name="connsiteX2" fmla="*/ 59372 w 63500"/>
                <a:gd name="connsiteY2" fmla="*/ 4763 h 38100"/>
                <a:gd name="connsiteX3" fmla="*/ 7938 w 63500"/>
                <a:gd name="connsiteY3" fmla="*/ 34608 h 38100"/>
                <a:gd name="connsiteX4" fmla="*/ 4763 w 63500"/>
                <a:gd name="connsiteY4" fmla="*/ 3587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877"/>
                  </a:moveTo>
                  <a:lnTo>
                    <a:pt x="56197" y="6033"/>
                  </a:lnTo>
                  <a:cubicBezTo>
                    <a:pt x="57468" y="5398"/>
                    <a:pt x="58103" y="4763"/>
                    <a:pt x="59372" y="4763"/>
                  </a:cubicBezTo>
                  <a:lnTo>
                    <a:pt x="7938" y="34608"/>
                  </a:lnTo>
                  <a:cubicBezTo>
                    <a:pt x="6668" y="34608"/>
                    <a:pt x="5397" y="35242"/>
                    <a:pt x="4763" y="3587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8" name="任意多边形: 形状 1167"/>
            <p:cNvSpPr/>
            <p:nvPr/>
          </p:nvSpPr>
          <p:spPr>
            <a:xfrm>
              <a:off x="10994072" y="2248852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3" y="5398"/>
                    <a:pt x="58103" y="4763"/>
                    <a:pt x="58738" y="4763"/>
                  </a:cubicBezTo>
                  <a:lnTo>
                    <a:pt x="7303" y="34608"/>
                  </a:lnTo>
                  <a:cubicBezTo>
                    <a:pt x="6668" y="34608"/>
                    <a:pt x="5397" y="34608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9" name="任意多边形: 形状 1168"/>
            <p:cNvSpPr/>
            <p:nvPr/>
          </p:nvSpPr>
          <p:spPr>
            <a:xfrm>
              <a:off x="10996613" y="2248217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2" y="5398"/>
                    <a:pt x="57468" y="5398"/>
                    <a:pt x="58738" y="4763"/>
                  </a:cubicBezTo>
                  <a:lnTo>
                    <a:pt x="7303" y="34608"/>
                  </a:lnTo>
                  <a:cubicBezTo>
                    <a:pt x="6668" y="34608"/>
                    <a:pt x="5397" y="34608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0" name="任意多边形: 形状 1169"/>
            <p:cNvSpPr/>
            <p:nvPr/>
          </p:nvSpPr>
          <p:spPr>
            <a:xfrm>
              <a:off x="10999153" y="224821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3" y="4763"/>
                  </a:cubicBezTo>
                  <a:lnTo>
                    <a:pt x="6667" y="34608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1" name="任意多边形: 形状 1170"/>
            <p:cNvSpPr/>
            <p:nvPr/>
          </p:nvSpPr>
          <p:spPr>
            <a:xfrm>
              <a:off x="11001057" y="224821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4608"/>
                    <a:pt x="5398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2" name="任意多边形: 形状 1171"/>
            <p:cNvSpPr/>
            <p:nvPr/>
          </p:nvSpPr>
          <p:spPr>
            <a:xfrm>
              <a:off x="11002963" y="224821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3" name="任意多边形: 形状 1172"/>
            <p:cNvSpPr/>
            <p:nvPr/>
          </p:nvSpPr>
          <p:spPr>
            <a:xfrm>
              <a:off x="11004868" y="224821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4763"/>
                  </a:cubicBezTo>
                  <a:lnTo>
                    <a:pt x="6667" y="34608"/>
                  </a:lnTo>
                  <a:cubicBezTo>
                    <a:pt x="6032" y="35243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4" name="任意多边形: 形状 1173"/>
            <p:cNvSpPr/>
            <p:nvPr/>
          </p:nvSpPr>
          <p:spPr>
            <a:xfrm>
              <a:off x="11006772" y="22488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5398"/>
                  </a:cubicBezTo>
                  <a:lnTo>
                    <a:pt x="6668" y="35243"/>
                  </a:lnTo>
                  <a:cubicBezTo>
                    <a:pt x="5397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5" name="任意多边形: 形状 1174"/>
            <p:cNvSpPr/>
            <p:nvPr/>
          </p:nvSpPr>
          <p:spPr>
            <a:xfrm>
              <a:off x="11008043" y="22488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5398 h 38100"/>
                <a:gd name="connsiteX3" fmla="*/ 6667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5398"/>
                  </a:cubicBezTo>
                  <a:lnTo>
                    <a:pt x="6667" y="35243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6" name="任意多边形: 形状 1175"/>
            <p:cNvSpPr/>
            <p:nvPr/>
          </p:nvSpPr>
          <p:spPr>
            <a:xfrm>
              <a:off x="11009947" y="22494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2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4763"/>
                    <a:pt x="57468" y="5398"/>
                    <a:pt x="58103" y="5398"/>
                  </a:cubicBezTo>
                  <a:lnTo>
                    <a:pt x="6668" y="35242"/>
                  </a:lnTo>
                  <a:cubicBezTo>
                    <a:pt x="6033" y="35242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7" name="任意多边形: 形状 1176"/>
            <p:cNvSpPr/>
            <p:nvPr/>
          </p:nvSpPr>
          <p:spPr>
            <a:xfrm>
              <a:off x="11011853" y="22501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7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3" y="5398"/>
                  </a:cubicBezTo>
                  <a:lnTo>
                    <a:pt x="6667" y="35242"/>
                  </a:lnTo>
                  <a:cubicBezTo>
                    <a:pt x="5397" y="35242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8" name="任意多边形: 形状 1177"/>
            <p:cNvSpPr/>
            <p:nvPr/>
          </p:nvSpPr>
          <p:spPr>
            <a:xfrm>
              <a:off x="11013122" y="22507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7468" y="5397"/>
                    <a:pt x="58103" y="5397"/>
                  </a:cubicBezTo>
                  <a:lnTo>
                    <a:pt x="6668" y="35242"/>
                  </a:lnTo>
                  <a:cubicBezTo>
                    <a:pt x="6033" y="35242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9" name="任意多边形: 形状 1178"/>
            <p:cNvSpPr/>
            <p:nvPr/>
          </p:nvSpPr>
          <p:spPr>
            <a:xfrm>
              <a:off x="11015028" y="225139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7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3" y="5398"/>
                  </a:cubicBezTo>
                  <a:lnTo>
                    <a:pt x="6667" y="35243"/>
                  </a:lnTo>
                  <a:cubicBezTo>
                    <a:pt x="6032" y="35243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0" name="任意多边形: 形状 1179"/>
            <p:cNvSpPr/>
            <p:nvPr/>
          </p:nvSpPr>
          <p:spPr>
            <a:xfrm>
              <a:off x="11016932" y="225202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5398"/>
                    <a:pt x="58103" y="5398"/>
                  </a:cubicBezTo>
                  <a:lnTo>
                    <a:pt x="6668" y="35243"/>
                  </a:lnTo>
                  <a:cubicBezTo>
                    <a:pt x="5398" y="35243"/>
                    <a:pt x="476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1" name="任意多边形: 形状 1180"/>
            <p:cNvSpPr/>
            <p:nvPr/>
          </p:nvSpPr>
          <p:spPr>
            <a:xfrm>
              <a:off x="11018203" y="22532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5398 h 38100"/>
                <a:gd name="connsiteX3" fmla="*/ 58103 w 57150"/>
                <a:gd name="connsiteY3" fmla="*/ 5398 h 38100"/>
                <a:gd name="connsiteX4" fmla="*/ 6667 w 57150"/>
                <a:gd name="connsiteY4" fmla="*/ 35242 h 38100"/>
                <a:gd name="connsiteX5" fmla="*/ 6032 w 57150"/>
                <a:gd name="connsiteY5" fmla="*/ 35242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6832" y="5398"/>
                    <a:pt x="57467" y="5398"/>
                  </a:cubicBezTo>
                  <a:cubicBezTo>
                    <a:pt x="57467" y="5398"/>
                    <a:pt x="57467" y="5398"/>
                    <a:pt x="58103" y="5398"/>
                  </a:cubicBezTo>
                  <a:lnTo>
                    <a:pt x="6667" y="35242"/>
                  </a:lnTo>
                  <a:cubicBezTo>
                    <a:pt x="6667" y="35242"/>
                    <a:pt x="6667" y="35242"/>
                    <a:pt x="6032" y="35242"/>
                  </a:cubicBez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2" name="任意多边形: 形状 1181"/>
            <p:cNvSpPr/>
            <p:nvPr/>
          </p:nvSpPr>
          <p:spPr>
            <a:xfrm>
              <a:off x="11020107" y="225393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6032 h 38100"/>
                <a:gd name="connsiteX3" fmla="*/ 6668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7468" y="5397"/>
                    <a:pt x="58103" y="6032"/>
                  </a:cubicBezTo>
                  <a:lnTo>
                    <a:pt x="6668" y="35877"/>
                  </a:lnTo>
                  <a:cubicBezTo>
                    <a:pt x="6033" y="35242"/>
                    <a:pt x="5398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3" name="任意多边形: 形状 1182"/>
            <p:cNvSpPr/>
            <p:nvPr/>
          </p:nvSpPr>
          <p:spPr>
            <a:xfrm>
              <a:off x="11022013" y="225520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033 h 38100"/>
                <a:gd name="connsiteX3" fmla="*/ 6668 w 57150"/>
                <a:gd name="connsiteY3" fmla="*/ 35877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8" y="5398"/>
                    <a:pt x="58103" y="6033"/>
                  </a:cubicBezTo>
                  <a:lnTo>
                    <a:pt x="6668" y="35877"/>
                  </a:lnTo>
                  <a:cubicBezTo>
                    <a:pt x="5397" y="35243"/>
                    <a:pt x="476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4" name="任意多边形: 形状 1183"/>
            <p:cNvSpPr/>
            <p:nvPr/>
          </p:nvSpPr>
          <p:spPr>
            <a:xfrm>
              <a:off x="11023282" y="22564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6032 h 38100"/>
                <a:gd name="connsiteX3" fmla="*/ 6668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8"/>
                    <a:pt x="57468" y="5398"/>
                    <a:pt x="58103" y="6032"/>
                  </a:cubicBezTo>
                  <a:lnTo>
                    <a:pt x="6668" y="35877"/>
                  </a:lnTo>
                  <a:cubicBezTo>
                    <a:pt x="6033" y="35242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5" name="任意多边形: 形状 1184"/>
            <p:cNvSpPr/>
            <p:nvPr/>
          </p:nvSpPr>
          <p:spPr>
            <a:xfrm>
              <a:off x="11025188" y="22577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033 h 38100"/>
                <a:gd name="connsiteX3" fmla="*/ 6668 w 57150"/>
                <a:gd name="connsiteY3" fmla="*/ 3587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8" y="5398"/>
                    <a:pt x="58103" y="6033"/>
                  </a:cubicBezTo>
                  <a:lnTo>
                    <a:pt x="6668" y="35878"/>
                  </a:lnTo>
                  <a:cubicBezTo>
                    <a:pt x="6032" y="35243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6" name="任意多边形: 形状 1185"/>
            <p:cNvSpPr/>
            <p:nvPr/>
          </p:nvSpPr>
          <p:spPr>
            <a:xfrm>
              <a:off x="11027093" y="225901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6033 h 38100"/>
                <a:gd name="connsiteX3" fmla="*/ 6667 w 57150"/>
                <a:gd name="connsiteY3" fmla="*/ 35877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2" y="6033"/>
                  </a:cubicBezTo>
                  <a:lnTo>
                    <a:pt x="6667" y="35877"/>
                  </a:lnTo>
                  <a:cubicBezTo>
                    <a:pt x="6032" y="35242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7" name="任意多边形: 形状 1186"/>
            <p:cNvSpPr/>
            <p:nvPr/>
          </p:nvSpPr>
          <p:spPr>
            <a:xfrm>
              <a:off x="11028997" y="22602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033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8" name="任意多边形: 形状 1187"/>
            <p:cNvSpPr/>
            <p:nvPr/>
          </p:nvSpPr>
          <p:spPr>
            <a:xfrm>
              <a:off x="11030903" y="22621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7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3" y="6667"/>
                  </a:cubicBezTo>
                  <a:lnTo>
                    <a:pt x="6667" y="36513"/>
                  </a:lnTo>
                  <a:cubicBezTo>
                    <a:pt x="6032" y="35242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9" name="任意多边形: 形状 1188"/>
            <p:cNvSpPr/>
            <p:nvPr/>
          </p:nvSpPr>
          <p:spPr>
            <a:xfrm>
              <a:off x="11032172" y="22634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033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0" name="任意多边形: 形状 1189"/>
            <p:cNvSpPr/>
            <p:nvPr/>
          </p:nvSpPr>
          <p:spPr>
            <a:xfrm>
              <a:off x="11034078" y="226536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7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3" y="6667"/>
                  </a:cubicBezTo>
                  <a:lnTo>
                    <a:pt x="6667" y="36513"/>
                  </a:lnTo>
                  <a:cubicBezTo>
                    <a:pt x="6032" y="35877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1" name="任意多边形: 形状 1190"/>
            <p:cNvSpPr/>
            <p:nvPr/>
          </p:nvSpPr>
          <p:spPr>
            <a:xfrm>
              <a:off x="11035982" y="226726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6668 h 38100"/>
                <a:gd name="connsiteX3" fmla="*/ 6668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5398"/>
                    <a:pt x="57468" y="6033"/>
                    <a:pt x="58103" y="6668"/>
                  </a:cubicBezTo>
                  <a:lnTo>
                    <a:pt x="6668" y="36513"/>
                  </a:lnTo>
                  <a:cubicBezTo>
                    <a:pt x="6033" y="35878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2" name="任意多边形: 形状 1191"/>
            <p:cNvSpPr/>
            <p:nvPr/>
          </p:nvSpPr>
          <p:spPr>
            <a:xfrm>
              <a:off x="11037253" y="226853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7 w 57150"/>
                <a:gd name="connsiteY2" fmla="*/ 6667 h 38100"/>
                <a:gd name="connsiteX3" fmla="*/ 6032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7467" y="6667"/>
                  </a:cubicBezTo>
                  <a:lnTo>
                    <a:pt x="6032" y="36513"/>
                  </a:lnTo>
                  <a:cubicBezTo>
                    <a:pt x="6032" y="35877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3" name="任意多边形: 形状 1192"/>
            <p:cNvSpPr/>
            <p:nvPr/>
          </p:nvSpPr>
          <p:spPr>
            <a:xfrm>
              <a:off x="11039157" y="22704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7468 w 57150"/>
                <a:gd name="connsiteY2" fmla="*/ 6668 h 38100"/>
                <a:gd name="connsiteX3" fmla="*/ 6033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5398"/>
                    <a:pt x="57468" y="6033"/>
                    <a:pt x="57468" y="6668"/>
                  </a:cubicBezTo>
                  <a:lnTo>
                    <a:pt x="6033" y="36513"/>
                  </a:lnTo>
                  <a:cubicBezTo>
                    <a:pt x="5398" y="35878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4" name="任意多边形: 形状 1193"/>
            <p:cNvSpPr/>
            <p:nvPr/>
          </p:nvSpPr>
          <p:spPr>
            <a:xfrm>
              <a:off x="11040428" y="22723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832 w 57150"/>
                <a:gd name="connsiteY1" fmla="*/ 4763 h 38100"/>
                <a:gd name="connsiteX2" fmla="*/ 56832 w 57150"/>
                <a:gd name="connsiteY2" fmla="*/ 4763 h 38100"/>
                <a:gd name="connsiteX3" fmla="*/ 4763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832" y="4763"/>
                  </a:lnTo>
                  <a:lnTo>
                    <a:pt x="56832" y="4763"/>
                  </a:lnTo>
                  <a:lnTo>
                    <a:pt x="4763" y="34607"/>
                  </a:lnTo>
                  <a:lnTo>
                    <a:pt x="4763" y="34607"/>
                  </a:ln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5" name="任意多边形: 形状 1194"/>
            <p:cNvSpPr/>
            <p:nvPr/>
          </p:nvSpPr>
          <p:spPr>
            <a:xfrm>
              <a:off x="11052493" y="2246313"/>
              <a:ext cx="63500" cy="38100"/>
            </a:xfrm>
            <a:custGeom>
              <a:avLst/>
              <a:gdLst>
                <a:gd name="connsiteX0" fmla="*/ 4763 w 63500"/>
                <a:gd name="connsiteY0" fmla="*/ 36513 h 38100"/>
                <a:gd name="connsiteX1" fmla="*/ 56197 w 63500"/>
                <a:gd name="connsiteY1" fmla="*/ 6667 h 38100"/>
                <a:gd name="connsiteX2" fmla="*/ 60007 w 63500"/>
                <a:gd name="connsiteY2" fmla="*/ 4763 h 38100"/>
                <a:gd name="connsiteX3" fmla="*/ 8572 w 63500"/>
                <a:gd name="connsiteY3" fmla="*/ 34608 h 38100"/>
                <a:gd name="connsiteX4" fmla="*/ 4763 w 63500"/>
                <a:gd name="connsiteY4" fmla="*/ 3651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6513"/>
                  </a:moveTo>
                  <a:lnTo>
                    <a:pt x="56197" y="6667"/>
                  </a:lnTo>
                  <a:cubicBezTo>
                    <a:pt x="57467" y="6033"/>
                    <a:pt x="58738" y="5398"/>
                    <a:pt x="60007" y="4763"/>
                  </a:cubicBezTo>
                  <a:lnTo>
                    <a:pt x="8572" y="34608"/>
                  </a:lnTo>
                  <a:cubicBezTo>
                    <a:pt x="7302" y="35242"/>
                    <a:pt x="6032" y="35242"/>
                    <a:pt x="4763" y="3651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6" name="任意多边形: 形状 1195"/>
            <p:cNvSpPr/>
            <p:nvPr/>
          </p:nvSpPr>
          <p:spPr>
            <a:xfrm>
              <a:off x="11056303" y="2245677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9372 w 63500"/>
                <a:gd name="connsiteY2" fmla="*/ 4763 h 38100"/>
                <a:gd name="connsiteX3" fmla="*/ 7938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7467" y="4763"/>
                    <a:pt x="58103" y="4763"/>
                    <a:pt x="59372" y="4763"/>
                  </a:cubicBezTo>
                  <a:lnTo>
                    <a:pt x="7938" y="34608"/>
                  </a:lnTo>
                  <a:cubicBezTo>
                    <a:pt x="6667" y="34608"/>
                    <a:pt x="5397" y="34608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7" name="任意多边形: 形状 1196"/>
            <p:cNvSpPr/>
            <p:nvPr/>
          </p:nvSpPr>
          <p:spPr>
            <a:xfrm>
              <a:off x="11059478" y="2245042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2" y="5398"/>
                    <a:pt x="58103" y="5398"/>
                    <a:pt x="58738" y="4763"/>
                  </a:cubicBezTo>
                  <a:lnTo>
                    <a:pt x="7303" y="34608"/>
                  </a:lnTo>
                  <a:cubicBezTo>
                    <a:pt x="6032" y="34608"/>
                    <a:pt x="5397" y="34608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8" name="任意多边形: 形状 1197"/>
            <p:cNvSpPr/>
            <p:nvPr/>
          </p:nvSpPr>
          <p:spPr>
            <a:xfrm>
              <a:off x="11062018" y="22450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4763"/>
                  </a:cubicBezTo>
                  <a:lnTo>
                    <a:pt x="6667" y="34608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9" name="任意多边形: 形状 1198"/>
            <p:cNvSpPr/>
            <p:nvPr/>
          </p:nvSpPr>
          <p:spPr>
            <a:xfrm>
              <a:off x="11063922" y="22450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0" name="任意多边形: 形状 1199"/>
            <p:cNvSpPr/>
            <p:nvPr/>
          </p:nvSpPr>
          <p:spPr>
            <a:xfrm>
              <a:off x="11065828" y="22450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3" y="4763"/>
                  </a:cubicBezTo>
                  <a:lnTo>
                    <a:pt x="6667" y="34608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1" name="任意多边形: 形状 1200"/>
            <p:cNvSpPr/>
            <p:nvPr/>
          </p:nvSpPr>
          <p:spPr>
            <a:xfrm>
              <a:off x="11067732" y="22450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5243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2" name="任意多边形: 形状 1201"/>
            <p:cNvSpPr/>
            <p:nvPr/>
          </p:nvSpPr>
          <p:spPr>
            <a:xfrm>
              <a:off x="11069638" y="22456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8" y="4763"/>
                    <a:pt x="58103" y="5398"/>
                  </a:cubicBezTo>
                  <a:lnTo>
                    <a:pt x="6668" y="35243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3" name="任意多边形: 形状 1202"/>
            <p:cNvSpPr/>
            <p:nvPr/>
          </p:nvSpPr>
          <p:spPr>
            <a:xfrm>
              <a:off x="11071543" y="224631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5398 h 38100"/>
                <a:gd name="connsiteX3" fmla="*/ 6667 w 57150"/>
                <a:gd name="connsiteY3" fmla="*/ 35242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2" y="5398"/>
                  </a:cubicBezTo>
                  <a:lnTo>
                    <a:pt x="6667" y="35242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4" name="任意多边形: 形状 1203"/>
            <p:cNvSpPr/>
            <p:nvPr/>
          </p:nvSpPr>
          <p:spPr>
            <a:xfrm>
              <a:off x="11073447" y="224631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2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4763"/>
                    <a:pt x="57468" y="5398"/>
                    <a:pt x="58103" y="5398"/>
                  </a:cubicBezTo>
                  <a:lnTo>
                    <a:pt x="6668" y="35242"/>
                  </a:lnTo>
                  <a:cubicBezTo>
                    <a:pt x="6033" y="35242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5" name="任意多边形: 形状 1204"/>
            <p:cNvSpPr/>
            <p:nvPr/>
          </p:nvSpPr>
          <p:spPr>
            <a:xfrm>
              <a:off x="11075353" y="22469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7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3" y="5398"/>
                  </a:cubicBezTo>
                  <a:lnTo>
                    <a:pt x="6667" y="35242"/>
                  </a:lnTo>
                  <a:cubicBezTo>
                    <a:pt x="6032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6" name="任意多边形: 形状 1205"/>
            <p:cNvSpPr/>
            <p:nvPr/>
          </p:nvSpPr>
          <p:spPr>
            <a:xfrm>
              <a:off x="11077257" y="22475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7468" y="5397"/>
                    <a:pt x="58103" y="5397"/>
                  </a:cubicBezTo>
                  <a:lnTo>
                    <a:pt x="6668" y="35242"/>
                  </a:lnTo>
                  <a:cubicBezTo>
                    <a:pt x="6033" y="35242"/>
                    <a:pt x="5398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7" name="任意多边形: 形状 1206"/>
            <p:cNvSpPr/>
            <p:nvPr/>
          </p:nvSpPr>
          <p:spPr>
            <a:xfrm>
              <a:off x="11079163" y="224821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8" y="5398"/>
                    <a:pt x="58103" y="5398"/>
                  </a:cubicBezTo>
                  <a:lnTo>
                    <a:pt x="6668" y="35243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8" name="任意多边形: 形状 1207"/>
            <p:cNvSpPr/>
            <p:nvPr/>
          </p:nvSpPr>
          <p:spPr>
            <a:xfrm>
              <a:off x="11080432" y="22494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2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5398"/>
                    <a:pt x="58103" y="5398"/>
                  </a:cubicBezTo>
                  <a:lnTo>
                    <a:pt x="6668" y="35242"/>
                  </a:lnTo>
                  <a:cubicBezTo>
                    <a:pt x="6033" y="35242"/>
                    <a:pt x="5398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9" name="任意多边形: 形状 1208"/>
            <p:cNvSpPr/>
            <p:nvPr/>
          </p:nvSpPr>
          <p:spPr>
            <a:xfrm>
              <a:off x="11082338" y="22501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5398 h 38100"/>
                <a:gd name="connsiteX3" fmla="*/ 58103 w 57150"/>
                <a:gd name="connsiteY3" fmla="*/ 5398 h 38100"/>
                <a:gd name="connsiteX4" fmla="*/ 6668 w 57150"/>
                <a:gd name="connsiteY4" fmla="*/ 35242 h 38100"/>
                <a:gd name="connsiteX5" fmla="*/ 6032 w 57150"/>
                <a:gd name="connsiteY5" fmla="*/ 35242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6832" y="5398"/>
                    <a:pt x="57468" y="5398"/>
                  </a:cubicBezTo>
                  <a:cubicBezTo>
                    <a:pt x="57468" y="5398"/>
                    <a:pt x="57468" y="5398"/>
                    <a:pt x="58103" y="5398"/>
                  </a:cubicBezTo>
                  <a:lnTo>
                    <a:pt x="6668" y="35242"/>
                  </a:lnTo>
                  <a:cubicBezTo>
                    <a:pt x="6668" y="35242"/>
                    <a:pt x="6668" y="35242"/>
                    <a:pt x="6032" y="35242"/>
                  </a:cubicBezTo>
                  <a:cubicBezTo>
                    <a:pt x="6032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0" name="任意多边形: 形状 1209"/>
            <p:cNvSpPr/>
            <p:nvPr/>
          </p:nvSpPr>
          <p:spPr>
            <a:xfrm>
              <a:off x="11084243" y="225139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6033 h 38100"/>
                <a:gd name="connsiteX3" fmla="*/ 6667 w 57150"/>
                <a:gd name="connsiteY3" fmla="*/ 3587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5398"/>
                    <a:pt x="58102" y="6033"/>
                  </a:cubicBezTo>
                  <a:lnTo>
                    <a:pt x="6667" y="35878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1" name="任意多边形: 形状 1210"/>
            <p:cNvSpPr/>
            <p:nvPr/>
          </p:nvSpPr>
          <p:spPr>
            <a:xfrm>
              <a:off x="11086147" y="225266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033 h 38100"/>
                <a:gd name="connsiteX3" fmla="*/ 6668 w 57150"/>
                <a:gd name="connsiteY3" fmla="*/ 35877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5398"/>
                    <a:pt x="57468" y="5398"/>
                    <a:pt x="58103" y="6033"/>
                  </a:cubicBezTo>
                  <a:lnTo>
                    <a:pt x="6668" y="35877"/>
                  </a:lnTo>
                  <a:cubicBezTo>
                    <a:pt x="6033" y="35242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2" name="任意多边形: 形状 1211"/>
            <p:cNvSpPr/>
            <p:nvPr/>
          </p:nvSpPr>
          <p:spPr>
            <a:xfrm>
              <a:off x="11088053" y="225393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032 h 38100"/>
                <a:gd name="connsiteX3" fmla="*/ 6667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7" y="5397"/>
                    <a:pt x="58103" y="6032"/>
                  </a:cubicBezTo>
                  <a:lnTo>
                    <a:pt x="6667" y="35877"/>
                  </a:lnTo>
                  <a:cubicBezTo>
                    <a:pt x="6032" y="35242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3" name="任意多边形: 形状 1212"/>
            <p:cNvSpPr/>
            <p:nvPr/>
          </p:nvSpPr>
          <p:spPr>
            <a:xfrm>
              <a:off x="11089957" y="225520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6033 h 38100"/>
                <a:gd name="connsiteX3" fmla="*/ 6668 w 57150"/>
                <a:gd name="connsiteY3" fmla="*/ 35877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5398"/>
                    <a:pt x="57468" y="6033"/>
                    <a:pt x="58103" y="6033"/>
                  </a:cubicBezTo>
                  <a:lnTo>
                    <a:pt x="6668" y="35877"/>
                  </a:lnTo>
                  <a:cubicBezTo>
                    <a:pt x="6033" y="35243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4" name="任意多边形: 形状 1213"/>
            <p:cNvSpPr/>
            <p:nvPr/>
          </p:nvSpPr>
          <p:spPr>
            <a:xfrm>
              <a:off x="11091863" y="22564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032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5" name="任意多边形: 形状 1214"/>
            <p:cNvSpPr/>
            <p:nvPr/>
          </p:nvSpPr>
          <p:spPr>
            <a:xfrm>
              <a:off x="11093768" y="22583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6668 h 38100"/>
                <a:gd name="connsiteX3" fmla="*/ 6667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2" y="6668"/>
                  </a:cubicBezTo>
                  <a:lnTo>
                    <a:pt x="6667" y="36513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6" name="任意多边形: 形状 1215"/>
            <p:cNvSpPr/>
            <p:nvPr/>
          </p:nvSpPr>
          <p:spPr>
            <a:xfrm>
              <a:off x="11095672" y="22596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8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668" y="35877"/>
                    <a:pt x="603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7" name="任意多边形: 形状 1216"/>
            <p:cNvSpPr/>
            <p:nvPr/>
          </p:nvSpPr>
          <p:spPr>
            <a:xfrm>
              <a:off x="11098213" y="22615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668 h 38100"/>
                <a:gd name="connsiteX3" fmla="*/ 6668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8" y="6033"/>
                    <a:pt x="58103" y="6668"/>
                  </a:cubicBezTo>
                  <a:lnTo>
                    <a:pt x="6668" y="36513"/>
                  </a:lnTo>
                  <a:cubicBezTo>
                    <a:pt x="6032" y="35877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8" name="任意多边形: 形状 1217"/>
            <p:cNvSpPr/>
            <p:nvPr/>
          </p:nvSpPr>
          <p:spPr>
            <a:xfrm>
              <a:off x="11100118" y="22634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6667 h 38100"/>
                <a:gd name="connsiteX3" fmla="*/ 6667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7" y="6032"/>
                    <a:pt x="58102" y="6667"/>
                  </a:cubicBezTo>
                  <a:lnTo>
                    <a:pt x="6667" y="36513"/>
                  </a:lnTo>
                  <a:cubicBezTo>
                    <a:pt x="6032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9" name="任意多边形: 形状 1218"/>
            <p:cNvSpPr/>
            <p:nvPr/>
          </p:nvSpPr>
          <p:spPr>
            <a:xfrm>
              <a:off x="11102022" y="226536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833 w 57150"/>
                <a:gd name="connsiteY2" fmla="*/ 5398 h 38100"/>
                <a:gd name="connsiteX3" fmla="*/ 4763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4763"/>
                    <a:pt x="56197" y="4763"/>
                    <a:pt x="56833" y="5398"/>
                  </a:cubicBezTo>
                  <a:lnTo>
                    <a:pt x="4763" y="34608"/>
                  </a:lnTo>
                  <a:cubicBezTo>
                    <a:pt x="4763" y="35242"/>
                    <a:pt x="4763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0" name="任意多边形: 形状 1219"/>
            <p:cNvSpPr/>
            <p:nvPr/>
          </p:nvSpPr>
          <p:spPr>
            <a:xfrm>
              <a:off x="11131232" y="2198052"/>
              <a:ext cx="63500" cy="38100"/>
            </a:xfrm>
            <a:custGeom>
              <a:avLst/>
              <a:gdLst>
                <a:gd name="connsiteX0" fmla="*/ 4763 w 63500"/>
                <a:gd name="connsiteY0" fmla="*/ 38418 h 38100"/>
                <a:gd name="connsiteX1" fmla="*/ 56198 w 63500"/>
                <a:gd name="connsiteY1" fmla="*/ 8573 h 38100"/>
                <a:gd name="connsiteX2" fmla="*/ 64453 w 63500"/>
                <a:gd name="connsiteY2" fmla="*/ 4763 h 38100"/>
                <a:gd name="connsiteX3" fmla="*/ 13018 w 63500"/>
                <a:gd name="connsiteY3" fmla="*/ 34608 h 38100"/>
                <a:gd name="connsiteX4" fmla="*/ 4763 w 63500"/>
                <a:gd name="connsiteY4" fmla="*/ 3841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8418"/>
                  </a:moveTo>
                  <a:lnTo>
                    <a:pt x="56198" y="8573"/>
                  </a:lnTo>
                  <a:cubicBezTo>
                    <a:pt x="58738" y="7302"/>
                    <a:pt x="61913" y="6033"/>
                    <a:pt x="64453" y="4763"/>
                  </a:cubicBezTo>
                  <a:lnTo>
                    <a:pt x="13018" y="34608"/>
                  </a:lnTo>
                  <a:cubicBezTo>
                    <a:pt x="9843" y="35877"/>
                    <a:pt x="7303" y="37148"/>
                    <a:pt x="4763" y="3841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1" name="任意多边形: 形状 1220"/>
            <p:cNvSpPr/>
            <p:nvPr/>
          </p:nvSpPr>
          <p:spPr>
            <a:xfrm>
              <a:off x="11139488" y="2196148"/>
              <a:ext cx="63500" cy="38100"/>
            </a:xfrm>
            <a:custGeom>
              <a:avLst/>
              <a:gdLst>
                <a:gd name="connsiteX0" fmla="*/ 4763 w 63500"/>
                <a:gd name="connsiteY0" fmla="*/ 36513 h 38100"/>
                <a:gd name="connsiteX1" fmla="*/ 56197 w 63500"/>
                <a:gd name="connsiteY1" fmla="*/ 6667 h 38100"/>
                <a:gd name="connsiteX2" fmla="*/ 63182 w 63500"/>
                <a:gd name="connsiteY2" fmla="*/ 4763 h 38100"/>
                <a:gd name="connsiteX3" fmla="*/ 11747 w 63500"/>
                <a:gd name="connsiteY3" fmla="*/ 34607 h 38100"/>
                <a:gd name="connsiteX4" fmla="*/ 4763 w 63500"/>
                <a:gd name="connsiteY4" fmla="*/ 3651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6513"/>
                  </a:moveTo>
                  <a:lnTo>
                    <a:pt x="56197" y="6667"/>
                  </a:lnTo>
                  <a:cubicBezTo>
                    <a:pt x="58738" y="6032"/>
                    <a:pt x="60643" y="5398"/>
                    <a:pt x="63182" y="4763"/>
                  </a:cubicBezTo>
                  <a:lnTo>
                    <a:pt x="11747" y="34607"/>
                  </a:lnTo>
                  <a:cubicBezTo>
                    <a:pt x="9207" y="35242"/>
                    <a:pt x="7303" y="35877"/>
                    <a:pt x="4763" y="3651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2" name="任意多边形: 形状 1221"/>
            <p:cNvSpPr/>
            <p:nvPr/>
          </p:nvSpPr>
          <p:spPr>
            <a:xfrm>
              <a:off x="11146472" y="2195513"/>
              <a:ext cx="63500" cy="38100"/>
            </a:xfrm>
            <a:custGeom>
              <a:avLst/>
              <a:gdLst>
                <a:gd name="connsiteX0" fmla="*/ 4763 w 63500"/>
                <a:gd name="connsiteY0" fmla="*/ 35242 h 38100"/>
                <a:gd name="connsiteX1" fmla="*/ 56197 w 63500"/>
                <a:gd name="connsiteY1" fmla="*/ 5398 h 38100"/>
                <a:gd name="connsiteX2" fmla="*/ 61913 w 63500"/>
                <a:gd name="connsiteY2" fmla="*/ 4763 h 38100"/>
                <a:gd name="connsiteX3" fmla="*/ 10478 w 63500"/>
                <a:gd name="connsiteY3" fmla="*/ 34608 h 38100"/>
                <a:gd name="connsiteX4" fmla="*/ 4763 w 63500"/>
                <a:gd name="connsiteY4" fmla="*/ 3524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2"/>
                  </a:moveTo>
                  <a:lnTo>
                    <a:pt x="56197" y="5398"/>
                  </a:lnTo>
                  <a:cubicBezTo>
                    <a:pt x="58103" y="4763"/>
                    <a:pt x="60008" y="4763"/>
                    <a:pt x="61913" y="4763"/>
                  </a:cubicBezTo>
                  <a:lnTo>
                    <a:pt x="10478" y="34608"/>
                  </a:lnTo>
                  <a:cubicBezTo>
                    <a:pt x="8572" y="34608"/>
                    <a:pt x="6668" y="34608"/>
                    <a:pt x="4763" y="3524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3" name="任意多边形: 形状 1222"/>
            <p:cNvSpPr/>
            <p:nvPr/>
          </p:nvSpPr>
          <p:spPr>
            <a:xfrm>
              <a:off x="11152822" y="219551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1278 w 63500"/>
                <a:gd name="connsiteY2" fmla="*/ 4763 h 38100"/>
                <a:gd name="connsiteX3" fmla="*/ 9843 w 63500"/>
                <a:gd name="connsiteY3" fmla="*/ 3460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8103" y="4763"/>
                    <a:pt x="60008" y="4763"/>
                    <a:pt x="61278" y="4763"/>
                  </a:cubicBezTo>
                  <a:lnTo>
                    <a:pt x="9843" y="34608"/>
                  </a:lnTo>
                  <a:cubicBezTo>
                    <a:pt x="7938" y="33973"/>
                    <a:pt x="6033" y="3397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4" name="任意多边形: 形状 1223"/>
            <p:cNvSpPr/>
            <p:nvPr/>
          </p:nvSpPr>
          <p:spPr>
            <a:xfrm>
              <a:off x="11157903" y="21948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1278 w 63500"/>
                <a:gd name="connsiteY2" fmla="*/ 4763 h 38100"/>
                <a:gd name="connsiteX3" fmla="*/ 9842 w 63500"/>
                <a:gd name="connsiteY3" fmla="*/ 3460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8103" y="4763"/>
                    <a:pt x="59372" y="4763"/>
                    <a:pt x="61278" y="4763"/>
                  </a:cubicBezTo>
                  <a:lnTo>
                    <a:pt x="9842" y="34608"/>
                  </a:lnTo>
                  <a:cubicBezTo>
                    <a:pt x="7938" y="34608"/>
                    <a:pt x="666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5" name="任意多边形: 形状 1224"/>
            <p:cNvSpPr/>
            <p:nvPr/>
          </p:nvSpPr>
          <p:spPr>
            <a:xfrm>
              <a:off x="11162982" y="219551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60643 w 63500"/>
                <a:gd name="connsiteY2" fmla="*/ 5398 h 38100"/>
                <a:gd name="connsiteX3" fmla="*/ 9208 w 63500"/>
                <a:gd name="connsiteY3" fmla="*/ 35242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7468" y="4763"/>
                    <a:pt x="59373" y="4763"/>
                    <a:pt x="60643" y="5398"/>
                  </a:cubicBezTo>
                  <a:lnTo>
                    <a:pt x="9208" y="35242"/>
                  </a:lnTo>
                  <a:cubicBezTo>
                    <a:pt x="7938" y="34608"/>
                    <a:pt x="603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6" name="任意多边形: 形状 1225"/>
            <p:cNvSpPr/>
            <p:nvPr/>
          </p:nvSpPr>
          <p:spPr>
            <a:xfrm>
              <a:off x="11167428" y="219551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5398 h 38100"/>
                <a:gd name="connsiteX3" fmla="*/ 9207 w 63500"/>
                <a:gd name="connsiteY3" fmla="*/ 35242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4763"/>
                    <a:pt x="59372" y="5398"/>
                    <a:pt x="60642" y="5398"/>
                  </a:cubicBezTo>
                  <a:lnTo>
                    <a:pt x="9207" y="35242"/>
                  </a:lnTo>
                  <a:cubicBezTo>
                    <a:pt x="7938" y="35242"/>
                    <a:pt x="666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7" name="任意多边形: 形状 1226"/>
            <p:cNvSpPr/>
            <p:nvPr/>
          </p:nvSpPr>
          <p:spPr>
            <a:xfrm>
              <a:off x="11171872" y="219678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6032 h 38100"/>
                <a:gd name="connsiteX3" fmla="*/ 9208 w 63500"/>
                <a:gd name="connsiteY3" fmla="*/ 3587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4763"/>
                    <a:pt x="59372" y="5397"/>
                    <a:pt x="60643" y="6032"/>
                  </a:cubicBezTo>
                  <a:lnTo>
                    <a:pt x="9208" y="35877"/>
                  </a:lnTo>
                  <a:cubicBezTo>
                    <a:pt x="7938" y="34607"/>
                    <a:pt x="666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8" name="任意多边形: 形状 1227"/>
            <p:cNvSpPr/>
            <p:nvPr/>
          </p:nvSpPr>
          <p:spPr>
            <a:xfrm>
              <a:off x="11176318" y="21974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6033 h 38100"/>
                <a:gd name="connsiteX3" fmla="*/ 9207 w 63500"/>
                <a:gd name="connsiteY3" fmla="*/ 3587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5398"/>
                    <a:pt x="59372" y="5398"/>
                    <a:pt x="60642" y="6033"/>
                  </a:cubicBezTo>
                  <a:lnTo>
                    <a:pt x="9207" y="35878"/>
                  </a:lnTo>
                  <a:cubicBezTo>
                    <a:pt x="7938" y="35243"/>
                    <a:pt x="666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9" name="任意多边形: 形状 1228"/>
            <p:cNvSpPr/>
            <p:nvPr/>
          </p:nvSpPr>
          <p:spPr>
            <a:xfrm>
              <a:off x="11180763" y="2198688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3 w 63500"/>
                <a:gd name="connsiteY2" fmla="*/ 6033 h 38100"/>
                <a:gd name="connsiteX3" fmla="*/ 9207 w 63500"/>
                <a:gd name="connsiteY3" fmla="*/ 35877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5398"/>
                    <a:pt x="58738" y="5398"/>
                    <a:pt x="60643" y="6033"/>
                  </a:cubicBezTo>
                  <a:lnTo>
                    <a:pt x="9207" y="35877"/>
                  </a:lnTo>
                  <a:cubicBezTo>
                    <a:pt x="7938" y="35242"/>
                    <a:pt x="6032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0" name="任意多边形: 形状 1229"/>
            <p:cNvSpPr/>
            <p:nvPr/>
          </p:nvSpPr>
          <p:spPr>
            <a:xfrm>
              <a:off x="11185207" y="219995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643 w 63500"/>
                <a:gd name="connsiteY2" fmla="*/ 6667 h 38100"/>
                <a:gd name="connsiteX3" fmla="*/ 9208 w 63500"/>
                <a:gd name="connsiteY3" fmla="*/ 3651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5397"/>
                    <a:pt x="58738" y="6032"/>
                    <a:pt x="60643" y="6667"/>
                  </a:cubicBezTo>
                  <a:lnTo>
                    <a:pt x="9208" y="36513"/>
                  </a:lnTo>
                  <a:cubicBezTo>
                    <a:pt x="7303" y="35877"/>
                    <a:pt x="603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1" name="任意多边形: 形状 1230"/>
            <p:cNvSpPr/>
            <p:nvPr/>
          </p:nvSpPr>
          <p:spPr>
            <a:xfrm>
              <a:off x="11189653" y="220186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6667 h 38100"/>
                <a:gd name="connsiteX3" fmla="*/ 9207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5398"/>
                    <a:pt x="58738" y="6033"/>
                    <a:pt x="60642" y="6667"/>
                  </a:cubicBezTo>
                  <a:lnTo>
                    <a:pt x="9207" y="36513"/>
                  </a:lnTo>
                  <a:cubicBezTo>
                    <a:pt x="7303" y="35877"/>
                    <a:pt x="6032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2" name="任意多边形: 形状 1231"/>
            <p:cNvSpPr/>
            <p:nvPr/>
          </p:nvSpPr>
          <p:spPr>
            <a:xfrm>
              <a:off x="11193463" y="220376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3 w 63500"/>
                <a:gd name="connsiteY2" fmla="*/ 6668 h 38100"/>
                <a:gd name="connsiteX3" fmla="*/ 9207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5398"/>
                    <a:pt x="59372" y="6033"/>
                    <a:pt x="60643" y="6668"/>
                  </a:cubicBezTo>
                  <a:lnTo>
                    <a:pt x="9207" y="36513"/>
                  </a:lnTo>
                  <a:cubicBezTo>
                    <a:pt x="7938" y="35878"/>
                    <a:pt x="666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3" name="任意多边形: 形状 1232"/>
            <p:cNvSpPr/>
            <p:nvPr/>
          </p:nvSpPr>
          <p:spPr>
            <a:xfrm>
              <a:off x="11197907" y="220567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643 w 63500"/>
                <a:gd name="connsiteY2" fmla="*/ 7302 h 38100"/>
                <a:gd name="connsiteX3" fmla="*/ 9208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5398"/>
                    <a:pt x="59373" y="6032"/>
                    <a:pt x="60643" y="7302"/>
                  </a:cubicBezTo>
                  <a:lnTo>
                    <a:pt x="9208" y="37148"/>
                  </a:lnTo>
                  <a:cubicBezTo>
                    <a:pt x="7938" y="35877"/>
                    <a:pt x="6668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4" name="任意多边形: 形状 1233"/>
            <p:cNvSpPr/>
            <p:nvPr/>
          </p:nvSpPr>
          <p:spPr>
            <a:xfrm>
              <a:off x="11202353" y="22075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9372 w 63500"/>
                <a:gd name="connsiteY2" fmla="*/ 6668 h 38100"/>
                <a:gd name="connsiteX3" fmla="*/ 7938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5398"/>
                    <a:pt x="58738" y="6033"/>
                    <a:pt x="59372" y="6668"/>
                  </a:cubicBezTo>
                  <a:lnTo>
                    <a:pt x="7938" y="36513"/>
                  </a:lnTo>
                  <a:cubicBezTo>
                    <a:pt x="7303" y="35877"/>
                    <a:pt x="6032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5" name="任意多边形: 形状 1234"/>
            <p:cNvSpPr/>
            <p:nvPr/>
          </p:nvSpPr>
          <p:spPr>
            <a:xfrm>
              <a:off x="11205528" y="22094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5397 h 38100"/>
                <a:gd name="connsiteX3" fmla="*/ 6032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6832" y="5397"/>
                    <a:pt x="57467" y="5397"/>
                  </a:cubicBezTo>
                  <a:lnTo>
                    <a:pt x="6032" y="35242"/>
                  </a:lnTo>
                  <a:cubicBezTo>
                    <a:pt x="6032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6" name="任意多边形: 形状 1235"/>
            <p:cNvSpPr/>
            <p:nvPr/>
          </p:nvSpPr>
          <p:spPr>
            <a:xfrm>
              <a:off x="11206797" y="22101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3 w 63500"/>
                <a:gd name="connsiteY2" fmla="*/ 7303 h 38100"/>
                <a:gd name="connsiteX3" fmla="*/ 9208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5398"/>
                    <a:pt x="59372" y="6668"/>
                    <a:pt x="60643" y="7303"/>
                  </a:cubicBezTo>
                  <a:lnTo>
                    <a:pt x="9208" y="37148"/>
                  </a:lnTo>
                  <a:cubicBezTo>
                    <a:pt x="7938" y="36513"/>
                    <a:pt x="6668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7" name="任意多边形: 形状 1236"/>
            <p:cNvSpPr/>
            <p:nvPr/>
          </p:nvSpPr>
          <p:spPr>
            <a:xfrm>
              <a:off x="11211243" y="221329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7938 h 38100"/>
                <a:gd name="connsiteX3" fmla="*/ 9207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033"/>
                    <a:pt x="59372" y="6668"/>
                    <a:pt x="60642" y="7938"/>
                  </a:cubicBezTo>
                  <a:lnTo>
                    <a:pt x="9207" y="37783"/>
                  </a:lnTo>
                  <a:cubicBezTo>
                    <a:pt x="7938" y="36513"/>
                    <a:pt x="666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8" name="任意多边形: 形状 1237"/>
            <p:cNvSpPr/>
            <p:nvPr/>
          </p:nvSpPr>
          <p:spPr>
            <a:xfrm>
              <a:off x="11215688" y="221583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7938 h 38100"/>
                <a:gd name="connsiteX3" fmla="*/ 9207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9372" y="6667"/>
                    <a:pt x="60643" y="7938"/>
                  </a:cubicBezTo>
                  <a:lnTo>
                    <a:pt x="9207" y="37782"/>
                  </a:lnTo>
                  <a:cubicBezTo>
                    <a:pt x="7938" y="37147"/>
                    <a:pt x="6668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9" name="任意多边形: 形状 1238"/>
            <p:cNvSpPr/>
            <p:nvPr/>
          </p:nvSpPr>
          <p:spPr>
            <a:xfrm>
              <a:off x="11220768" y="221964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8573 h 38100"/>
                <a:gd name="connsiteX3" fmla="*/ 9207 w 63500"/>
                <a:gd name="connsiteY3" fmla="*/ 3841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033"/>
                    <a:pt x="59372" y="7303"/>
                    <a:pt x="60642" y="8573"/>
                  </a:cubicBezTo>
                  <a:lnTo>
                    <a:pt x="9207" y="38418"/>
                  </a:lnTo>
                  <a:cubicBezTo>
                    <a:pt x="7938" y="36513"/>
                    <a:pt x="6032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0" name="任意多边形: 形状 1239"/>
            <p:cNvSpPr/>
            <p:nvPr/>
          </p:nvSpPr>
          <p:spPr>
            <a:xfrm>
              <a:off x="11225213" y="22228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3 w 63500"/>
                <a:gd name="connsiteY2" fmla="*/ 8573 h 38100"/>
                <a:gd name="connsiteX3" fmla="*/ 9207 w 63500"/>
                <a:gd name="connsiteY3" fmla="*/ 3841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8103" y="6033"/>
                    <a:pt x="59372" y="7303"/>
                    <a:pt x="60643" y="8573"/>
                  </a:cubicBezTo>
                  <a:lnTo>
                    <a:pt x="9207" y="38418"/>
                  </a:lnTo>
                  <a:cubicBezTo>
                    <a:pt x="7938" y="37148"/>
                    <a:pt x="6668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1" name="任意多边形: 形状 1240"/>
            <p:cNvSpPr/>
            <p:nvPr/>
          </p:nvSpPr>
          <p:spPr>
            <a:xfrm>
              <a:off x="11230293" y="22266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8573 h 38100"/>
                <a:gd name="connsiteX3" fmla="*/ 9207 w 63500"/>
                <a:gd name="connsiteY3" fmla="*/ 3841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8102" y="6033"/>
                    <a:pt x="59372" y="7302"/>
                    <a:pt x="60642" y="8573"/>
                  </a:cubicBezTo>
                  <a:lnTo>
                    <a:pt x="9207" y="38418"/>
                  </a:lnTo>
                  <a:cubicBezTo>
                    <a:pt x="7938" y="37783"/>
                    <a:pt x="6032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2" name="任意多边形: 形状 1241"/>
            <p:cNvSpPr/>
            <p:nvPr/>
          </p:nvSpPr>
          <p:spPr>
            <a:xfrm>
              <a:off x="11234738" y="223107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9207 h 38100"/>
                <a:gd name="connsiteX3" fmla="*/ 9207 w 63500"/>
                <a:gd name="connsiteY3" fmla="*/ 3905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9372" y="7938"/>
                    <a:pt x="60643" y="9207"/>
                  </a:cubicBezTo>
                  <a:lnTo>
                    <a:pt x="9207" y="39052"/>
                  </a:lnTo>
                  <a:cubicBezTo>
                    <a:pt x="7938" y="37148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3" name="任意多边形: 形状 1242"/>
            <p:cNvSpPr/>
            <p:nvPr/>
          </p:nvSpPr>
          <p:spPr>
            <a:xfrm>
              <a:off x="11239182" y="22355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60643 w 63500"/>
                <a:gd name="connsiteY2" fmla="*/ 9208 h 38100"/>
                <a:gd name="connsiteX3" fmla="*/ 9208 w 63500"/>
                <a:gd name="connsiteY3" fmla="*/ 3905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7468" y="6033"/>
                    <a:pt x="59373" y="7938"/>
                    <a:pt x="60643" y="9208"/>
                  </a:cubicBezTo>
                  <a:lnTo>
                    <a:pt x="9208" y="39053"/>
                  </a:lnTo>
                  <a:cubicBezTo>
                    <a:pt x="7938" y="37148"/>
                    <a:pt x="6668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4" name="任意多边形: 形状 1243"/>
            <p:cNvSpPr/>
            <p:nvPr/>
          </p:nvSpPr>
          <p:spPr>
            <a:xfrm>
              <a:off x="11243628" y="223996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9208 h 38100"/>
                <a:gd name="connsiteX3" fmla="*/ 9207 w 63500"/>
                <a:gd name="connsiteY3" fmla="*/ 39052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033"/>
                    <a:pt x="59372" y="7938"/>
                    <a:pt x="60642" y="9208"/>
                  </a:cubicBezTo>
                  <a:lnTo>
                    <a:pt x="9207" y="39052"/>
                  </a:lnTo>
                  <a:cubicBezTo>
                    <a:pt x="7938" y="37148"/>
                    <a:pt x="6667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5" name="任意多边形: 形状 1244"/>
            <p:cNvSpPr/>
            <p:nvPr/>
          </p:nvSpPr>
          <p:spPr>
            <a:xfrm>
              <a:off x="11248072" y="224440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008 w 63500"/>
                <a:gd name="connsiteY2" fmla="*/ 9207 h 38100"/>
                <a:gd name="connsiteX3" fmla="*/ 8572 w 63500"/>
                <a:gd name="connsiteY3" fmla="*/ 3905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8738" y="7938"/>
                    <a:pt x="60008" y="9207"/>
                  </a:cubicBezTo>
                  <a:lnTo>
                    <a:pt x="8572" y="39052"/>
                  </a:lnTo>
                  <a:cubicBezTo>
                    <a:pt x="7303" y="37147"/>
                    <a:pt x="603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6" name="任意多边形: 形状 1245"/>
            <p:cNvSpPr/>
            <p:nvPr/>
          </p:nvSpPr>
          <p:spPr>
            <a:xfrm>
              <a:off x="11252518" y="224885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007 w 63500"/>
                <a:gd name="connsiteY2" fmla="*/ 9208 h 38100"/>
                <a:gd name="connsiteX3" fmla="*/ 8572 w 63500"/>
                <a:gd name="connsiteY3" fmla="*/ 39052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033"/>
                    <a:pt x="58738" y="7938"/>
                    <a:pt x="60007" y="9208"/>
                  </a:cubicBezTo>
                  <a:lnTo>
                    <a:pt x="8572" y="39052"/>
                  </a:lnTo>
                  <a:cubicBezTo>
                    <a:pt x="7302" y="37783"/>
                    <a:pt x="6032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7" name="任意多边形: 形状 1246"/>
            <p:cNvSpPr/>
            <p:nvPr/>
          </p:nvSpPr>
          <p:spPr>
            <a:xfrm>
              <a:off x="11256328" y="225329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0007 w 63500"/>
                <a:gd name="connsiteY2" fmla="*/ 9842 h 44450"/>
                <a:gd name="connsiteX3" fmla="*/ 8572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7"/>
                    <a:pt x="58738" y="7938"/>
                    <a:pt x="60007" y="9842"/>
                  </a:cubicBezTo>
                  <a:lnTo>
                    <a:pt x="8572" y="39688"/>
                  </a:lnTo>
                  <a:cubicBezTo>
                    <a:pt x="7303" y="37782"/>
                    <a:pt x="6032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8" name="任意多边形: 形状 1247"/>
            <p:cNvSpPr/>
            <p:nvPr/>
          </p:nvSpPr>
          <p:spPr>
            <a:xfrm>
              <a:off x="11260138" y="2258377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60643 w 63500"/>
                <a:gd name="connsiteY2" fmla="*/ 10477 h 44450"/>
                <a:gd name="connsiteX3" fmla="*/ 9207 w 63500"/>
                <a:gd name="connsiteY3" fmla="*/ 40323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6668"/>
                    <a:pt x="59372" y="8573"/>
                    <a:pt x="60643" y="10477"/>
                  </a:cubicBezTo>
                  <a:lnTo>
                    <a:pt x="9207" y="40323"/>
                  </a:lnTo>
                  <a:cubicBezTo>
                    <a:pt x="7938" y="38418"/>
                    <a:pt x="6668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9" name="任意多边形: 形状 1248"/>
            <p:cNvSpPr/>
            <p:nvPr/>
          </p:nvSpPr>
          <p:spPr>
            <a:xfrm>
              <a:off x="11264582" y="2264092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8 w 63500"/>
                <a:gd name="connsiteY1" fmla="*/ 4763 h 44450"/>
                <a:gd name="connsiteX2" fmla="*/ 62548 w 63500"/>
                <a:gd name="connsiteY2" fmla="*/ 13653 h 44450"/>
                <a:gd name="connsiteX3" fmla="*/ 11113 w 63500"/>
                <a:gd name="connsiteY3" fmla="*/ 43498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8" y="4763"/>
                  </a:lnTo>
                  <a:cubicBezTo>
                    <a:pt x="58103" y="7938"/>
                    <a:pt x="60643" y="10478"/>
                    <a:pt x="62548" y="13653"/>
                  </a:cubicBezTo>
                  <a:lnTo>
                    <a:pt x="11113" y="43498"/>
                  </a:lnTo>
                  <a:cubicBezTo>
                    <a:pt x="9208" y="40958"/>
                    <a:pt x="7303" y="3778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0" name="任意多边形: 形状 1249"/>
            <p:cNvSpPr/>
            <p:nvPr/>
          </p:nvSpPr>
          <p:spPr>
            <a:xfrm>
              <a:off x="11270932" y="2272983"/>
              <a:ext cx="63500" cy="50800"/>
            </a:xfrm>
            <a:custGeom>
              <a:avLst/>
              <a:gdLst>
                <a:gd name="connsiteX0" fmla="*/ 4763 w 63500"/>
                <a:gd name="connsiteY0" fmla="*/ 34607 h 50800"/>
                <a:gd name="connsiteX1" fmla="*/ 56198 w 63500"/>
                <a:gd name="connsiteY1" fmla="*/ 4763 h 50800"/>
                <a:gd name="connsiteX2" fmla="*/ 64453 w 63500"/>
                <a:gd name="connsiteY2" fmla="*/ 18097 h 50800"/>
                <a:gd name="connsiteX3" fmla="*/ 13018 w 63500"/>
                <a:gd name="connsiteY3" fmla="*/ 47942 h 50800"/>
                <a:gd name="connsiteX4" fmla="*/ 4763 w 63500"/>
                <a:gd name="connsiteY4" fmla="*/ 34607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50800">
                  <a:moveTo>
                    <a:pt x="4763" y="34607"/>
                  </a:moveTo>
                  <a:lnTo>
                    <a:pt x="56198" y="4763"/>
                  </a:lnTo>
                  <a:cubicBezTo>
                    <a:pt x="59373" y="9207"/>
                    <a:pt x="61913" y="13652"/>
                    <a:pt x="64453" y="18097"/>
                  </a:cubicBezTo>
                  <a:lnTo>
                    <a:pt x="13018" y="47942"/>
                  </a:lnTo>
                  <a:cubicBezTo>
                    <a:pt x="10478" y="43497"/>
                    <a:pt x="7938" y="3905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1" name="任意多边形: 形状 1250"/>
            <p:cNvSpPr/>
            <p:nvPr/>
          </p:nvSpPr>
          <p:spPr>
            <a:xfrm>
              <a:off x="11279188" y="2286317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61278 w 63500"/>
                <a:gd name="connsiteY2" fmla="*/ 13653 h 44450"/>
                <a:gd name="connsiteX3" fmla="*/ 9843 w 63500"/>
                <a:gd name="connsiteY3" fmla="*/ 43498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8103" y="7938"/>
                    <a:pt x="59372" y="10478"/>
                    <a:pt x="61278" y="13653"/>
                  </a:cubicBezTo>
                  <a:lnTo>
                    <a:pt x="9843" y="43498"/>
                  </a:lnTo>
                  <a:cubicBezTo>
                    <a:pt x="7938" y="40323"/>
                    <a:pt x="6668" y="3714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2" name="任意多边形: 形状 1251"/>
            <p:cNvSpPr/>
            <p:nvPr/>
          </p:nvSpPr>
          <p:spPr>
            <a:xfrm>
              <a:off x="11284268" y="229520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59372 w 63500"/>
                <a:gd name="connsiteY2" fmla="*/ 11113 h 44450"/>
                <a:gd name="connsiteX3" fmla="*/ 7938 w 63500"/>
                <a:gd name="connsiteY3" fmla="*/ 4095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7"/>
                    <a:pt x="58102" y="8572"/>
                    <a:pt x="59372" y="11113"/>
                  </a:cubicBezTo>
                  <a:lnTo>
                    <a:pt x="7938" y="40957"/>
                  </a:lnTo>
                  <a:cubicBezTo>
                    <a:pt x="6667" y="38417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3" name="任意多边形: 形状 1252"/>
            <p:cNvSpPr/>
            <p:nvPr/>
          </p:nvSpPr>
          <p:spPr>
            <a:xfrm>
              <a:off x="11287443" y="230092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58738 w 63500"/>
                <a:gd name="connsiteY2" fmla="*/ 9842 h 44450"/>
                <a:gd name="connsiteX3" fmla="*/ 7302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667"/>
                    <a:pt x="58102" y="7938"/>
                    <a:pt x="58738" y="9842"/>
                  </a:cubicBezTo>
                  <a:lnTo>
                    <a:pt x="7302" y="39688"/>
                  </a:lnTo>
                  <a:cubicBezTo>
                    <a:pt x="6032" y="38417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4" name="任意多边形: 形状 1253"/>
            <p:cNvSpPr/>
            <p:nvPr/>
          </p:nvSpPr>
          <p:spPr>
            <a:xfrm>
              <a:off x="11289982" y="2306002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8 w 63500"/>
                <a:gd name="connsiteY1" fmla="*/ 4763 h 44450"/>
                <a:gd name="connsiteX2" fmla="*/ 58738 w 63500"/>
                <a:gd name="connsiteY2" fmla="*/ 9843 h 44450"/>
                <a:gd name="connsiteX3" fmla="*/ 7303 w 63500"/>
                <a:gd name="connsiteY3" fmla="*/ 39688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668"/>
                    <a:pt x="57468" y="7938"/>
                    <a:pt x="58738" y="9843"/>
                  </a:cubicBezTo>
                  <a:lnTo>
                    <a:pt x="7303" y="39688"/>
                  </a:lnTo>
                  <a:cubicBezTo>
                    <a:pt x="6033" y="37783"/>
                    <a:pt x="5398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5" name="任意多边形: 形状 1254"/>
            <p:cNvSpPr/>
            <p:nvPr/>
          </p:nvSpPr>
          <p:spPr>
            <a:xfrm>
              <a:off x="11291888" y="23110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9207 h 38100"/>
                <a:gd name="connsiteX3" fmla="*/ 6668 w 57150"/>
                <a:gd name="connsiteY3" fmla="*/ 3905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8" y="7938"/>
                    <a:pt x="58103" y="9207"/>
                  </a:cubicBezTo>
                  <a:lnTo>
                    <a:pt x="6668" y="39052"/>
                  </a:lnTo>
                  <a:cubicBezTo>
                    <a:pt x="6032" y="37782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6" name="任意多边形: 形状 1255"/>
            <p:cNvSpPr/>
            <p:nvPr/>
          </p:nvSpPr>
          <p:spPr>
            <a:xfrm>
              <a:off x="11293793" y="2315527"/>
              <a:ext cx="57150" cy="44450"/>
            </a:xfrm>
            <a:custGeom>
              <a:avLst/>
              <a:gdLst>
                <a:gd name="connsiteX0" fmla="*/ 4763 w 57150"/>
                <a:gd name="connsiteY0" fmla="*/ 34608 h 44450"/>
                <a:gd name="connsiteX1" fmla="*/ 56197 w 57150"/>
                <a:gd name="connsiteY1" fmla="*/ 4763 h 44450"/>
                <a:gd name="connsiteX2" fmla="*/ 58102 w 57150"/>
                <a:gd name="connsiteY2" fmla="*/ 9843 h 44450"/>
                <a:gd name="connsiteX3" fmla="*/ 6667 w 57150"/>
                <a:gd name="connsiteY3" fmla="*/ 39688 h 44450"/>
                <a:gd name="connsiteX4" fmla="*/ 4763 w 5715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668"/>
                    <a:pt x="57467" y="7938"/>
                    <a:pt x="58102" y="9843"/>
                  </a:cubicBezTo>
                  <a:lnTo>
                    <a:pt x="6667" y="39688"/>
                  </a:lnTo>
                  <a:cubicBezTo>
                    <a:pt x="6032" y="37783"/>
                    <a:pt x="5397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7" name="任意多边形: 形状 1256"/>
            <p:cNvSpPr/>
            <p:nvPr/>
          </p:nvSpPr>
          <p:spPr>
            <a:xfrm>
              <a:off x="11295697" y="2320608"/>
              <a:ext cx="57150" cy="44450"/>
            </a:xfrm>
            <a:custGeom>
              <a:avLst/>
              <a:gdLst>
                <a:gd name="connsiteX0" fmla="*/ 4763 w 57150"/>
                <a:gd name="connsiteY0" fmla="*/ 34607 h 44450"/>
                <a:gd name="connsiteX1" fmla="*/ 56197 w 57150"/>
                <a:gd name="connsiteY1" fmla="*/ 4763 h 44450"/>
                <a:gd name="connsiteX2" fmla="*/ 58103 w 57150"/>
                <a:gd name="connsiteY2" fmla="*/ 9842 h 44450"/>
                <a:gd name="connsiteX3" fmla="*/ 6668 w 57150"/>
                <a:gd name="connsiteY3" fmla="*/ 39688 h 44450"/>
                <a:gd name="connsiteX4" fmla="*/ 4763 w 5715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667"/>
                    <a:pt x="57468" y="7938"/>
                    <a:pt x="58103" y="9842"/>
                  </a:cubicBezTo>
                  <a:lnTo>
                    <a:pt x="6668" y="39688"/>
                  </a:lnTo>
                  <a:cubicBezTo>
                    <a:pt x="6033" y="37782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8" name="任意多边形: 形状 1257"/>
            <p:cNvSpPr/>
            <p:nvPr/>
          </p:nvSpPr>
          <p:spPr>
            <a:xfrm>
              <a:off x="11297603" y="2325688"/>
              <a:ext cx="57150" cy="44450"/>
            </a:xfrm>
            <a:custGeom>
              <a:avLst/>
              <a:gdLst>
                <a:gd name="connsiteX0" fmla="*/ 4763 w 57150"/>
                <a:gd name="connsiteY0" fmla="*/ 34608 h 44450"/>
                <a:gd name="connsiteX1" fmla="*/ 56197 w 57150"/>
                <a:gd name="connsiteY1" fmla="*/ 4763 h 44450"/>
                <a:gd name="connsiteX2" fmla="*/ 58103 w 57150"/>
                <a:gd name="connsiteY2" fmla="*/ 9842 h 44450"/>
                <a:gd name="connsiteX3" fmla="*/ 6667 w 57150"/>
                <a:gd name="connsiteY3" fmla="*/ 39688 h 44450"/>
                <a:gd name="connsiteX4" fmla="*/ 4763 w 5715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667"/>
                    <a:pt x="57467" y="7938"/>
                    <a:pt x="58103" y="9842"/>
                  </a:cubicBezTo>
                  <a:lnTo>
                    <a:pt x="6667" y="39688"/>
                  </a:lnTo>
                  <a:cubicBezTo>
                    <a:pt x="6032" y="37783"/>
                    <a:pt x="5397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9" name="任意多边形: 形状 1258"/>
            <p:cNvSpPr/>
            <p:nvPr/>
          </p:nvSpPr>
          <p:spPr>
            <a:xfrm>
              <a:off x="11299507" y="2330767"/>
              <a:ext cx="57150" cy="44450"/>
            </a:xfrm>
            <a:custGeom>
              <a:avLst/>
              <a:gdLst>
                <a:gd name="connsiteX0" fmla="*/ 4763 w 57150"/>
                <a:gd name="connsiteY0" fmla="*/ 34608 h 44450"/>
                <a:gd name="connsiteX1" fmla="*/ 56198 w 57150"/>
                <a:gd name="connsiteY1" fmla="*/ 4763 h 44450"/>
                <a:gd name="connsiteX2" fmla="*/ 58103 w 57150"/>
                <a:gd name="connsiteY2" fmla="*/ 9843 h 44450"/>
                <a:gd name="connsiteX3" fmla="*/ 6668 w 57150"/>
                <a:gd name="connsiteY3" fmla="*/ 39688 h 44450"/>
                <a:gd name="connsiteX4" fmla="*/ 4763 w 5715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668"/>
                    <a:pt x="57468" y="7938"/>
                    <a:pt x="58103" y="9843"/>
                  </a:cubicBezTo>
                  <a:lnTo>
                    <a:pt x="6668" y="39688"/>
                  </a:lnTo>
                  <a:cubicBezTo>
                    <a:pt x="6033" y="37783"/>
                    <a:pt x="5398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0" name="任意多边形: 形状 1259"/>
            <p:cNvSpPr/>
            <p:nvPr/>
          </p:nvSpPr>
          <p:spPr>
            <a:xfrm>
              <a:off x="11301413" y="2335848"/>
              <a:ext cx="57150" cy="44450"/>
            </a:xfrm>
            <a:custGeom>
              <a:avLst/>
              <a:gdLst>
                <a:gd name="connsiteX0" fmla="*/ 4763 w 57150"/>
                <a:gd name="connsiteY0" fmla="*/ 34607 h 44450"/>
                <a:gd name="connsiteX1" fmla="*/ 56197 w 57150"/>
                <a:gd name="connsiteY1" fmla="*/ 4763 h 44450"/>
                <a:gd name="connsiteX2" fmla="*/ 57468 w 57150"/>
                <a:gd name="connsiteY2" fmla="*/ 9842 h 44450"/>
                <a:gd name="connsiteX3" fmla="*/ 6032 w 57150"/>
                <a:gd name="connsiteY3" fmla="*/ 39688 h 44450"/>
                <a:gd name="connsiteX4" fmla="*/ 4763 w 5715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667"/>
                    <a:pt x="57468" y="7938"/>
                    <a:pt x="57468" y="9842"/>
                  </a:cubicBezTo>
                  <a:lnTo>
                    <a:pt x="6032" y="39688"/>
                  </a:lnTo>
                  <a:cubicBezTo>
                    <a:pt x="5397" y="37782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1" name="任意多边形: 形状 1260"/>
            <p:cNvSpPr/>
            <p:nvPr/>
          </p:nvSpPr>
          <p:spPr>
            <a:xfrm>
              <a:off x="11302682" y="2340927"/>
              <a:ext cx="57150" cy="44450"/>
            </a:xfrm>
            <a:custGeom>
              <a:avLst/>
              <a:gdLst>
                <a:gd name="connsiteX0" fmla="*/ 4763 w 57150"/>
                <a:gd name="connsiteY0" fmla="*/ 34608 h 44450"/>
                <a:gd name="connsiteX1" fmla="*/ 56198 w 57150"/>
                <a:gd name="connsiteY1" fmla="*/ 4763 h 44450"/>
                <a:gd name="connsiteX2" fmla="*/ 57468 w 57150"/>
                <a:gd name="connsiteY2" fmla="*/ 9843 h 44450"/>
                <a:gd name="connsiteX3" fmla="*/ 6033 w 57150"/>
                <a:gd name="connsiteY3" fmla="*/ 39688 h 44450"/>
                <a:gd name="connsiteX4" fmla="*/ 4763 w 5715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668"/>
                    <a:pt x="56833" y="7938"/>
                    <a:pt x="57468" y="9843"/>
                  </a:cubicBezTo>
                  <a:lnTo>
                    <a:pt x="6033" y="39688"/>
                  </a:lnTo>
                  <a:cubicBezTo>
                    <a:pt x="5398" y="37783"/>
                    <a:pt x="5398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2" name="任意多边形: 形状 1261"/>
            <p:cNvSpPr/>
            <p:nvPr/>
          </p:nvSpPr>
          <p:spPr>
            <a:xfrm>
              <a:off x="11303953" y="234600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8572 h 38100"/>
                <a:gd name="connsiteX3" fmla="*/ 5397 w 57150"/>
                <a:gd name="connsiteY3" fmla="*/ 3841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7302"/>
                    <a:pt x="56832" y="8572"/>
                  </a:cubicBezTo>
                  <a:lnTo>
                    <a:pt x="5397" y="38417"/>
                  </a:lnTo>
                  <a:cubicBezTo>
                    <a:pt x="5397" y="37147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3" name="任意多边形: 形状 1262"/>
            <p:cNvSpPr/>
            <p:nvPr/>
          </p:nvSpPr>
          <p:spPr>
            <a:xfrm>
              <a:off x="11399203" y="246729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033 h 38100"/>
                <a:gd name="connsiteX3" fmla="*/ 6667 w 57150"/>
                <a:gd name="connsiteY3" fmla="*/ 3587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3" y="6033"/>
                  </a:cubicBezTo>
                  <a:lnTo>
                    <a:pt x="6667" y="35878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4" name="任意多边形: 形状 1263"/>
            <p:cNvSpPr/>
            <p:nvPr/>
          </p:nvSpPr>
          <p:spPr>
            <a:xfrm>
              <a:off x="11401107" y="246856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59373 w 63500"/>
                <a:gd name="connsiteY2" fmla="*/ 7302 h 38100"/>
                <a:gd name="connsiteX3" fmla="*/ 7938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7468" y="5398"/>
                    <a:pt x="58103" y="6667"/>
                    <a:pt x="59373" y="7302"/>
                  </a:cubicBezTo>
                  <a:lnTo>
                    <a:pt x="7938" y="37148"/>
                  </a:lnTo>
                  <a:cubicBezTo>
                    <a:pt x="7303" y="36513"/>
                    <a:pt x="6033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5" name="任意多边形: 形状 1264"/>
            <p:cNvSpPr/>
            <p:nvPr/>
          </p:nvSpPr>
          <p:spPr>
            <a:xfrm>
              <a:off x="11404282" y="247110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59373 w 63500"/>
                <a:gd name="connsiteY2" fmla="*/ 7938 h 38100"/>
                <a:gd name="connsiteX3" fmla="*/ 7938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7468" y="5398"/>
                    <a:pt x="58103" y="6668"/>
                    <a:pt x="59373" y="7938"/>
                  </a:cubicBezTo>
                  <a:lnTo>
                    <a:pt x="7938" y="37783"/>
                  </a:lnTo>
                  <a:cubicBezTo>
                    <a:pt x="7303" y="36513"/>
                    <a:pt x="603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6" name="任意多边形: 形状 1265"/>
            <p:cNvSpPr/>
            <p:nvPr/>
          </p:nvSpPr>
          <p:spPr>
            <a:xfrm>
              <a:off x="11407457" y="24742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59373 w 63500"/>
                <a:gd name="connsiteY2" fmla="*/ 7938 h 38100"/>
                <a:gd name="connsiteX3" fmla="*/ 7938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7468" y="6033"/>
                    <a:pt x="58103" y="6668"/>
                    <a:pt x="59373" y="7938"/>
                  </a:cubicBezTo>
                  <a:lnTo>
                    <a:pt x="7938" y="37783"/>
                  </a:lnTo>
                  <a:cubicBezTo>
                    <a:pt x="6668" y="36513"/>
                    <a:pt x="603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7" name="任意多边形: 形状 1266"/>
            <p:cNvSpPr/>
            <p:nvPr/>
          </p:nvSpPr>
          <p:spPr>
            <a:xfrm>
              <a:off x="11410632" y="247745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59373 w 63500"/>
                <a:gd name="connsiteY2" fmla="*/ 7938 h 38100"/>
                <a:gd name="connsiteX3" fmla="*/ 7938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7468" y="6033"/>
                    <a:pt x="58103" y="6668"/>
                    <a:pt x="59373" y="7938"/>
                  </a:cubicBezTo>
                  <a:lnTo>
                    <a:pt x="7938" y="37783"/>
                  </a:lnTo>
                  <a:cubicBezTo>
                    <a:pt x="6668" y="36513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8" name="任意多边形: 形状 1267"/>
            <p:cNvSpPr/>
            <p:nvPr/>
          </p:nvSpPr>
          <p:spPr>
            <a:xfrm>
              <a:off x="11413172" y="247999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6033"/>
                    <a:pt x="58103" y="6668"/>
                    <a:pt x="58738" y="7938"/>
                  </a:cubicBezTo>
                  <a:lnTo>
                    <a:pt x="7303" y="37783"/>
                  </a:lnTo>
                  <a:cubicBezTo>
                    <a:pt x="6668" y="37148"/>
                    <a:pt x="603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9" name="任意多边形: 形状 1268"/>
            <p:cNvSpPr/>
            <p:nvPr/>
          </p:nvSpPr>
          <p:spPr>
            <a:xfrm>
              <a:off x="11416347" y="248316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6033"/>
                    <a:pt x="58103" y="6668"/>
                    <a:pt x="58738" y="7938"/>
                  </a:cubicBezTo>
                  <a:lnTo>
                    <a:pt x="7303" y="37783"/>
                  </a:lnTo>
                  <a:cubicBezTo>
                    <a:pt x="6668" y="37148"/>
                    <a:pt x="5397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0" name="任意多边形: 形状 1269"/>
            <p:cNvSpPr/>
            <p:nvPr/>
          </p:nvSpPr>
          <p:spPr>
            <a:xfrm>
              <a:off x="11418888" y="248634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8103" y="6668"/>
                    <a:pt x="58738" y="7938"/>
                  </a:cubicBezTo>
                  <a:lnTo>
                    <a:pt x="7303" y="37783"/>
                  </a:lnTo>
                  <a:cubicBezTo>
                    <a:pt x="6668" y="37148"/>
                    <a:pt x="5397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1" name="任意多边形: 形状 1270"/>
            <p:cNvSpPr/>
            <p:nvPr/>
          </p:nvSpPr>
          <p:spPr>
            <a:xfrm>
              <a:off x="11421428" y="24895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9372 w 63500"/>
                <a:gd name="connsiteY2" fmla="*/ 8573 h 38100"/>
                <a:gd name="connsiteX3" fmla="*/ 7938 w 63500"/>
                <a:gd name="connsiteY3" fmla="*/ 3841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033"/>
                    <a:pt x="58103" y="7303"/>
                    <a:pt x="59372" y="8573"/>
                  </a:cubicBezTo>
                  <a:lnTo>
                    <a:pt x="7938" y="38418"/>
                  </a:lnTo>
                  <a:cubicBezTo>
                    <a:pt x="6667" y="37783"/>
                    <a:pt x="6032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2" name="任意多边形: 形状 1271"/>
            <p:cNvSpPr/>
            <p:nvPr/>
          </p:nvSpPr>
          <p:spPr>
            <a:xfrm>
              <a:off x="11424603" y="2493963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60007 w 63500"/>
                <a:gd name="connsiteY2" fmla="*/ 10477 h 44450"/>
                <a:gd name="connsiteX3" fmla="*/ 8572 w 63500"/>
                <a:gd name="connsiteY3" fmla="*/ 40323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667"/>
                    <a:pt x="58738" y="8573"/>
                    <a:pt x="60007" y="10477"/>
                  </a:cubicBezTo>
                  <a:lnTo>
                    <a:pt x="8572" y="40323"/>
                  </a:lnTo>
                  <a:cubicBezTo>
                    <a:pt x="7303" y="37783"/>
                    <a:pt x="6032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3" name="任意多边形: 形状 1272"/>
            <p:cNvSpPr/>
            <p:nvPr/>
          </p:nvSpPr>
          <p:spPr>
            <a:xfrm>
              <a:off x="11428413" y="2499042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61913 w 63500"/>
                <a:gd name="connsiteY2" fmla="*/ 13653 h 44450"/>
                <a:gd name="connsiteX3" fmla="*/ 10478 w 63500"/>
                <a:gd name="connsiteY3" fmla="*/ 43498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8103" y="7938"/>
                    <a:pt x="60007" y="10478"/>
                    <a:pt x="61913" y="13653"/>
                  </a:cubicBezTo>
                  <a:lnTo>
                    <a:pt x="10478" y="43498"/>
                  </a:lnTo>
                  <a:cubicBezTo>
                    <a:pt x="8572" y="40958"/>
                    <a:pt x="6668" y="3778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4" name="任意多边形: 形状 1273"/>
            <p:cNvSpPr/>
            <p:nvPr/>
          </p:nvSpPr>
          <p:spPr>
            <a:xfrm>
              <a:off x="11434128" y="250793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59372 w 63500"/>
                <a:gd name="connsiteY2" fmla="*/ 11113 h 44450"/>
                <a:gd name="connsiteX3" fmla="*/ 7938 w 63500"/>
                <a:gd name="connsiteY3" fmla="*/ 4095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7"/>
                    <a:pt x="58738" y="8572"/>
                    <a:pt x="59372" y="11113"/>
                  </a:cubicBezTo>
                  <a:lnTo>
                    <a:pt x="7938" y="40957"/>
                  </a:lnTo>
                  <a:cubicBezTo>
                    <a:pt x="7303" y="39052"/>
                    <a:pt x="6032" y="3714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5" name="任意多边形: 形状 1274"/>
            <p:cNvSpPr/>
            <p:nvPr/>
          </p:nvSpPr>
          <p:spPr>
            <a:xfrm>
              <a:off x="11437303" y="25142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8572 h 38100"/>
                <a:gd name="connsiteX3" fmla="*/ 6667 w 57150"/>
                <a:gd name="connsiteY3" fmla="*/ 3841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7" y="7302"/>
                    <a:pt x="58103" y="8572"/>
                  </a:cubicBezTo>
                  <a:lnTo>
                    <a:pt x="6667" y="38417"/>
                  </a:lnTo>
                  <a:cubicBezTo>
                    <a:pt x="6667" y="37147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6" name="任意多边形: 形状 1275"/>
            <p:cNvSpPr/>
            <p:nvPr/>
          </p:nvSpPr>
          <p:spPr>
            <a:xfrm>
              <a:off x="11439843" y="251809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8573 h 38100"/>
                <a:gd name="connsiteX3" fmla="*/ 6667 w 57150"/>
                <a:gd name="connsiteY3" fmla="*/ 3841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7467" y="7303"/>
                    <a:pt x="58102" y="8573"/>
                  </a:cubicBezTo>
                  <a:lnTo>
                    <a:pt x="6667" y="38418"/>
                  </a:lnTo>
                  <a:cubicBezTo>
                    <a:pt x="6032" y="37148"/>
                    <a:pt x="5397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7" name="任意多边形: 形状 1276"/>
            <p:cNvSpPr/>
            <p:nvPr/>
          </p:nvSpPr>
          <p:spPr>
            <a:xfrm>
              <a:off x="11441113" y="252190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7468" y="6668"/>
                    <a:pt x="57468" y="7938"/>
                  </a:cubicBezTo>
                  <a:lnTo>
                    <a:pt x="6032" y="37783"/>
                  </a:lnTo>
                  <a:cubicBezTo>
                    <a:pt x="6032" y="36513"/>
                    <a:pt x="5397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8" name="任意多边形: 形状 1277"/>
            <p:cNvSpPr/>
            <p:nvPr/>
          </p:nvSpPr>
          <p:spPr>
            <a:xfrm>
              <a:off x="11443018" y="25250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7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6668"/>
                    <a:pt x="57467" y="7938"/>
                  </a:cubicBezTo>
                  <a:lnTo>
                    <a:pt x="6032" y="37783"/>
                  </a:lnTo>
                  <a:cubicBezTo>
                    <a:pt x="5397" y="36513"/>
                    <a:pt x="476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9" name="任意多边形: 形状 1278"/>
            <p:cNvSpPr/>
            <p:nvPr/>
          </p:nvSpPr>
          <p:spPr>
            <a:xfrm>
              <a:off x="11444288" y="25282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6668"/>
                    <a:pt x="57468" y="7938"/>
                  </a:cubicBezTo>
                  <a:lnTo>
                    <a:pt x="6032" y="37783"/>
                  </a:lnTo>
                  <a:cubicBezTo>
                    <a:pt x="5397" y="36513"/>
                    <a:pt x="5397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0" name="任意多边形: 形状 1279"/>
            <p:cNvSpPr/>
            <p:nvPr/>
          </p:nvSpPr>
          <p:spPr>
            <a:xfrm>
              <a:off x="11445557" y="253142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033"/>
                    <a:pt x="56833" y="6668"/>
                    <a:pt x="57468" y="7938"/>
                  </a:cubicBezTo>
                  <a:lnTo>
                    <a:pt x="6033" y="37783"/>
                  </a:lnTo>
                  <a:cubicBezTo>
                    <a:pt x="5398" y="37148"/>
                    <a:pt x="5398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1" name="任意多边形: 形状 1280"/>
            <p:cNvSpPr/>
            <p:nvPr/>
          </p:nvSpPr>
          <p:spPr>
            <a:xfrm>
              <a:off x="11446828" y="253460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7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7302"/>
                    <a:pt x="57467" y="7938"/>
                  </a:cubicBezTo>
                  <a:lnTo>
                    <a:pt x="6032" y="37783"/>
                  </a:lnTo>
                  <a:cubicBezTo>
                    <a:pt x="5397" y="37148"/>
                    <a:pt x="476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2" name="任意多边形: 形状 1281"/>
            <p:cNvSpPr/>
            <p:nvPr/>
          </p:nvSpPr>
          <p:spPr>
            <a:xfrm>
              <a:off x="11448097" y="253841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6033"/>
                    <a:pt x="56833" y="7302"/>
                    <a:pt x="57468" y="7938"/>
                  </a:cubicBezTo>
                  <a:lnTo>
                    <a:pt x="6033" y="37783"/>
                  </a:lnTo>
                  <a:cubicBezTo>
                    <a:pt x="5397" y="36513"/>
                    <a:pt x="4763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3" name="任意多边形: 形状 1282"/>
            <p:cNvSpPr/>
            <p:nvPr/>
          </p:nvSpPr>
          <p:spPr>
            <a:xfrm>
              <a:off x="11448732" y="25415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033"/>
                    <a:pt x="56833" y="7302"/>
                    <a:pt x="57468" y="7938"/>
                  </a:cubicBezTo>
                  <a:lnTo>
                    <a:pt x="6033" y="37783"/>
                  </a:lnTo>
                  <a:cubicBezTo>
                    <a:pt x="5398" y="37148"/>
                    <a:pt x="5398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4" name="任意多边形: 形状 1283"/>
            <p:cNvSpPr/>
            <p:nvPr/>
          </p:nvSpPr>
          <p:spPr>
            <a:xfrm>
              <a:off x="11450003" y="2544763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7302"/>
                    <a:pt x="56832" y="7938"/>
                  </a:cubicBezTo>
                  <a:lnTo>
                    <a:pt x="5397" y="37783"/>
                  </a:lnTo>
                  <a:cubicBezTo>
                    <a:pt x="5397" y="37148"/>
                    <a:pt x="476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5" name="任意多边形: 形状 1284"/>
            <p:cNvSpPr/>
            <p:nvPr/>
          </p:nvSpPr>
          <p:spPr>
            <a:xfrm>
              <a:off x="11450638" y="25485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7302"/>
                    <a:pt x="56832" y="7938"/>
                  </a:cubicBezTo>
                  <a:lnTo>
                    <a:pt x="5397" y="37782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6" name="任意多边形: 形状 1285"/>
            <p:cNvSpPr/>
            <p:nvPr/>
          </p:nvSpPr>
          <p:spPr>
            <a:xfrm>
              <a:off x="11451907" y="25517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6833 w 57150"/>
                <a:gd name="connsiteY2" fmla="*/ 7938 h 38100"/>
                <a:gd name="connsiteX3" fmla="*/ 5398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198" y="6032"/>
                    <a:pt x="56833" y="7302"/>
                    <a:pt x="56833" y="7938"/>
                  </a:cubicBezTo>
                  <a:lnTo>
                    <a:pt x="5398" y="37782"/>
                  </a:lnTo>
                  <a:cubicBezTo>
                    <a:pt x="4763" y="37148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7" name="任意多边形: 形状 1286"/>
            <p:cNvSpPr/>
            <p:nvPr/>
          </p:nvSpPr>
          <p:spPr>
            <a:xfrm>
              <a:off x="11452543" y="25555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6667"/>
                    <a:pt x="56832" y="7938"/>
                  </a:cubicBezTo>
                  <a:lnTo>
                    <a:pt x="5397" y="37782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8" name="任意多边形: 形状 1287"/>
            <p:cNvSpPr/>
            <p:nvPr/>
          </p:nvSpPr>
          <p:spPr>
            <a:xfrm>
              <a:off x="11453178" y="255873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6667"/>
                    <a:pt x="56832" y="7938"/>
                  </a:cubicBezTo>
                  <a:lnTo>
                    <a:pt x="5397" y="37782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9" name="任意多边形: 形状 1288"/>
            <p:cNvSpPr/>
            <p:nvPr/>
          </p:nvSpPr>
          <p:spPr>
            <a:xfrm>
              <a:off x="11453178" y="256190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832" y="7938"/>
                  </a:cubicBezTo>
                  <a:lnTo>
                    <a:pt x="5397" y="37782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0" name="任意多边形: 形状 1289"/>
            <p:cNvSpPr/>
            <p:nvPr/>
          </p:nvSpPr>
          <p:spPr>
            <a:xfrm>
              <a:off x="11453813" y="25650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1" name="任意多边形: 形状 1290"/>
            <p:cNvSpPr/>
            <p:nvPr/>
          </p:nvSpPr>
          <p:spPr>
            <a:xfrm>
              <a:off x="11453813" y="25682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2" name="任意多边形: 形状 1291"/>
            <p:cNvSpPr/>
            <p:nvPr/>
          </p:nvSpPr>
          <p:spPr>
            <a:xfrm>
              <a:off x="11454447" y="257143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56197 w 57150"/>
                <a:gd name="connsiteY3" fmla="*/ 7938 h 38100"/>
                <a:gd name="connsiteX4" fmla="*/ 4763 w 57150"/>
                <a:gd name="connsiteY4" fmla="*/ 37782 h 38100"/>
                <a:gd name="connsiteX5" fmla="*/ 4763 w 57150"/>
                <a:gd name="connsiteY5" fmla="*/ 37782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cubicBezTo>
                    <a:pt x="56197" y="7938"/>
                    <a:pt x="56197" y="7938"/>
                    <a:pt x="56197" y="7938"/>
                  </a:cubicBezTo>
                  <a:lnTo>
                    <a:pt x="4763" y="37782"/>
                  </a:lnTo>
                  <a:cubicBezTo>
                    <a:pt x="4763" y="37782"/>
                    <a:pt x="4763" y="37782"/>
                    <a:pt x="4763" y="37782"/>
                  </a:cubicBez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3" name="任意多边形: 形状 1292"/>
            <p:cNvSpPr/>
            <p:nvPr/>
          </p:nvSpPr>
          <p:spPr>
            <a:xfrm>
              <a:off x="11454447" y="257460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4" name="任意多边形: 形状 1293"/>
            <p:cNvSpPr/>
            <p:nvPr/>
          </p:nvSpPr>
          <p:spPr>
            <a:xfrm>
              <a:off x="11453813" y="25777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5" name="任意多边形: 形状 1294"/>
            <p:cNvSpPr/>
            <p:nvPr/>
          </p:nvSpPr>
          <p:spPr>
            <a:xfrm>
              <a:off x="11453178" y="2580323"/>
              <a:ext cx="57150" cy="38100"/>
            </a:xfrm>
            <a:custGeom>
              <a:avLst/>
              <a:gdLst>
                <a:gd name="connsiteX0" fmla="*/ 5397 w 57150"/>
                <a:gd name="connsiteY0" fmla="*/ 34607 h 38100"/>
                <a:gd name="connsiteX1" fmla="*/ 56832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5397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7" y="34607"/>
                  </a:moveTo>
                  <a:lnTo>
                    <a:pt x="56832" y="4763"/>
                  </a:lnTo>
                  <a:cubicBezTo>
                    <a:pt x="56832" y="6032"/>
                    <a:pt x="56832" y="6667"/>
                    <a:pt x="56197" y="7938"/>
                  </a:cubicBezTo>
                  <a:lnTo>
                    <a:pt x="4763" y="37782"/>
                  </a:lnTo>
                  <a:cubicBezTo>
                    <a:pt x="5397" y="37148"/>
                    <a:pt x="5397" y="35877"/>
                    <a:pt x="5397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6" name="任意多边形: 形状 1295"/>
            <p:cNvSpPr/>
            <p:nvPr/>
          </p:nvSpPr>
          <p:spPr>
            <a:xfrm>
              <a:off x="11453178" y="2583498"/>
              <a:ext cx="57150" cy="38100"/>
            </a:xfrm>
            <a:custGeom>
              <a:avLst/>
              <a:gdLst>
                <a:gd name="connsiteX0" fmla="*/ 5397 w 57150"/>
                <a:gd name="connsiteY0" fmla="*/ 34607 h 38100"/>
                <a:gd name="connsiteX1" fmla="*/ 56832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5397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7" y="34607"/>
                  </a:moveTo>
                  <a:lnTo>
                    <a:pt x="56832" y="4763"/>
                  </a:lnTo>
                  <a:cubicBezTo>
                    <a:pt x="56832" y="6032"/>
                    <a:pt x="56832" y="6667"/>
                    <a:pt x="56197" y="7938"/>
                  </a:cubicBezTo>
                  <a:lnTo>
                    <a:pt x="4763" y="37782"/>
                  </a:lnTo>
                  <a:cubicBezTo>
                    <a:pt x="4763" y="37148"/>
                    <a:pt x="4763" y="35877"/>
                    <a:pt x="5397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7" name="任意多边形: 形状 1296"/>
            <p:cNvSpPr/>
            <p:nvPr/>
          </p:nvSpPr>
          <p:spPr>
            <a:xfrm>
              <a:off x="11452543" y="2586673"/>
              <a:ext cx="57150" cy="38100"/>
            </a:xfrm>
            <a:custGeom>
              <a:avLst/>
              <a:gdLst>
                <a:gd name="connsiteX0" fmla="*/ 5397 w 57150"/>
                <a:gd name="connsiteY0" fmla="*/ 34607 h 38100"/>
                <a:gd name="connsiteX1" fmla="*/ 56832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5397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7" y="34607"/>
                  </a:moveTo>
                  <a:lnTo>
                    <a:pt x="56832" y="4763"/>
                  </a:lnTo>
                  <a:cubicBezTo>
                    <a:pt x="56832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7148"/>
                    <a:pt x="5397" y="35877"/>
                    <a:pt x="5397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8" name="任意多边形: 形状 1297"/>
            <p:cNvSpPr/>
            <p:nvPr/>
          </p:nvSpPr>
          <p:spPr>
            <a:xfrm>
              <a:off x="11451907" y="2589848"/>
              <a:ext cx="57150" cy="38100"/>
            </a:xfrm>
            <a:custGeom>
              <a:avLst/>
              <a:gdLst>
                <a:gd name="connsiteX0" fmla="*/ 5398 w 57150"/>
                <a:gd name="connsiteY0" fmla="*/ 34607 h 38100"/>
                <a:gd name="connsiteX1" fmla="*/ 56833 w 57150"/>
                <a:gd name="connsiteY1" fmla="*/ 4763 h 38100"/>
                <a:gd name="connsiteX2" fmla="*/ 56198 w 57150"/>
                <a:gd name="connsiteY2" fmla="*/ 7938 h 38100"/>
                <a:gd name="connsiteX3" fmla="*/ 4763 w 57150"/>
                <a:gd name="connsiteY3" fmla="*/ 37782 h 38100"/>
                <a:gd name="connsiteX4" fmla="*/ 5398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8" y="34607"/>
                  </a:moveTo>
                  <a:lnTo>
                    <a:pt x="56833" y="4763"/>
                  </a:lnTo>
                  <a:cubicBezTo>
                    <a:pt x="56833" y="6032"/>
                    <a:pt x="56198" y="7302"/>
                    <a:pt x="56198" y="7938"/>
                  </a:cubicBezTo>
                  <a:lnTo>
                    <a:pt x="4763" y="37782"/>
                  </a:lnTo>
                  <a:cubicBezTo>
                    <a:pt x="4763" y="37148"/>
                    <a:pt x="5398" y="35877"/>
                    <a:pt x="5398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9" name="任意多边形: 形状 1298"/>
            <p:cNvSpPr/>
            <p:nvPr/>
          </p:nvSpPr>
          <p:spPr>
            <a:xfrm>
              <a:off x="11450638" y="2593023"/>
              <a:ext cx="57150" cy="38100"/>
            </a:xfrm>
            <a:custGeom>
              <a:avLst/>
              <a:gdLst>
                <a:gd name="connsiteX0" fmla="*/ 6032 w 57150"/>
                <a:gd name="connsiteY0" fmla="*/ 34607 h 38100"/>
                <a:gd name="connsiteX1" fmla="*/ 57468 w 57150"/>
                <a:gd name="connsiteY1" fmla="*/ 4763 h 38100"/>
                <a:gd name="connsiteX2" fmla="*/ 56197 w 57150"/>
                <a:gd name="connsiteY2" fmla="*/ 8573 h 38100"/>
                <a:gd name="connsiteX3" fmla="*/ 4763 w 57150"/>
                <a:gd name="connsiteY3" fmla="*/ 38417 h 38100"/>
                <a:gd name="connsiteX4" fmla="*/ 6032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6032" y="34607"/>
                  </a:moveTo>
                  <a:lnTo>
                    <a:pt x="57468" y="4763"/>
                  </a:lnTo>
                  <a:cubicBezTo>
                    <a:pt x="56832" y="6032"/>
                    <a:pt x="56832" y="7302"/>
                    <a:pt x="56197" y="8573"/>
                  </a:cubicBezTo>
                  <a:lnTo>
                    <a:pt x="4763" y="38417"/>
                  </a:lnTo>
                  <a:cubicBezTo>
                    <a:pt x="4763" y="37148"/>
                    <a:pt x="5397" y="35877"/>
                    <a:pt x="6032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0" name="任意多边形: 形状 1299"/>
            <p:cNvSpPr/>
            <p:nvPr/>
          </p:nvSpPr>
          <p:spPr>
            <a:xfrm>
              <a:off x="11448732" y="2596833"/>
              <a:ext cx="57150" cy="38100"/>
            </a:xfrm>
            <a:custGeom>
              <a:avLst/>
              <a:gdLst>
                <a:gd name="connsiteX0" fmla="*/ 6668 w 57150"/>
                <a:gd name="connsiteY0" fmla="*/ 34607 h 38100"/>
                <a:gd name="connsiteX1" fmla="*/ 58103 w 57150"/>
                <a:gd name="connsiteY1" fmla="*/ 4763 h 38100"/>
                <a:gd name="connsiteX2" fmla="*/ 56198 w 57150"/>
                <a:gd name="connsiteY2" fmla="*/ 8572 h 38100"/>
                <a:gd name="connsiteX3" fmla="*/ 4763 w 57150"/>
                <a:gd name="connsiteY3" fmla="*/ 38417 h 38100"/>
                <a:gd name="connsiteX4" fmla="*/ 6668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6668" y="34607"/>
                  </a:moveTo>
                  <a:lnTo>
                    <a:pt x="58103" y="4763"/>
                  </a:lnTo>
                  <a:cubicBezTo>
                    <a:pt x="57468" y="6032"/>
                    <a:pt x="56833" y="7302"/>
                    <a:pt x="56198" y="8572"/>
                  </a:cubicBezTo>
                  <a:lnTo>
                    <a:pt x="4763" y="38417"/>
                  </a:lnTo>
                  <a:cubicBezTo>
                    <a:pt x="5398" y="37147"/>
                    <a:pt x="6033" y="35877"/>
                    <a:pt x="6668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1" name="任意多边形: 形状 1300"/>
            <p:cNvSpPr/>
            <p:nvPr/>
          </p:nvSpPr>
          <p:spPr>
            <a:xfrm>
              <a:off x="11446193" y="2600642"/>
              <a:ext cx="63500" cy="38100"/>
            </a:xfrm>
            <a:custGeom>
              <a:avLst/>
              <a:gdLst>
                <a:gd name="connsiteX0" fmla="*/ 7302 w 63500"/>
                <a:gd name="connsiteY0" fmla="*/ 34608 h 38100"/>
                <a:gd name="connsiteX1" fmla="*/ 58738 w 63500"/>
                <a:gd name="connsiteY1" fmla="*/ 4763 h 38100"/>
                <a:gd name="connsiteX2" fmla="*/ 56197 w 63500"/>
                <a:gd name="connsiteY2" fmla="*/ 9208 h 38100"/>
                <a:gd name="connsiteX3" fmla="*/ 4763 w 63500"/>
                <a:gd name="connsiteY3" fmla="*/ 39053 h 38100"/>
                <a:gd name="connsiteX4" fmla="*/ 7302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7302" y="34608"/>
                  </a:moveTo>
                  <a:lnTo>
                    <a:pt x="58738" y="4763"/>
                  </a:lnTo>
                  <a:cubicBezTo>
                    <a:pt x="58102" y="6033"/>
                    <a:pt x="57467" y="7938"/>
                    <a:pt x="56197" y="9208"/>
                  </a:cubicBezTo>
                  <a:lnTo>
                    <a:pt x="4763" y="39053"/>
                  </a:lnTo>
                  <a:cubicBezTo>
                    <a:pt x="6032" y="37783"/>
                    <a:pt x="6667" y="35878"/>
                    <a:pt x="7302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2" name="任意多边形: 形状 1301"/>
            <p:cNvSpPr/>
            <p:nvPr/>
          </p:nvSpPr>
          <p:spPr>
            <a:xfrm>
              <a:off x="11434763" y="2605088"/>
              <a:ext cx="69850" cy="50800"/>
            </a:xfrm>
            <a:custGeom>
              <a:avLst/>
              <a:gdLst>
                <a:gd name="connsiteX0" fmla="*/ 16193 w 69850"/>
                <a:gd name="connsiteY0" fmla="*/ 34608 h 50800"/>
                <a:gd name="connsiteX1" fmla="*/ 67628 w 69850"/>
                <a:gd name="connsiteY1" fmla="*/ 4763 h 50800"/>
                <a:gd name="connsiteX2" fmla="*/ 56197 w 69850"/>
                <a:gd name="connsiteY2" fmla="*/ 16192 h 50800"/>
                <a:gd name="connsiteX3" fmla="*/ 4763 w 69850"/>
                <a:gd name="connsiteY3" fmla="*/ 46038 h 50800"/>
                <a:gd name="connsiteX4" fmla="*/ 16193 w 69850"/>
                <a:gd name="connsiteY4" fmla="*/ 34608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850" h="50800">
                  <a:moveTo>
                    <a:pt x="16193" y="34608"/>
                  </a:moveTo>
                  <a:lnTo>
                    <a:pt x="67628" y="4763"/>
                  </a:lnTo>
                  <a:cubicBezTo>
                    <a:pt x="64453" y="9842"/>
                    <a:pt x="60643" y="13652"/>
                    <a:pt x="56197" y="16192"/>
                  </a:cubicBezTo>
                  <a:lnTo>
                    <a:pt x="4763" y="46038"/>
                  </a:lnTo>
                  <a:cubicBezTo>
                    <a:pt x="9207" y="43498"/>
                    <a:pt x="13018" y="39688"/>
                    <a:pt x="1619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3" name="任意多边形: 形状 1302"/>
            <p:cNvSpPr/>
            <p:nvPr/>
          </p:nvSpPr>
          <p:spPr>
            <a:xfrm>
              <a:off x="11304588" y="2348548"/>
              <a:ext cx="57150" cy="38100"/>
            </a:xfrm>
            <a:custGeom>
              <a:avLst/>
              <a:gdLst>
                <a:gd name="connsiteX0" fmla="*/ 4763 w 57150"/>
                <a:gd name="connsiteY0" fmla="*/ 35242 h 38100"/>
                <a:gd name="connsiteX1" fmla="*/ 56197 w 57150"/>
                <a:gd name="connsiteY1" fmla="*/ 5398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524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5242"/>
                  </a:moveTo>
                  <a:lnTo>
                    <a:pt x="56197" y="5398"/>
                  </a:lnTo>
                  <a:cubicBezTo>
                    <a:pt x="56832" y="5398"/>
                    <a:pt x="57468" y="5398"/>
                    <a:pt x="58103" y="4763"/>
                  </a:cubicBezTo>
                  <a:lnTo>
                    <a:pt x="6668" y="34607"/>
                  </a:lnTo>
                  <a:cubicBezTo>
                    <a:pt x="6032" y="35242"/>
                    <a:pt x="5397" y="35242"/>
                    <a:pt x="4763" y="3524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4" name="任意多边形: 形状 1303"/>
            <p:cNvSpPr/>
            <p:nvPr/>
          </p:nvSpPr>
          <p:spPr>
            <a:xfrm>
              <a:off x="11306493" y="2348548"/>
              <a:ext cx="63500" cy="38100"/>
            </a:xfrm>
            <a:custGeom>
              <a:avLst/>
              <a:gdLst>
                <a:gd name="connsiteX0" fmla="*/ 4763 w 63500"/>
                <a:gd name="connsiteY0" fmla="*/ 35242 h 38100"/>
                <a:gd name="connsiteX1" fmla="*/ 56197 w 63500"/>
                <a:gd name="connsiteY1" fmla="*/ 5398 h 38100"/>
                <a:gd name="connsiteX2" fmla="*/ 59372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524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2"/>
                  </a:moveTo>
                  <a:lnTo>
                    <a:pt x="56197" y="5398"/>
                  </a:lnTo>
                  <a:cubicBezTo>
                    <a:pt x="57467" y="5398"/>
                    <a:pt x="58738" y="4763"/>
                    <a:pt x="59372" y="4763"/>
                  </a:cubicBezTo>
                  <a:lnTo>
                    <a:pt x="7938" y="34607"/>
                  </a:lnTo>
                  <a:cubicBezTo>
                    <a:pt x="7302" y="34607"/>
                    <a:pt x="6032" y="35242"/>
                    <a:pt x="4763" y="3524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5" name="任意多边形: 形状 1304"/>
            <p:cNvSpPr/>
            <p:nvPr/>
          </p:nvSpPr>
          <p:spPr>
            <a:xfrm>
              <a:off x="11309668" y="23485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9372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4763"/>
                    <a:pt x="58102" y="4763"/>
                    <a:pt x="59372" y="4763"/>
                  </a:cubicBezTo>
                  <a:lnTo>
                    <a:pt x="7938" y="34607"/>
                  </a:lnTo>
                  <a:cubicBezTo>
                    <a:pt x="7302" y="34607"/>
                    <a:pt x="6032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6" name="任意多边形: 形状 1305"/>
            <p:cNvSpPr/>
            <p:nvPr/>
          </p:nvSpPr>
          <p:spPr>
            <a:xfrm>
              <a:off x="11312843" y="23485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9372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8102" y="4763"/>
                    <a:pt x="59372" y="4763"/>
                  </a:cubicBezTo>
                  <a:lnTo>
                    <a:pt x="7938" y="34607"/>
                  </a:lnTo>
                  <a:cubicBezTo>
                    <a:pt x="6667" y="34607"/>
                    <a:pt x="6032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7" name="任意多边形: 形状 1306"/>
            <p:cNvSpPr/>
            <p:nvPr/>
          </p:nvSpPr>
          <p:spPr>
            <a:xfrm>
              <a:off x="11316018" y="23485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4763 h 38100"/>
                <a:gd name="connsiteX3" fmla="*/ 7302 w 63500"/>
                <a:gd name="connsiteY3" fmla="*/ 3460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8102" y="4763"/>
                    <a:pt x="58738" y="4763"/>
                  </a:cubicBezTo>
                  <a:lnTo>
                    <a:pt x="7302" y="34607"/>
                  </a:lnTo>
                  <a:cubicBezTo>
                    <a:pt x="6667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8" name="任意多边形: 形状 1307"/>
            <p:cNvSpPr/>
            <p:nvPr/>
          </p:nvSpPr>
          <p:spPr>
            <a:xfrm>
              <a:off x="11318557" y="234918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5397 h 38100"/>
                <a:gd name="connsiteX3" fmla="*/ 7303 w 63500"/>
                <a:gd name="connsiteY3" fmla="*/ 3524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8103" y="4763"/>
                    <a:pt x="58738" y="5397"/>
                  </a:cubicBezTo>
                  <a:lnTo>
                    <a:pt x="7303" y="35242"/>
                  </a:lnTo>
                  <a:cubicBezTo>
                    <a:pt x="6668" y="34607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9" name="任意多边形: 形状 1308"/>
            <p:cNvSpPr/>
            <p:nvPr/>
          </p:nvSpPr>
          <p:spPr>
            <a:xfrm>
              <a:off x="11321097" y="234918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5397 h 38100"/>
                <a:gd name="connsiteX3" fmla="*/ 7303 w 63500"/>
                <a:gd name="connsiteY3" fmla="*/ 3524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8103" y="5397"/>
                    <a:pt x="58738" y="5397"/>
                  </a:cubicBezTo>
                  <a:lnTo>
                    <a:pt x="7303" y="35242"/>
                  </a:lnTo>
                  <a:cubicBezTo>
                    <a:pt x="6668" y="35242"/>
                    <a:pt x="6033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0" name="任意多边形: 形状 1309"/>
            <p:cNvSpPr/>
            <p:nvPr/>
          </p:nvSpPr>
          <p:spPr>
            <a:xfrm>
              <a:off x="11323638" y="23498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5398 h 38100"/>
                <a:gd name="connsiteX3" fmla="*/ 7303 w 63500"/>
                <a:gd name="connsiteY3" fmla="*/ 3524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8103" y="5398"/>
                    <a:pt x="58738" y="5398"/>
                  </a:cubicBezTo>
                  <a:lnTo>
                    <a:pt x="7303" y="35243"/>
                  </a:lnTo>
                  <a:cubicBezTo>
                    <a:pt x="6668" y="35243"/>
                    <a:pt x="6032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1" name="任意多边形: 形状 1310"/>
            <p:cNvSpPr/>
            <p:nvPr/>
          </p:nvSpPr>
          <p:spPr>
            <a:xfrm>
              <a:off x="11326178" y="235045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5398 h 38100"/>
                <a:gd name="connsiteX3" fmla="*/ 7303 w 63500"/>
                <a:gd name="connsiteY3" fmla="*/ 3524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8103" y="5398"/>
                    <a:pt x="58738" y="5398"/>
                  </a:cubicBezTo>
                  <a:lnTo>
                    <a:pt x="7303" y="35243"/>
                  </a:lnTo>
                  <a:cubicBezTo>
                    <a:pt x="6667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2" name="任意多边形: 形状 1311"/>
            <p:cNvSpPr/>
            <p:nvPr/>
          </p:nvSpPr>
          <p:spPr>
            <a:xfrm>
              <a:off x="11328718" y="2351088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5398 h 38100"/>
                <a:gd name="connsiteX3" fmla="*/ 7302 w 63500"/>
                <a:gd name="connsiteY3" fmla="*/ 35242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8102" y="5398"/>
                    <a:pt x="58738" y="5398"/>
                  </a:cubicBezTo>
                  <a:lnTo>
                    <a:pt x="7302" y="35242"/>
                  </a:lnTo>
                  <a:cubicBezTo>
                    <a:pt x="6667" y="35242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3" name="任意多边形: 形状 1312"/>
            <p:cNvSpPr/>
            <p:nvPr/>
          </p:nvSpPr>
          <p:spPr>
            <a:xfrm>
              <a:off x="11331257" y="235235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6032 h 38100"/>
                <a:gd name="connsiteX3" fmla="*/ 7303 w 63500"/>
                <a:gd name="connsiteY3" fmla="*/ 3587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8103" y="5397"/>
                    <a:pt x="58738" y="6032"/>
                  </a:cubicBezTo>
                  <a:lnTo>
                    <a:pt x="7303" y="35877"/>
                  </a:lnTo>
                  <a:cubicBezTo>
                    <a:pt x="6033" y="35242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4" name="任意多边形: 形状 1313"/>
            <p:cNvSpPr/>
            <p:nvPr/>
          </p:nvSpPr>
          <p:spPr>
            <a:xfrm>
              <a:off x="11333797" y="23536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6033 h 38100"/>
                <a:gd name="connsiteX3" fmla="*/ 7303 w 63500"/>
                <a:gd name="connsiteY3" fmla="*/ 35877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5398"/>
                    <a:pt x="58103" y="5398"/>
                    <a:pt x="58738" y="6033"/>
                  </a:cubicBezTo>
                  <a:lnTo>
                    <a:pt x="7303" y="35877"/>
                  </a:lnTo>
                  <a:cubicBezTo>
                    <a:pt x="6033" y="35243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5" name="任意多边形: 形状 1314"/>
            <p:cNvSpPr/>
            <p:nvPr/>
          </p:nvSpPr>
          <p:spPr>
            <a:xfrm>
              <a:off x="11336338" y="235426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6033 h 38100"/>
                <a:gd name="connsiteX3" fmla="*/ 7303 w 63500"/>
                <a:gd name="connsiteY3" fmla="*/ 35877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3" y="5398"/>
                    <a:pt x="58738" y="6033"/>
                  </a:cubicBezTo>
                  <a:lnTo>
                    <a:pt x="7303" y="35877"/>
                  </a:lnTo>
                  <a:cubicBezTo>
                    <a:pt x="6032" y="35877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6" name="任意多边形: 形状 1315"/>
            <p:cNvSpPr/>
            <p:nvPr/>
          </p:nvSpPr>
          <p:spPr>
            <a:xfrm>
              <a:off x="11338878" y="235553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103 w 63500"/>
                <a:gd name="connsiteY2" fmla="*/ 6032 h 38100"/>
                <a:gd name="connsiteX3" fmla="*/ 58738 w 63500"/>
                <a:gd name="connsiteY3" fmla="*/ 6667 h 38100"/>
                <a:gd name="connsiteX4" fmla="*/ 7303 w 63500"/>
                <a:gd name="connsiteY4" fmla="*/ 36513 h 38100"/>
                <a:gd name="connsiteX5" fmla="*/ 6667 w 63500"/>
                <a:gd name="connsiteY5" fmla="*/ 35877 h 38100"/>
                <a:gd name="connsiteX6" fmla="*/ 4763 w 6350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7" y="5397"/>
                    <a:pt x="58103" y="6032"/>
                  </a:cubicBezTo>
                  <a:cubicBezTo>
                    <a:pt x="58103" y="6032"/>
                    <a:pt x="58738" y="6032"/>
                    <a:pt x="58738" y="6667"/>
                  </a:cubicBezTo>
                  <a:lnTo>
                    <a:pt x="7303" y="36513"/>
                  </a:lnTo>
                  <a:cubicBezTo>
                    <a:pt x="7303" y="36513"/>
                    <a:pt x="6667" y="36513"/>
                    <a:pt x="6667" y="35877"/>
                  </a:cubicBezTo>
                  <a:cubicBezTo>
                    <a:pt x="6032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7" name="任意多边形: 形状 1316"/>
            <p:cNvSpPr/>
            <p:nvPr/>
          </p:nvSpPr>
          <p:spPr>
            <a:xfrm>
              <a:off x="11341418" y="2357438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6667 h 38100"/>
                <a:gd name="connsiteX3" fmla="*/ 7302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2" y="6033"/>
                    <a:pt x="58738" y="6667"/>
                  </a:cubicBezTo>
                  <a:lnTo>
                    <a:pt x="7302" y="36513"/>
                  </a:lnTo>
                  <a:cubicBezTo>
                    <a:pt x="6032" y="35242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8" name="任意多边形: 形状 1317"/>
            <p:cNvSpPr/>
            <p:nvPr/>
          </p:nvSpPr>
          <p:spPr>
            <a:xfrm>
              <a:off x="11343957" y="235870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6667 h 38100"/>
                <a:gd name="connsiteX3" fmla="*/ 7303 w 63500"/>
                <a:gd name="connsiteY3" fmla="*/ 3651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8103" y="6032"/>
                    <a:pt x="58738" y="6667"/>
                  </a:cubicBezTo>
                  <a:lnTo>
                    <a:pt x="7303" y="36513"/>
                  </a:lnTo>
                  <a:cubicBezTo>
                    <a:pt x="6668" y="35877"/>
                    <a:pt x="5398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9" name="任意多边形: 形状 1318"/>
            <p:cNvSpPr/>
            <p:nvPr/>
          </p:nvSpPr>
          <p:spPr>
            <a:xfrm>
              <a:off x="11346497" y="236061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6667 h 38100"/>
                <a:gd name="connsiteX3" fmla="*/ 7303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5398"/>
                    <a:pt x="58103" y="6033"/>
                    <a:pt x="58738" y="6667"/>
                  </a:cubicBezTo>
                  <a:lnTo>
                    <a:pt x="7303" y="36513"/>
                  </a:lnTo>
                  <a:cubicBezTo>
                    <a:pt x="6668" y="35877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0" name="任意多边形: 形状 1319"/>
            <p:cNvSpPr/>
            <p:nvPr/>
          </p:nvSpPr>
          <p:spPr>
            <a:xfrm>
              <a:off x="11349038" y="236251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6668 h 38100"/>
                <a:gd name="connsiteX3" fmla="*/ 7303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3" y="6033"/>
                    <a:pt x="58738" y="6668"/>
                  </a:cubicBezTo>
                  <a:lnTo>
                    <a:pt x="7303" y="36513"/>
                  </a:lnTo>
                  <a:cubicBezTo>
                    <a:pt x="6668" y="35878"/>
                    <a:pt x="6032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1" name="任意多边形: 形状 1320"/>
            <p:cNvSpPr/>
            <p:nvPr/>
          </p:nvSpPr>
          <p:spPr>
            <a:xfrm>
              <a:off x="11351578" y="236442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8103" y="6032"/>
                    <a:pt x="58738" y="7302"/>
                  </a:cubicBezTo>
                  <a:lnTo>
                    <a:pt x="7303" y="37148"/>
                  </a:lnTo>
                  <a:cubicBezTo>
                    <a:pt x="6667" y="36513"/>
                    <a:pt x="6032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2" name="任意多边形: 形状 1321"/>
            <p:cNvSpPr/>
            <p:nvPr/>
          </p:nvSpPr>
          <p:spPr>
            <a:xfrm>
              <a:off x="11354753" y="236696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3" y="6033"/>
                    <a:pt x="58738" y="7302"/>
                  </a:cubicBezTo>
                  <a:lnTo>
                    <a:pt x="7303" y="37148"/>
                  </a:lnTo>
                  <a:cubicBezTo>
                    <a:pt x="6667" y="35877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3" name="任意多边形: 形状 1322"/>
            <p:cNvSpPr/>
            <p:nvPr/>
          </p:nvSpPr>
          <p:spPr>
            <a:xfrm>
              <a:off x="11357293" y="236950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2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2" y="6668"/>
                    <a:pt x="58738" y="7302"/>
                  </a:cubicBezTo>
                  <a:lnTo>
                    <a:pt x="7302" y="37148"/>
                  </a:lnTo>
                  <a:cubicBezTo>
                    <a:pt x="6667" y="35877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4" name="任意多边形: 形状 1323"/>
            <p:cNvSpPr/>
            <p:nvPr/>
          </p:nvSpPr>
          <p:spPr>
            <a:xfrm>
              <a:off x="11359832" y="237140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8103" y="6667"/>
                    <a:pt x="58738" y="7302"/>
                  </a:cubicBezTo>
                  <a:lnTo>
                    <a:pt x="7303" y="37147"/>
                  </a:lnTo>
                  <a:cubicBezTo>
                    <a:pt x="6668" y="36513"/>
                    <a:pt x="603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5" name="任意多边形: 形状 1324"/>
            <p:cNvSpPr/>
            <p:nvPr/>
          </p:nvSpPr>
          <p:spPr>
            <a:xfrm>
              <a:off x="11362372" y="23739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8"/>
                    <a:pt x="58103" y="6667"/>
                    <a:pt x="58738" y="7302"/>
                  </a:cubicBezTo>
                  <a:lnTo>
                    <a:pt x="7303" y="37148"/>
                  </a:lnTo>
                  <a:cubicBezTo>
                    <a:pt x="6668" y="36513"/>
                    <a:pt x="603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6" name="任意多边形: 形状 1325"/>
            <p:cNvSpPr/>
            <p:nvPr/>
          </p:nvSpPr>
          <p:spPr>
            <a:xfrm>
              <a:off x="11364913" y="237712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8103" y="6667"/>
                    <a:pt x="58738" y="7302"/>
                  </a:cubicBezTo>
                  <a:lnTo>
                    <a:pt x="7303" y="37148"/>
                  </a:lnTo>
                  <a:cubicBezTo>
                    <a:pt x="6668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7" name="任意多边形: 形状 1326"/>
            <p:cNvSpPr/>
            <p:nvPr/>
          </p:nvSpPr>
          <p:spPr>
            <a:xfrm>
              <a:off x="11367453" y="2379663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667"/>
                    <a:pt x="58738" y="7302"/>
                  </a:cubicBezTo>
                  <a:lnTo>
                    <a:pt x="7303" y="37148"/>
                  </a:lnTo>
                  <a:cubicBezTo>
                    <a:pt x="6032" y="36513"/>
                    <a:pt x="5397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8" name="任意多边形: 形状 1327"/>
            <p:cNvSpPr/>
            <p:nvPr/>
          </p:nvSpPr>
          <p:spPr>
            <a:xfrm>
              <a:off x="11369993" y="238220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2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668"/>
                    <a:pt x="58738" y="7302"/>
                  </a:cubicBezTo>
                  <a:lnTo>
                    <a:pt x="7302" y="37148"/>
                  </a:lnTo>
                  <a:cubicBezTo>
                    <a:pt x="6032" y="3651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9" name="任意多边形: 形状 1328"/>
            <p:cNvSpPr/>
            <p:nvPr/>
          </p:nvSpPr>
          <p:spPr>
            <a:xfrm>
              <a:off x="11371897" y="238474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6033"/>
                    <a:pt x="58103" y="7303"/>
                    <a:pt x="58738" y="7938"/>
                  </a:cubicBezTo>
                  <a:lnTo>
                    <a:pt x="7303" y="37783"/>
                  </a:lnTo>
                  <a:cubicBezTo>
                    <a:pt x="6668" y="37148"/>
                    <a:pt x="603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0" name="任意多边形: 形状 1329"/>
            <p:cNvSpPr/>
            <p:nvPr/>
          </p:nvSpPr>
          <p:spPr>
            <a:xfrm>
              <a:off x="11374438" y="2388552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60007 w 63500"/>
                <a:gd name="connsiteY2" fmla="*/ 9843 h 44450"/>
                <a:gd name="connsiteX3" fmla="*/ 8572 w 63500"/>
                <a:gd name="connsiteY3" fmla="*/ 39688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6668"/>
                    <a:pt x="58738" y="7938"/>
                    <a:pt x="60007" y="9843"/>
                  </a:cubicBezTo>
                  <a:lnTo>
                    <a:pt x="8572" y="39688"/>
                  </a:lnTo>
                  <a:cubicBezTo>
                    <a:pt x="7303" y="37783"/>
                    <a:pt x="6032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1" name="任意多边形: 形状 1330"/>
            <p:cNvSpPr/>
            <p:nvPr/>
          </p:nvSpPr>
          <p:spPr>
            <a:xfrm>
              <a:off x="11378247" y="239363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0643 w 63500"/>
                <a:gd name="connsiteY2" fmla="*/ 12382 h 44450"/>
                <a:gd name="connsiteX3" fmla="*/ 9208 w 63500"/>
                <a:gd name="connsiteY3" fmla="*/ 4222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8103" y="7302"/>
                    <a:pt x="59372" y="9842"/>
                    <a:pt x="60643" y="12382"/>
                  </a:cubicBezTo>
                  <a:lnTo>
                    <a:pt x="9208" y="42227"/>
                  </a:lnTo>
                  <a:cubicBezTo>
                    <a:pt x="7938" y="39688"/>
                    <a:pt x="6668" y="3714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2" name="任意多边形: 形状 1331"/>
            <p:cNvSpPr/>
            <p:nvPr/>
          </p:nvSpPr>
          <p:spPr>
            <a:xfrm>
              <a:off x="11383328" y="2401252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58738 w 63500"/>
                <a:gd name="connsiteY2" fmla="*/ 9843 h 44450"/>
                <a:gd name="connsiteX3" fmla="*/ 7303 w 63500"/>
                <a:gd name="connsiteY3" fmla="*/ 39688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668"/>
                    <a:pt x="58103" y="7938"/>
                    <a:pt x="58738" y="9843"/>
                  </a:cubicBezTo>
                  <a:lnTo>
                    <a:pt x="7303" y="39688"/>
                  </a:lnTo>
                  <a:cubicBezTo>
                    <a:pt x="6667" y="37783"/>
                    <a:pt x="5397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3" name="任意多边形: 形状 1332"/>
            <p:cNvSpPr/>
            <p:nvPr/>
          </p:nvSpPr>
          <p:spPr>
            <a:xfrm>
              <a:off x="11385868" y="240633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7938 h 38100"/>
                <a:gd name="connsiteX3" fmla="*/ 666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7" y="6667"/>
                    <a:pt x="58102" y="7938"/>
                  </a:cubicBezTo>
                  <a:lnTo>
                    <a:pt x="6667" y="37782"/>
                  </a:lnTo>
                  <a:cubicBezTo>
                    <a:pt x="6032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4" name="任意多边形: 形状 1333"/>
            <p:cNvSpPr/>
            <p:nvPr/>
          </p:nvSpPr>
          <p:spPr>
            <a:xfrm>
              <a:off x="11387772" y="240950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032"/>
                    <a:pt x="57468" y="6667"/>
                    <a:pt x="57468" y="7938"/>
                  </a:cubicBezTo>
                  <a:lnTo>
                    <a:pt x="6033" y="37782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5" name="任意多边形: 形状 1334"/>
            <p:cNvSpPr/>
            <p:nvPr/>
          </p:nvSpPr>
          <p:spPr>
            <a:xfrm>
              <a:off x="11389043" y="241268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7302 h 38100"/>
                <a:gd name="connsiteX3" fmla="*/ 6032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6832" y="6667"/>
                    <a:pt x="57467" y="7302"/>
                  </a:cubicBezTo>
                  <a:lnTo>
                    <a:pt x="6032" y="37147"/>
                  </a:lnTo>
                  <a:cubicBezTo>
                    <a:pt x="5397" y="36513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6" name="任意多边形: 形状 1335"/>
            <p:cNvSpPr/>
            <p:nvPr/>
          </p:nvSpPr>
          <p:spPr>
            <a:xfrm>
              <a:off x="11390313" y="24152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7302 h 38100"/>
                <a:gd name="connsiteX3" fmla="*/ 6032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6832" y="6667"/>
                    <a:pt x="57468" y="7302"/>
                  </a:cubicBezTo>
                  <a:lnTo>
                    <a:pt x="6032" y="37148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7" name="任意多边形: 形状 1336"/>
            <p:cNvSpPr/>
            <p:nvPr/>
          </p:nvSpPr>
          <p:spPr>
            <a:xfrm>
              <a:off x="11391582" y="24183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7468 w 57150"/>
                <a:gd name="connsiteY2" fmla="*/ 7302 h 38100"/>
                <a:gd name="connsiteX3" fmla="*/ 6033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8"/>
                    <a:pt x="56833" y="6667"/>
                    <a:pt x="57468" y="7302"/>
                  </a:cubicBezTo>
                  <a:lnTo>
                    <a:pt x="6033" y="37148"/>
                  </a:lnTo>
                  <a:cubicBezTo>
                    <a:pt x="5398" y="36513"/>
                    <a:pt x="5398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8" name="任意多边形: 形状 1337"/>
            <p:cNvSpPr/>
            <p:nvPr/>
          </p:nvSpPr>
          <p:spPr>
            <a:xfrm>
              <a:off x="11392853" y="242093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7 w 57150"/>
                <a:gd name="connsiteY2" fmla="*/ 7302 h 38100"/>
                <a:gd name="connsiteX3" fmla="*/ 6032 w 57150"/>
                <a:gd name="connsiteY3" fmla="*/ 3714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6832" y="6667"/>
                    <a:pt x="57467" y="7302"/>
                  </a:cubicBezTo>
                  <a:lnTo>
                    <a:pt x="6032" y="37148"/>
                  </a:lnTo>
                  <a:cubicBezTo>
                    <a:pt x="5397" y="36513"/>
                    <a:pt x="476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9" name="任意多边形: 形状 1338"/>
            <p:cNvSpPr/>
            <p:nvPr/>
          </p:nvSpPr>
          <p:spPr>
            <a:xfrm>
              <a:off x="11393488" y="24234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6668"/>
                    <a:pt x="57468" y="7938"/>
                  </a:cubicBezTo>
                  <a:lnTo>
                    <a:pt x="6032" y="37783"/>
                  </a:lnTo>
                  <a:cubicBezTo>
                    <a:pt x="5397" y="37148"/>
                    <a:pt x="5397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0" name="任意多边形: 形状 1339"/>
            <p:cNvSpPr/>
            <p:nvPr/>
          </p:nvSpPr>
          <p:spPr>
            <a:xfrm>
              <a:off x="11394757" y="24266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6833 w 57150"/>
                <a:gd name="connsiteY2" fmla="*/ 7938 h 38100"/>
                <a:gd name="connsiteX3" fmla="*/ 5398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033"/>
                    <a:pt x="56833" y="6668"/>
                    <a:pt x="56833" y="7938"/>
                  </a:cubicBezTo>
                  <a:lnTo>
                    <a:pt x="5398" y="37783"/>
                  </a:lnTo>
                  <a:cubicBezTo>
                    <a:pt x="5398" y="36513"/>
                    <a:pt x="4763" y="35877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1" name="任意多边形: 形状 1340"/>
            <p:cNvSpPr/>
            <p:nvPr/>
          </p:nvSpPr>
          <p:spPr>
            <a:xfrm>
              <a:off x="11395393" y="242982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6033"/>
                    <a:pt x="56832" y="6668"/>
                    <a:pt x="56832" y="7938"/>
                  </a:cubicBezTo>
                  <a:lnTo>
                    <a:pt x="5397" y="37783"/>
                  </a:lnTo>
                  <a:cubicBezTo>
                    <a:pt x="5397" y="3651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2" name="任意多边形: 形状 1341"/>
            <p:cNvSpPr/>
            <p:nvPr/>
          </p:nvSpPr>
          <p:spPr>
            <a:xfrm>
              <a:off x="11396663" y="243236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6033"/>
                    <a:pt x="56832" y="6668"/>
                    <a:pt x="56832" y="7938"/>
                  </a:cubicBezTo>
                  <a:lnTo>
                    <a:pt x="5397" y="37783"/>
                  </a:lnTo>
                  <a:cubicBezTo>
                    <a:pt x="5397" y="37148"/>
                    <a:pt x="476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3" name="任意多边形: 形状 1342"/>
            <p:cNvSpPr/>
            <p:nvPr/>
          </p:nvSpPr>
          <p:spPr>
            <a:xfrm>
              <a:off x="11397297" y="243554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833 w 57150"/>
                <a:gd name="connsiteY2" fmla="*/ 7938 h 38100"/>
                <a:gd name="connsiteX3" fmla="*/ 5397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6033"/>
                    <a:pt x="56833" y="6668"/>
                    <a:pt x="56833" y="7938"/>
                  </a:cubicBezTo>
                  <a:lnTo>
                    <a:pt x="5397" y="37783"/>
                  </a:lnTo>
                  <a:cubicBezTo>
                    <a:pt x="5397" y="36513"/>
                    <a:pt x="476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4" name="任意多边形: 形状 1343"/>
            <p:cNvSpPr/>
            <p:nvPr/>
          </p:nvSpPr>
          <p:spPr>
            <a:xfrm>
              <a:off x="11397932" y="243871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6833 w 57150"/>
                <a:gd name="connsiteY2" fmla="*/ 7938 h 38100"/>
                <a:gd name="connsiteX3" fmla="*/ 5398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198" y="6033"/>
                    <a:pt x="56833" y="6668"/>
                    <a:pt x="56833" y="7938"/>
                  </a:cubicBezTo>
                  <a:lnTo>
                    <a:pt x="5398" y="37783"/>
                  </a:lnTo>
                  <a:cubicBezTo>
                    <a:pt x="5398" y="36513"/>
                    <a:pt x="476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5" name="任意多边形: 形状 1344"/>
            <p:cNvSpPr/>
            <p:nvPr/>
          </p:nvSpPr>
          <p:spPr>
            <a:xfrm>
              <a:off x="11398568" y="244125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302 h 38100"/>
                <a:gd name="connsiteX3" fmla="*/ 5397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7"/>
                    <a:pt x="56832" y="6667"/>
                    <a:pt x="56832" y="7302"/>
                  </a:cubicBezTo>
                  <a:lnTo>
                    <a:pt x="5397" y="37147"/>
                  </a:lnTo>
                  <a:cubicBezTo>
                    <a:pt x="5397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6" name="任意多边形: 形状 1345"/>
            <p:cNvSpPr/>
            <p:nvPr/>
          </p:nvSpPr>
          <p:spPr>
            <a:xfrm>
              <a:off x="11399203" y="244443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302 h 38100"/>
                <a:gd name="connsiteX3" fmla="*/ 5397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7"/>
                    <a:pt x="56197" y="6667"/>
                    <a:pt x="56832" y="7302"/>
                  </a:cubicBezTo>
                  <a:lnTo>
                    <a:pt x="5397" y="37147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7" name="任意多边形: 形状 1346"/>
            <p:cNvSpPr/>
            <p:nvPr/>
          </p:nvSpPr>
          <p:spPr>
            <a:xfrm>
              <a:off x="11399203" y="24469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4763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8"/>
                    <a:pt x="56197" y="6667"/>
                    <a:pt x="56197" y="7302"/>
                  </a:cubicBezTo>
                  <a:lnTo>
                    <a:pt x="4763" y="37148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8" name="任意多边形: 形状 1347"/>
            <p:cNvSpPr/>
            <p:nvPr/>
          </p:nvSpPr>
          <p:spPr>
            <a:xfrm>
              <a:off x="11399838" y="24501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4763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8"/>
                    <a:pt x="56197" y="6667"/>
                    <a:pt x="56197" y="7302"/>
                  </a:cubicBezTo>
                  <a:lnTo>
                    <a:pt x="4763" y="37148"/>
                  </a:lnTo>
                  <a:cubicBezTo>
                    <a:pt x="4763" y="35877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9" name="任意多边形: 形状 1348"/>
            <p:cNvSpPr/>
            <p:nvPr/>
          </p:nvSpPr>
          <p:spPr>
            <a:xfrm>
              <a:off x="11399838" y="24526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4763 w 57150"/>
                <a:gd name="connsiteY3" fmla="*/ 3714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5398"/>
                    <a:pt x="56197" y="6667"/>
                    <a:pt x="56197" y="7302"/>
                  </a:cubicBezTo>
                  <a:lnTo>
                    <a:pt x="4763" y="37148"/>
                  </a:lnTo>
                  <a:cubicBezTo>
                    <a:pt x="4763" y="36513"/>
                    <a:pt x="4763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0" name="任意多边形: 形状 1349"/>
            <p:cNvSpPr/>
            <p:nvPr/>
          </p:nvSpPr>
          <p:spPr>
            <a:xfrm>
              <a:off x="11400472" y="245522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56197 w 57150"/>
                <a:gd name="connsiteY3" fmla="*/ 7302 h 38100"/>
                <a:gd name="connsiteX4" fmla="*/ 4763 w 57150"/>
                <a:gd name="connsiteY4" fmla="*/ 37148 h 38100"/>
                <a:gd name="connsiteX5" fmla="*/ 4763 w 57150"/>
                <a:gd name="connsiteY5" fmla="*/ 37148 h 38100"/>
                <a:gd name="connsiteX6" fmla="*/ 4763 w 57150"/>
                <a:gd name="connsiteY6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5398"/>
                    <a:pt x="56197" y="6668"/>
                    <a:pt x="56197" y="7302"/>
                  </a:cubicBezTo>
                  <a:cubicBezTo>
                    <a:pt x="56197" y="7302"/>
                    <a:pt x="56197" y="7302"/>
                    <a:pt x="56197" y="7302"/>
                  </a:cubicBezTo>
                  <a:lnTo>
                    <a:pt x="4763" y="37148"/>
                  </a:lnTo>
                  <a:cubicBezTo>
                    <a:pt x="4763" y="37148"/>
                    <a:pt x="4763" y="37148"/>
                    <a:pt x="4763" y="37148"/>
                  </a:cubicBezTo>
                  <a:cubicBezTo>
                    <a:pt x="4763" y="36513"/>
                    <a:pt x="476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1" name="任意多边形: 形状 1350"/>
            <p:cNvSpPr/>
            <p:nvPr/>
          </p:nvSpPr>
          <p:spPr>
            <a:xfrm>
              <a:off x="11400472" y="245776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197 w 57150"/>
                <a:gd name="connsiteY2" fmla="*/ 6668 h 38100"/>
                <a:gd name="connsiteX3" fmla="*/ 4763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5398"/>
                    <a:pt x="56197" y="6033"/>
                    <a:pt x="56197" y="6668"/>
                  </a:cubicBezTo>
                  <a:lnTo>
                    <a:pt x="4763" y="36513"/>
                  </a:lnTo>
                  <a:cubicBezTo>
                    <a:pt x="4763" y="36513"/>
                    <a:pt x="476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2" name="任意多边形: 形状 1351"/>
            <p:cNvSpPr/>
            <p:nvPr/>
          </p:nvSpPr>
          <p:spPr>
            <a:xfrm>
              <a:off x="11399838" y="246030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4763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7"/>
                    <a:pt x="56197" y="6667"/>
                    <a:pt x="56197" y="7302"/>
                  </a:cubicBezTo>
                  <a:lnTo>
                    <a:pt x="4763" y="37147"/>
                  </a:lnTo>
                  <a:cubicBezTo>
                    <a:pt x="4763" y="35877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3" name="任意多边形: 形状 1352"/>
            <p:cNvSpPr/>
            <p:nvPr/>
          </p:nvSpPr>
          <p:spPr>
            <a:xfrm>
              <a:off x="11399838" y="24628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4" name="任意多边形: 形状 1353"/>
            <p:cNvSpPr/>
            <p:nvPr/>
          </p:nvSpPr>
          <p:spPr>
            <a:xfrm>
              <a:off x="11399838" y="2465388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197 w 57150"/>
                <a:gd name="connsiteY2" fmla="*/ 6667 h 38100"/>
                <a:gd name="connsiteX3" fmla="*/ 4763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5398"/>
                    <a:pt x="56197" y="6033"/>
                    <a:pt x="56197" y="6667"/>
                  </a:cubicBezTo>
                  <a:lnTo>
                    <a:pt x="4763" y="36513"/>
                  </a:lnTo>
                  <a:cubicBezTo>
                    <a:pt x="4763" y="35877"/>
                    <a:pt x="4763" y="35242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5" name="任意多边形: 形状 1354"/>
            <p:cNvSpPr/>
            <p:nvPr/>
          </p:nvSpPr>
          <p:spPr>
            <a:xfrm>
              <a:off x="10946447" y="2224748"/>
              <a:ext cx="514350" cy="431800"/>
            </a:xfrm>
            <a:custGeom>
              <a:avLst/>
              <a:gdLst>
                <a:gd name="connsiteX0" fmla="*/ 263843 w 514350"/>
                <a:gd name="connsiteY0" fmla="*/ 19342 h 431800"/>
                <a:gd name="connsiteX1" fmla="*/ 362903 w 514350"/>
                <a:gd name="connsiteY1" fmla="*/ 159042 h 431800"/>
                <a:gd name="connsiteX2" fmla="*/ 398463 w 514350"/>
                <a:gd name="connsiteY2" fmla="*/ 166662 h 431800"/>
                <a:gd name="connsiteX3" fmla="*/ 458153 w 514350"/>
                <a:gd name="connsiteY3" fmla="*/ 267627 h 431800"/>
                <a:gd name="connsiteX4" fmla="*/ 457518 w 514350"/>
                <a:gd name="connsiteY4" fmla="*/ 277152 h 431800"/>
                <a:gd name="connsiteX5" fmla="*/ 512128 w 514350"/>
                <a:gd name="connsiteY5" fmla="*/ 384467 h 431800"/>
                <a:gd name="connsiteX6" fmla="*/ 454343 w 514350"/>
                <a:gd name="connsiteY6" fmla="*/ 427012 h 431800"/>
                <a:gd name="connsiteX7" fmla="*/ 53022 w 514350"/>
                <a:gd name="connsiteY7" fmla="*/ 196507 h 431800"/>
                <a:gd name="connsiteX8" fmla="*/ 44768 w 514350"/>
                <a:gd name="connsiteY8" fmla="*/ 192062 h 431800"/>
                <a:gd name="connsiteX9" fmla="*/ 4763 w 514350"/>
                <a:gd name="connsiteY9" fmla="*/ 124752 h 431800"/>
                <a:gd name="connsiteX10" fmla="*/ 39053 w 514350"/>
                <a:gd name="connsiteY10" fmla="*/ 100622 h 431800"/>
                <a:gd name="connsiteX11" fmla="*/ 37147 w 514350"/>
                <a:gd name="connsiteY11" fmla="*/ 86017 h 431800"/>
                <a:gd name="connsiteX12" fmla="*/ 77153 w 514350"/>
                <a:gd name="connsiteY12" fmla="*/ 64427 h 431800"/>
                <a:gd name="connsiteX13" fmla="*/ 98108 w 514350"/>
                <a:gd name="connsiteY13" fmla="*/ 83477 h 431800"/>
                <a:gd name="connsiteX14" fmla="*/ 141288 w 514350"/>
                <a:gd name="connsiteY14" fmla="*/ 61887 h 431800"/>
                <a:gd name="connsiteX15" fmla="*/ 159068 w 514350"/>
                <a:gd name="connsiteY15" fmla="*/ 76492 h 431800"/>
                <a:gd name="connsiteX16" fmla="*/ 263843 w 514350"/>
                <a:gd name="connsiteY16" fmla="*/ 19342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4350" h="431800">
                  <a:moveTo>
                    <a:pt x="263843" y="19342"/>
                  </a:moveTo>
                  <a:cubicBezTo>
                    <a:pt x="310833" y="46647"/>
                    <a:pt x="350203" y="104432"/>
                    <a:pt x="362903" y="159042"/>
                  </a:cubicBezTo>
                  <a:cubicBezTo>
                    <a:pt x="373063" y="156502"/>
                    <a:pt x="385128" y="158407"/>
                    <a:pt x="398463" y="166662"/>
                  </a:cubicBezTo>
                  <a:cubicBezTo>
                    <a:pt x="431483" y="185712"/>
                    <a:pt x="458153" y="230797"/>
                    <a:pt x="458153" y="267627"/>
                  </a:cubicBezTo>
                  <a:cubicBezTo>
                    <a:pt x="458153" y="270802"/>
                    <a:pt x="458153" y="273977"/>
                    <a:pt x="457518" y="277152"/>
                  </a:cubicBezTo>
                  <a:cubicBezTo>
                    <a:pt x="488633" y="302552"/>
                    <a:pt x="512128" y="347002"/>
                    <a:pt x="512128" y="384467"/>
                  </a:cubicBezTo>
                  <a:cubicBezTo>
                    <a:pt x="512128" y="422567"/>
                    <a:pt x="486728" y="439712"/>
                    <a:pt x="454343" y="427012"/>
                  </a:cubicBezTo>
                  <a:lnTo>
                    <a:pt x="53022" y="196507"/>
                  </a:lnTo>
                  <a:cubicBezTo>
                    <a:pt x="50483" y="194602"/>
                    <a:pt x="47943" y="193332"/>
                    <a:pt x="44768" y="192062"/>
                  </a:cubicBezTo>
                  <a:cubicBezTo>
                    <a:pt x="22543" y="179362"/>
                    <a:pt x="4763" y="148882"/>
                    <a:pt x="4763" y="124752"/>
                  </a:cubicBezTo>
                  <a:cubicBezTo>
                    <a:pt x="4763" y="102527"/>
                    <a:pt x="20003" y="92367"/>
                    <a:pt x="39053" y="100622"/>
                  </a:cubicBezTo>
                  <a:cubicBezTo>
                    <a:pt x="37783" y="95542"/>
                    <a:pt x="37147" y="90462"/>
                    <a:pt x="37147" y="86017"/>
                  </a:cubicBezTo>
                  <a:cubicBezTo>
                    <a:pt x="37147" y="61252"/>
                    <a:pt x="54928" y="51727"/>
                    <a:pt x="77153" y="64427"/>
                  </a:cubicBezTo>
                  <a:cubicBezTo>
                    <a:pt x="84772" y="68872"/>
                    <a:pt x="91758" y="75222"/>
                    <a:pt x="98108" y="83477"/>
                  </a:cubicBezTo>
                  <a:cubicBezTo>
                    <a:pt x="98743" y="58077"/>
                    <a:pt x="117793" y="48552"/>
                    <a:pt x="141288" y="61887"/>
                  </a:cubicBezTo>
                  <a:cubicBezTo>
                    <a:pt x="147638" y="65697"/>
                    <a:pt x="153988" y="70777"/>
                    <a:pt x="159068" y="76492"/>
                  </a:cubicBezTo>
                  <a:cubicBezTo>
                    <a:pt x="160338" y="11087"/>
                    <a:pt x="206693" y="-13678"/>
                    <a:pt x="263843" y="19342"/>
                  </a:cubicBezTo>
                  <a:close/>
                </a:path>
              </a:pathLst>
            </a:custGeom>
            <a:solidFill>
              <a:srgbClr val="D9E1F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6" name="任意多边形: 形状 1355"/>
            <p:cNvSpPr/>
            <p:nvPr/>
          </p:nvSpPr>
          <p:spPr>
            <a:xfrm>
              <a:off x="8414703" y="1170623"/>
              <a:ext cx="63500" cy="38100"/>
            </a:xfrm>
            <a:custGeom>
              <a:avLst/>
              <a:gdLst>
                <a:gd name="connsiteX0" fmla="*/ 4763 w 63500"/>
                <a:gd name="connsiteY0" fmla="*/ 35877 h 38100"/>
                <a:gd name="connsiteX1" fmla="*/ 56197 w 63500"/>
                <a:gd name="connsiteY1" fmla="*/ 6032 h 38100"/>
                <a:gd name="connsiteX2" fmla="*/ 59372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587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877"/>
                  </a:moveTo>
                  <a:lnTo>
                    <a:pt x="56197" y="6032"/>
                  </a:lnTo>
                  <a:cubicBezTo>
                    <a:pt x="57467" y="5397"/>
                    <a:pt x="58103" y="4763"/>
                    <a:pt x="59372" y="4763"/>
                  </a:cubicBezTo>
                  <a:lnTo>
                    <a:pt x="7938" y="34607"/>
                  </a:lnTo>
                  <a:cubicBezTo>
                    <a:pt x="6667" y="34607"/>
                    <a:pt x="5397" y="35242"/>
                    <a:pt x="4763" y="3587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7" name="任意多边形: 形状 1356"/>
            <p:cNvSpPr/>
            <p:nvPr/>
          </p:nvSpPr>
          <p:spPr>
            <a:xfrm>
              <a:off x="8417878" y="1169352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2" y="5398"/>
                    <a:pt x="58103" y="4763"/>
                    <a:pt x="58738" y="4763"/>
                  </a:cubicBezTo>
                  <a:lnTo>
                    <a:pt x="7303" y="34608"/>
                  </a:lnTo>
                  <a:cubicBezTo>
                    <a:pt x="6032" y="34608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8" name="任意多边形: 形状 1357"/>
            <p:cNvSpPr/>
            <p:nvPr/>
          </p:nvSpPr>
          <p:spPr>
            <a:xfrm>
              <a:off x="8420418" y="1168718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7 h 38100"/>
                <a:gd name="connsiteX2" fmla="*/ 58738 w 63500"/>
                <a:gd name="connsiteY2" fmla="*/ 4763 h 38100"/>
                <a:gd name="connsiteX3" fmla="*/ 7302 w 63500"/>
                <a:gd name="connsiteY3" fmla="*/ 34607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7"/>
                  </a:lnTo>
                  <a:cubicBezTo>
                    <a:pt x="56832" y="5397"/>
                    <a:pt x="57467" y="5397"/>
                    <a:pt x="58738" y="4763"/>
                  </a:cubicBezTo>
                  <a:lnTo>
                    <a:pt x="7302" y="34607"/>
                  </a:lnTo>
                  <a:cubicBezTo>
                    <a:pt x="6032" y="35243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9" name="任意多边形: 形状 1358"/>
            <p:cNvSpPr/>
            <p:nvPr/>
          </p:nvSpPr>
          <p:spPr>
            <a:xfrm>
              <a:off x="8422957" y="11693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3973"/>
                    <a:pt x="5398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0" name="任意多边形: 形状 1359"/>
            <p:cNvSpPr/>
            <p:nvPr/>
          </p:nvSpPr>
          <p:spPr>
            <a:xfrm>
              <a:off x="8424863" y="116871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8" y="4763"/>
                    <a:pt x="58103" y="4763"/>
                  </a:cubicBezTo>
                  <a:lnTo>
                    <a:pt x="6668" y="34607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1" name="任意多边形: 形状 1360"/>
            <p:cNvSpPr/>
            <p:nvPr/>
          </p:nvSpPr>
          <p:spPr>
            <a:xfrm>
              <a:off x="8426768" y="11693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4763 h 38100"/>
                <a:gd name="connsiteX3" fmla="*/ 6667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4763"/>
                  </a:cubicBezTo>
                  <a:lnTo>
                    <a:pt x="6667" y="34608"/>
                  </a:lnTo>
                  <a:cubicBezTo>
                    <a:pt x="6032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2" name="任意多边形: 形状 1361"/>
            <p:cNvSpPr/>
            <p:nvPr/>
          </p:nvSpPr>
          <p:spPr>
            <a:xfrm>
              <a:off x="8428672" y="11693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8"/>
                  </a:lnTo>
                  <a:cubicBezTo>
                    <a:pt x="6033" y="34608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3" name="任意多边形: 形状 1362"/>
            <p:cNvSpPr/>
            <p:nvPr/>
          </p:nvSpPr>
          <p:spPr>
            <a:xfrm>
              <a:off x="8430578" y="11693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7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3" y="5398"/>
                  </a:cubicBezTo>
                  <a:lnTo>
                    <a:pt x="6667" y="35243"/>
                  </a:lnTo>
                  <a:cubicBezTo>
                    <a:pt x="5397" y="35243"/>
                    <a:pt x="476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4" name="任意多边形: 形状 1363"/>
            <p:cNvSpPr/>
            <p:nvPr/>
          </p:nvSpPr>
          <p:spPr>
            <a:xfrm>
              <a:off x="8431847" y="116998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5398"/>
                  </a:cubicBezTo>
                  <a:lnTo>
                    <a:pt x="6668" y="35243"/>
                  </a:lnTo>
                  <a:cubicBezTo>
                    <a:pt x="6033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5" name="任意多边形: 形状 1364"/>
            <p:cNvSpPr/>
            <p:nvPr/>
          </p:nvSpPr>
          <p:spPr>
            <a:xfrm>
              <a:off x="8433753" y="11706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7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7"/>
                    <a:pt x="58103" y="5397"/>
                  </a:cubicBezTo>
                  <a:lnTo>
                    <a:pt x="6667" y="35242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6" name="任意多边形: 形状 1365"/>
            <p:cNvSpPr/>
            <p:nvPr/>
          </p:nvSpPr>
          <p:spPr>
            <a:xfrm>
              <a:off x="8435657" y="11706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7468" y="5397"/>
                    <a:pt x="58103" y="5397"/>
                  </a:cubicBezTo>
                  <a:lnTo>
                    <a:pt x="6668" y="35242"/>
                  </a:lnTo>
                  <a:cubicBezTo>
                    <a:pt x="5398" y="35242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7" name="任意多边形: 形状 1366"/>
            <p:cNvSpPr/>
            <p:nvPr/>
          </p:nvSpPr>
          <p:spPr>
            <a:xfrm>
              <a:off x="8436928" y="117125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4763 h 38100"/>
                <a:gd name="connsiteX3" fmla="*/ 4763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4763"/>
                    <a:pt x="56832" y="4763"/>
                    <a:pt x="56832" y="4763"/>
                  </a:cubicBezTo>
                  <a:lnTo>
                    <a:pt x="4763" y="34607"/>
                  </a:lnTo>
                  <a:cubicBezTo>
                    <a:pt x="5397" y="3524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8" name="任意多边形: 形状 1367"/>
            <p:cNvSpPr/>
            <p:nvPr/>
          </p:nvSpPr>
          <p:spPr>
            <a:xfrm>
              <a:off x="8447088" y="1131252"/>
              <a:ext cx="63500" cy="38100"/>
            </a:xfrm>
            <a:custGeom>
              <a:avLst/>
              <a:gdLst>
                <a:gd name="connsiteX0" fmla="*/ 4763 w 63500"/>
                <a:gd name="connsiteY0" fmla="*/ 35878 h 38100"/>
                <a:gd name="connsiteX1" fmla="*/ 56197 w 63500"/>
                <a:gd name="connsiteY1" fmla="*/ 6033 h 38100"/>
                <a:gd name="connsiteX2" fmla="*/ 59372 w 63500"/>
                <a:gd name="connsiteY2" fmla="*/ 4763 h 38100"/>
                <a:gd name="connsiteX3" fmla="*/ 7938 w 63500"/>
                <a:gd name="connsiteY3" fmla="*/ 34608 h 38100"/>
                <a:gd name="connsiteX4" fmla="*/ 4763 w 63500"/>
                <a:gd name="connsiteY4" fmla="*/ 3587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878"/>
                  </a:moveTo>
                  <a:lnTo>
                    <a:pt x="56197" y="6033"/>
                  </a:lnTo>
                  <a:cubicBezTo>
                    <a:pt x="57468" y="5398"/>
                    <a:pt x="58103" y="4763"/>
                    <a:pt x="59372" y="4763"/>
                  </a:cubicBezTo>
                  <a:lnTo>
                    <a:pt x="7938" y="34608"/>
                  </a:lnTo>
                  <a:cubicBezTo>
                    <a:pt x="6668" y="35243"/>
                    <a:pt x="5397" y="35243"/>
                    <a:pt x="4763" y="3587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9" name="任意多边形: 形状 1368"/>
            <p:cNvSpPr/>
            <p:nvPr/>
          </p:nvSpPr>
          <p:spPr>
            <a:xfrm>
              <a:off x="8450263" y="1130618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7 h 38100"/>
                <a:gd name="connsiteX2" fmla="*/ 58738 w 63500"/>
                <a:gd name="connsiteY2" fmla="*/ 4763 h 38100"/>
                <a:gd name="connsiteX3" fmla="*/ 7303 w 63500"/>
                <a:gd name="connsiteY3" fmla="*/ 34607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7"/>
                  </a:lnTo>
                  <a:cubicBezTo>
                    <a:pt x="56832" y="5397"/>
                    <a:pt x="58103" y="4763"/>
                    <a:pt x="58738" y="4763"/>
                  </a:cubicBezTo>
                  <a:lnTo>
                    <a:pt x="7303" y="34607"/>
                  </a:lnTo>
                  <a:cubicBezTo>
                    <a:pt x="6668" y="34607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0" name="任意多边形: 形状 1369"/>
            <p:cNvSpPr/>
            <p:nvPr/>
          </p:nvSpPr>
          <p:spPr>
            <a:xfrm>
              <a:off x="8452803" y="1129982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3 w 63500"/>
                <a:gd name="connsiteY3" fmla="*/ 34607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2" y="5398"/>
                    <a:pt x="57467" y="5398"/>
                    <a:pt x="58738" y="4763"/>
                  </a:cubicBezTo>
                  <a:lnTo>
                    <a:pt x="7303" y="34607"/>
                  </a:lnTo>
                  <a:cubicBezTo>
                    <a:pt x="6667" y="34607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1" name="任意多边形: 形状 1370"/>
            <p:cNvSpPr/>
            <p:nvPr/>
          </p:nvSpPr>
          <p:spPr>
            <a:xfrm>
              <a:off x="8455343" y="1129982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4763 h 38100"/>
                <a:gd name="connsiteX3" fmla="*/ 6667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4763"/>
                  </a:cubicBezTo>
                  <a:lnTo>
                    <a:pt x="6667" y="34607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2" name="任意多边形: 形状 1371"/>
            <p:cNvSpPr/>
            <p:nvPr/>
          </p:nvSpPr>
          <p:spPr>
            <a:xfrm>
              <a:off x="8457247" y="1129982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7"/>
                  </a:lnTo>
                  <a:cubicBezTo>
                    <a:pt x="6033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3" name="任意多边形: 形状 1372"/>
            <p:cNvSpPr/>
            <p:nvPr/>
          </p:nvSpPr>
          <p:spPr>
            <a:xfrm>
              <a:off x="8459153" y="1129982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7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3" y="4763"/>
                  </a:cubicBezTo>
                  <a:lnTo>
                    <a:pt x="6667" y="34607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4" name="任意多边形: 形状 1373"/>
            <p:cNvSpPr/>
            <p:nvPr/>
          </p:nvSpPr>
          <p:spPr>
            <a:xfrm>
              <a:off x="8461057" y="113061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7"/>
                  </a:lnTo>
                  <a:cubicBezTo>
                    <a:pt x="6033" y="34607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5" name="任意多边形: 形状 1374"/>
            <p:cNvSpPr/>
            <p:nvPr/>
          </p:nvSpPr>
          <p:spPr>
            <a:xfrm>
              <a:off x="8462963" y="113061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8" y="4763"/>
                    <a:pt x="58103" y="5397"/>
                  </a:cubicBezTo>
                  <a:lnTo>
                    <a:pt x="6668" y="35243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6" name="任意多边形: 形状 1375"/>
            <p:cNvSpPr/>
            <p:nvPr/>
          </p:nvSpPr>
          <p:spPr>
            <a:xfrm>
              <a:off x="8464232" y="11312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5398"/>
                  </a:cubicBezTo>
                  <a:lnTo>
                    <a:pt x="6668" y="35243"/>
                  </a:lnTo>
                  <a:cubicBezTo>
                    <a:pt x="6033" y="34608"/>
                    <a:pt x="5398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7" name="任意多边形: 形状 1376"/>
            <p:cNvSpPr/>
            <p:nvPr/>
          </p:nvSpPr>
          <p:spPr>
            <a:xfrm>
              <a:off x="8466138" y="11312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8" y="5398"/>
                    <a:pt x="58103" y="5398"/>
                  </a:cubicBezTo>
                  <a:lnTo>
                    <a:pt x="6668" y="35243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8" name="任意多边形: 形状 1377"/>
            <p:cNvSpPr/>
            <p:nvPr/>
          </p:nvSpPr>
          <p:spPr>
            <a:xfrm>
              <a:off x="8468043" y="113188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5398 h 38100"/>
                <a:gd name="connsiteX3" fmla="*/ 6667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2" y="5398"/>
                  </a:cubicBezTo>
                  <a:lnTo>
                    <a:pt x="6667" y="35243"/>
                  </a:lnTo>
                  <a:cubicBezTo>
                    <a:pt x="5397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9" name="任意多边形: 形状 1378"/>
            <p:cNvSpPr/>
            <p:nvPr/>
          </p:nvSpPr>
          <p:spPr>
            <a:xfrm>
              <a:off x="8469313" y="11325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8" y="5397"/>
                    <a:pt x="58103" y="5397"/>
                  </a:cubicBezTo>
                  <a:lnTo>
                    <a:pt x="6668" y="35242"/>
                  </a:lnTo>
                  <a:cubicBezTo>
                    <a:pt x="6032" y="35242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0" name="任意多边形: 形状 1379"/>
            <p:cNvSpPr/>
            <p:nvPr/>
          </p:nvSpPr>
          <p:spPr>
            <a:xfrm>
              <a:off x="8471218" y="113315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5398 h 38100"/>
                <a:gd name="connsiteX3" fmla="*/ 6667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2" y="5398"/>
                  </a:cubicBezTo>
                  <a:lnTo>
                    <a:pt x="6667" y="35243"/>
                  </a:lnTo>
                  <a:cubicBezTo>
                    <a:pt x="6032" y="3524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1" name="任意多边形: 形状 1380"/>
            <p:cNvSpPr/>
            <p:nvPr/>
          </p:nvSpPr>
          <p:spPr>
            <a:xfrm>
              <a:off x="8473122" y="113379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7468" y="5397"/>
                    <a:pt x="58103" y="5397"/>
                  </a:cubicBezTo>
                  <a:lnTo>
                    <a:pt x="6668" y="35243"/>
                  </a:lnTo>
                  <a:cubicBezTo>
                    <a:pt x="5397" y="3524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2" name="任意多边形: 形状 1381"/>
            <p:cNvSpPr/>
            <p:nvPr/>
          </p:nvSpPr>
          <p:spPr>
            <a:xfrm>
              <a:off x="8474393" y="113506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5398 h 38100"/>
                <a:gd name="connsiteX3" fmla="*/ 58102 w 57150"/>
                <a:gd name="connsiteY3" fmla="*/ 5398 h 38100"/>
                <a:gd name="connsiteX4" fmla="*/ 6667 w 57150"/>
                <a:gd name="connsiteY4" fmla="*/ 35243 h 38100"/>
                <a:gd name="connsiteX5" fmla="*/ 6032 w 57150"/>
                <a:gd name="connsiteY5" fmla="*/ 35243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6832" y="5398"/>
                    <a:pt x="57467" y="5398"/>
                  </a:cubicBezTo>
                  <a:cubicBezTo>
                    <a:pt x="57467" y="5398"/>
                    <a:pt x="57467" y="5398"/>
                    <a:pt x="58102" y="5398"/>
                  </a:cubicBezTo>
                  <a:lnTo>
                    <a:pt x="6667" y="35243"/>
                  </a:lnTo>
                  <a:cubicBezTo>
                    <a:pt x="6667" y="35243"/>
                    <a:pt x="6667" y="35243"/>
                    <a:pt x="6032" y="35243"/>
                  </a:cubicBezTo>
                  <a:cubicBezTo>
                    <a:pt x="6032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3" name="任意多边形: 形状 1382"/>
            <p:cNvSpPr/>
            <p:nvPr/>
          </p:nvSpPr>
          <p:spPr>
            <a:xfrm>
              <a:off x="8476297" y="11356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032 h 38100"/>
                <a:gd name="connsiteX3" fmla="*/ 6668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7468" y="5397"/>
                    <a:pt x="58103" y="6032"/>
                  </a:cubicBezTo>
                  <a:lnTo>
                    <a:pt x="6668" y="35877"/>
                  </a:lnTo>
                  <a:cubicBezTo>
                    <a:pt x="6033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4" name="任意多边形: 形状 1383"/>
            <p:cNvSpPr/>
            <p:nvPr/>
          </p:nvSpPr>
          <p:spPr>
            <a:xfrm>
              <a:off x="8478203" y="113696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032 h 38100"/>
                <a:gd name="connsiteX3" fmla="*/ 6667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7" y="5397"/>
                    <a:pt x="58103" y="6032"/>
                  </a:cubicBezTo>
                  <a:lnTo>
                    <a:pt x="6667" y="35877"/>
                  </a:lnTo>
                  <a:cubicBezTo>
                    <a:pt x="5397" y="3524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5" name="任意多边形: 形状 1384"/>
            <p:cNvSpPr/>
            <p:nvPr/>
          </p:nvSpPr>
          <p:spPr>
            <a:xfrm>
              <a:off x="8479472" y="113823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032 h 38100"/>
                <a:gd name="connsiteX3" fmla="*/ 6668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8"/>
                    <a:pt x="57468" y="5398"/>
                    <a:pt x="58103" y="6032"/>
                  </a:cubicBezTo>
                  <a:lnTo>
                    <a:pt x="6668" y="35877"/>
                  </a:lnTo>
                  <a:cubicBezTo>
                    <a:pt x="6033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6" name="任意多边形: 形状 1385"/>
            <p:cNvSpPr/>
            <p:nvPr/>
          </p:nvSpPr>
          <p:spPr>
            <a:xfrm>
              <a:off x="8481378" y="113950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032 h 38100"/>
                <a:gd name="connsiteX3" fmla="*/ 6667 w 57150"/>
                <a:gd name="connsiteY3" fmla="*/ 3587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7467" y="5398"/>
                    <a:pt x="58103" y="6032"/>
                  </a:cubicBezTo>
                  <a:lnTo>
                    <a:pt x="6667" y="35878"/>
                  </a:lnTo>
                  <a:cubicBezTo>
                    <a:pt x="6032" y="3524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7" name="任意多边形: 形状 1386"/>
            <p:cNvSpPr/>
            <p:nvPr/>
          </p:nvSpPr>
          <p:spPr>
            <a:xfrm>
              <a:off x="8483282" y="11407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6033 h 38100"/>
                <a:gd name="connsiteX3" fmla="*/ 6668 w 57150"/>
                <a:gd name="connsiteY3" fmla="*/ 3587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5398"/>
                    <a:pt x="57468" y="6033"/>
                    <a:pt x="58103" y="6033"/>
                  </a:cubicBezTo>
                  <a:lnTo>
                    <a:pt x="6668" y="35878"/>
                  </a:lnTo>
                  <a:cubicBezTo>
                    <a:pt x="6033" y="35243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8" name="任意多边形: 形状 1387"/>
            <p:cNvSpPr/>
            <p:nvPr/>
          </p:nvSpPr>
          <p:spPr>
            <a:xfrm>
              <a:off x="8485188" y="11420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032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9" name="任意多边形: 形状 1388"/>
            <p:cNvSpPr/>
            <p:nvPr/>
          </p:nvSpPr>
          <p:spPr>
            <a:xfrm>
              <a:off x="8487093" y="11439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6668 h 38100"/>
                <a:gd name="connsiteX3" fmla="*/ 6667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2" y="6668"/>
                  </a:cubicBezTo>
                  <a:lnTo>
                    <a:pt x="6667" y="36513"/>
                  </a:lnTo>
                  <a:cubicBezTo>
                    <a:pt x="6032" y="35878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0" name="任意多边形: 形状 1389"/>
            <p:cNvSpPr/>
            <p:nvPr/>
          </p:nvSpPr>
          <p:spPr>
            <a:xfrm>
              <a:off x="8488363" y="11452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032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1" name="任意多边形: 形状 1390"/>
            <p:cNvSpPr/>
            <p:nvPr/>
          </p:nvSpPr>
          <p:spPr>
            <a:xfrm>
              <a:off x="8490268" y="114712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2 w 57150"/>
                <a:gd name="connsiteY2" fmla="*/ 6668 h 38100"/>
                <a:gd name="connsiteX3" fmla="*/ 6667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2" y="6668"/>
                  </a:cubicBezTo>
                  <a:lnTo>
                    <a:pt x="6667" y="36513"/>
                  </a:lnTo>
                  <a:cubicBezTo>
                    <a:pt x="6032" y="35878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2" name="任意多边形: 形状 1391"/>
            <p:cNvSpPr/>
            <p:nvPr/>
          </p:nvSpPr>
          <p:spPr>
            <a:xfrm>
              <a:off x="8492172" y="1149032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8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8"/>
                    <a:pt x="57468" y="6032"/>
                    <a:pt x="58103" y="6668"/>
                  </a:cubicBezTo>
                  <a:lnTo>
                    <a:pt x="6668" y="36513"/>
                  </a:lnTo>
                  <a:cubicBezTo>
                    <a:pt x="6033" y="35878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3" name="任意多边形: 形状 1392"/>
            <p:cNvSpPr/>
            <p:nvPr/>
          </p:nvSpPr>
          <p:spPr>
            <a:xfrm>
              <a:off x="8493443" y="115093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6668 h 38100"/>
                <a:gd name="connsiteX3" fmla="*/ 6032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7467" y="6032"/>
                    <a:pt x="57467" y="6668"/>
                  </a:cubicBezTo>
                  <a:lnTo>
                    <a:pt x="6032" y="36513"/>
                  </a:lnTo>
                  <a:cubicBezTo>
                    <a:pt x="6032" y="35877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4" name="任意多边形: 形状 1393"/>
            <p:cNvSpPr/>
            <p:nvPr/>
          </p:nvSpPr>
          <p:spPr>
            <a:xfrm>
              <a:off x="8495347" y="115284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6668 h 38100"/>
                <a:gd name="connsiteX3" fmla="*/ 6033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7468" y="6032"/>
                    <a:pt x="57468" y="6668"/>
                  </a:cubicBezTo>
                  <a:lnTo>
                    <a:pt x="6033" y="36513"/>
                  </a:lnTo>
                  <a:cubicBezTo>
                    <a:pt x="5397" y="35877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5" name="任意多边形: 形状 1394"/>
            <p:cNvSpPr/>
            <p:nvPr/>
          </p:nvSpPr>
          <p:spPr>
            <a:xfrm>
              <a:off x="8496618" y="1154113"/>
              <a:ext cx="57150" cy="38100"/>
            </a:xfrm>
            <a:custGeom>
              <a:avLst/>
              <a:gdLst>
                <a:gd name="connsiteX0" fmla="*/ 4763 w 57150"/>
                <a:gd name="connsiteY0" fmla="*/ 35243 h 38100"/>
                <a:gd name="connsiteX1" fmla="*/ 56832 w 57150"/>
                <a:gd name="connsiteY1" fmla="*/ 4763 h 38100"/>
                <a:gd name="connsiteX2" fmla="*/ 56832 w 57150"/>
                <a:gd name="connsiteY2" fmla="*/ 4763 h 38100"/>
                <a:gd name="connsiteX3" fmla="*/ 4763 w 57150"/>
                <a:gd name="connsiteY3" fmla="*/ 35243 h 38100"/>
                <a:gd name="connsiteX4" fmla="*/ 4763 w 5715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5243"/>
                  </a:moveTo>
                  <a:lnTo>
                    <a:pt x="56832" y="4763"/>
                  </a:lnTo>
                  <a:lnTo>
                    <a:pt x="56832" y="4763"/>
                  </a:lnTo>
                  <a:lnTo>
                    <a:pt x="4763" y="35243"/>
                  </a:lnTo>
                  <a:lnTo>
                    <a:pt x="4763" y="35243"/>
                  </a:ln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6" name="任意多边形: 形状 1395"/>
            <p:cNvSpPr/>
            <p:nvPr/>
          </p:nvSpPr>
          <p:spPr>
            <a:xfrm>
              <a:off x="8508682" y="1128077"/>
              <a:ext cx="63500" cy="38100"/>
            </a:xfrm>
            <a:custGeom>
              <a:avLst/>
              <a:gdLst>
                <a:gd name="connsiteX0" fmla="*/ 4763 w 63500"/>
                <a:gd name="connsiteY0" fmla="*/ 36513 h 38100"/>
                <a:gd name="connsiteX1" fmla="*/ 56198 w 63500"/>
                <a:gd name="connsiteY1" fmla="*/ 6668 h 38100"/>
                <a:gd name="connsiteX2" fmla="*/ 60008 w 63500"/>
                <a:gd name="connsiteY2" fmla="*/ 4763 h 38100"/>
                <a:gd name="connsiteX3" fmla="*/ 8573 w 63500"/>
                <a:gd name="connsiteY3" fmla="*/ 34608 h 38100"/>
                <a:gd name="connsiteX4" fmla="*/ 4763 w 63500"/>
                <a:gd name="connsiteY4" fmla="*/ 3651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6513"/>
                  </a:moveTo>
                  <a:lnTo>
                    <a:pt x="56198" y="6668"/>
                  </a:lnTo>
                  <a:cubicBezTo>
                    <a:pt x="57468" y="6033"/>
                    <a:pt x="58738" y="5398"/>
                    <a:pt x="60008" y="4763"/>
                  </a:cubicBezTo>
                  <a:lnTo>
                    <a:pt x="8573" y="34608"/>
                  </a:lnTo>
                  <a:cubicBezTo>
                    <a:pt x="7303" y="35243"/>
                    <a:pt x="6033" y="35878"/>
                    <a:pt x="4763" y="3651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7" name="任意多边形: 形状 1396"/>
            <p:cNvSpPr/>
            <p:nvPr/>
          </p:nvSpPr>
          <p:spPr>
            <a:xfrm>
              <a:off x="8512493" y="1127443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7 h 38100"/>
                <a:gd name="connsiteX2" fmla="*/ 59372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7"/>
                  </a:lnTo>
                  <a:cubicBezTo>
                    <a:pt x="57467" y="4763"/>
                    <a:pt x="58102" y="4763"/>
                    <a:pt x="59372" y="4763"/>
                  </a:cubicBezTo>
                  <a:lnTo>
                    <a:pt x="7938" y="34607"/>
                  </a:lnTo>
                  <a:cubicBezTo>
                    <a:pt x="6667" y="34607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8" name="任意多边形: 形状 1397"/>
            <p:cNvSpPr/>
            <p:nvPr/>
          </p:nvSpPr>
          <p:spPr>
            <a:xfrm>
              <a:off x="8515668" y="1126807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58738 w 63500"/>
                <a:gd name="connsiteY2" fmla="*/ 4763 h 38100"/>
                <a:gd name="connsiteX3" fmla="*/ 7302 w 63500"/>
                <a:gd name="connsiteY3" fmla="*/ 34607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6832" y="5398"/>
                    <a:pt x="58102" y="5398"/>
                    <a:pt x="58738" y="4763"/>
                  </a:cubicBezTo>
                  <a:lnTo>
                    <a:pt x="7302" y="34607"/>
                  </a:lnTo>
                  <a:cubicBezTo>
                    <a:pt x="6032" y="34607"/>
                    <a:pt x="5397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9" name="任意多边形: 形状 1398"/>
            <p:cNvSpPr/>
            <p:nvPr/>
          </p:nvSpPr>
          <p:spPr>
            <a:xfrm>
              <a:off x="8518207" y="112680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7"/>
                  </a:lnTo>
                  <a:cubicBezTo>
                    <a:pt x="6033" y="34607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0" name="任意多边形: 形状 1399"/>
            <p:cNvSpPr/>
            <p:nvPr/>
          </p:nvSpPr>
          <p:spPr>
            <a:xfrm>
              <a:off x="8520113" y="112680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8" y="4763"/>
                    <a:pt x="58103" y="4763"/>
                  </a:cubicBezTo>
                  <a:lnTo>
                    <a:pt x="6668" y="34607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1" name="任意多边形: 形状 1400"/>
            <p:cNvSpPr/>
            <p:nvPr/>
          </p:nvSpPr>
          <p:spPr>
            <a:xfrm>
              <a:off x="8522018" y="112680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4763 h 38100"/>
                <a:gd name="connsiteX3" fmla="*/ 6667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2" y="4763"/>
                  </a:cubicBezTo>
                  <a:lnTo>
                    <a:pt x="6667" y="34607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2" name="任意多边形: 形状 1401"/>
            <p:cNvSpPr/>
            <p:nvPr/>
          </p:nvSpPr>
          <p:spPr>
            <a:xfrm>
              <a:off x="8523922" y="112744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4763 h 38100"/>
                <a:gd name="connsiteX3" fmla="*/ 6668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7468" y="4763"/>
                    <a:pt x="58103" y="4763"/>
                  </a:cubicBezTo>
                  <a:lnTo>
                    <a:pt x="6668" y="34607"/>
                  </a:lnTo>
                  <a:cubicBezTo>
                    <a:pt x="6033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3" name="任意多边形: 形状 1402"/>
            <p:cNvSpPr/>
            <p:nvPr/>
          </p:nvSpPr>
          <p:spPr>
            <a:xfrm>
              <a:off x="8525828" y="112744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7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4763"/>
                    <a:pt x="58103" y="5397"/>
                  </a:cubicBezTo>
                  <a:lnTo>
                    <a:pt x="6667" y="35243"/>
                  </a:ln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4" name="任意多边形: 形状 1403"/>
            <p:cNvSpPr/>
            <p:nvPr/>
          </p:nvSpPr>
          <p:spPr>
            <a:xfrm>
              <a:off x="8527732" y="11280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5398"/>
                    <a:pt x="58103" y="5398"/>
                  </a:cubicBezTo>
                  <a:lnTo>
                    <a:pt x="6668" y="35243"/>
                  </a:lnTo>
                  <a:cubicBezTo>
                    <a:pt x="6033" y="34608"/>
                    <a:pt x="5398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5" name="任意多边形: 形状 1404"/>
            <p:cNvSpPr/>
            <p:nvPr/>
          </p:nvSpPr>
          <p:spPr>
            <a:xfrm>
              <a:off x="8529638" y="11280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4763"/>
                    <a:pt x="57468" y="5398"/>
                    <a:pt x="58103" y="5398"/>
                  </a:cubicBezTo>
                  <a:lnTo>
                    <a:pt x="6668" y="35243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6" name="任意多边形: 形状 1405"/>
            <p:cNvSpPr/>
            <p:nvPr/>
          </p:nvSpPr>
          <p:spPr>
            <a:xfrm>
              <a:off x="8531543" y="112871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5398 h 38100"/>
                <a:gd name="connsiteX3" fmla="*/ 6667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8"/>
                    <a:pt x="58102" y="5398"/>
                  </a:cubicBezTo>
                  <a:lnTo>
                    <a:pt x="6667" y="35243"/>
                  </a:lnTo>
                  <a:cubicBezTo>
                    <a:pt x="6032" y="3524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7" name="任意多边形: 形状 1406"/>
            <p:cNvSpPr/>
            <p:nvPr/>
          </p:nvSpPr>
          <p:spPr>
            <a:xfrm>
              <a:off x="8533447" y="11293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8 w 57150"/>
                <a:gd name="connsiteY3" fmla="*/ 3524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7468" y="5397"/>
                    <a:pt x="58103" y="5397"/>
                  </a:cubicBezTo>
                  <a:lnTo>
                    <a:pt x="6668" y="35242"/>
                  </a:lnTo>
                  <a:cubicBezTo>
                    <a:pt x="6033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8" name="任意多边形: 形状 1407"/>
            <p:cNvSpPr/>
            <p:nvPr/>
          </p:nvSpPr>
          <p:spPr>
            <a:xfrm>
              <a:off x="8535353" y="113061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5397 h 38100"/>
                <a:gd name="connsiteX3" fmla="*/ 6667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7467" y="5397"/>
                    <a:pt x="58103" y="5397"/>
                  </a:cubicBezTo>
                  <a:lnTo>
                    <a:pt x="6667" y="35243"/>
                  </a:lnTo>
                  <a:cubicBezTo>
                    <a:pt x="6032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9" name="任意多边形: 形状 1408"/>
            <p:cNvSpPr/>
            <p:nvPr/>
          </p:nvSpPr>
          <p:spPr>
            <a:xfrm>
              <a:off x="8537257" y="11312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8 w 57150"/>
                <a:gd name="connsiteY1" fmla="*/ 4763 h 38100"/>
                <a:gd name="connsiteX2" fmla="*/ 58103 w 57150"/>
                <a:gd name="connsiteY2" fmla="*/ 5398 h 38100"/>
                <a:gd name="connsiteX3" fmla="*/ 6668 w 57150"/>
                <a:gd name="connsiteY3" fmla="*/ 3524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4763"/>
                    <a:pt x="57468" y="5398"/>
                    <a:pt x="58103" y="5398"/>
                  </a:cubicBezTo>
                  <a:lnTo>
                    <a:pt x="6668" y="35243"/>
                  </a:lnTo>
                  <a:cubicBezTo>
                    <a:pt x="5398" y="35243"/>
                    <a:pt x="476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0" name="任意多边形: 形状 1409"/>
            <p:cNvSpPr/>
            <p:nvPr/>
          </p:nvSpPr>
          <p:spPr>
            <a:xfrm>
              <a:off x="8538528" y="11325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5397 h 38100"/>
                <a:gd name="connsiteX3" fmla="*/ 58103 w 57150"/>
                <a:gd name="connsiteY3" fmla="*/ 5397 h 38100"/>
                <a:gd name="connsiteX4" fmla="*/ 6667 w 57150"/>
                <a:gd name="connsiteY4" fmla="*/ 35242 h 38100"/>
                <a:gd name="connsiteX5" fmla="*/ 6032 w 57150"/>
                <a:gd name="connsiteY5" fmla="*/ 35242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6832" y="5397"/>
                    <a:pt x="57467" y="5397"/>
                  </a:cubicBezTo>
                  <a:cubicBezTo>
                    <a:pt x="57467" y="5397"/>
                    <a:pt x="57467" y="5397"/>
                    <a:pt x="58103" y="5397"/>
                  </a:cubicBezTo>
                  <a:lnTo>
                    <a:pt x="6667" y="35242"/>
                  </a:lnTo>
                  <a:cubicBezTo>
                    <a:pt x="6667" y="35242"/>
                    <a:pt x="6667" y="35242"/>
                    <a:pt x="6032" y="35242"/>
                  </a:cubicBezTo>
                  <a:cubicBezTo>
                    <a:pt x="6032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1" name="任意多边形: 形状 1410"/>
            <p:cNvSpPr/>
            <p:nvPr/>
          </p:nvSpPr>
          <p:spPr>
            <a:xfrm>
              <a:off x="8540432" y="113315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6032 h 38100"/>
                <a:gd name="connsiteX3" fmla="*/ 6668 w 57150"/>
                <a:gd name="connsiteY3" fmla="*/ 3587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8"/>
                    <a:pt x="57468" y="5398"/>
                    <a:pt x="58103" y="6032"/>
                  </a:cubicBezTo>
                  <a:lnTo>
                    <a:pt x="6668" y="35878"/>
                  </a:lnTo>
                  <a:cubicBezTo>
                    <a:pt x="6033" y="35243"/>
                    <a:pt x="539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2" name="任意多边形: 形状 1411"/>
            <p:cNvSpPr/>
            <p:nvPr/>
          </p:nvSpPr>
          <p:spPr>
            <a:xfrm>
              <a:off x="8542338" y="113442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033 h 38100"/>
                <a:gd name="connsiteX3" fmla="*/ 6668 w 57150"/>
                <a:gd name="connsiteY3" fmla="*/ 3587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8" y="5398"/>
                    <a:pt x="58103" y="6033"/>
                  </a:cubicBezTo>
                  <a:lnTo>
                    <a:pt x="6668" y="35878"/>
                  </a:lnTo>
                  <a:cubicBezTo>
                    <a:pt x="6032" y="3524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3" name="任意多边形: 形状 1412"/>
            <p:cNvSpPr/>
            <p:nvPr/>
          </p:nvSpPr>
          <p:spPr>
            <a:xfrm>
              <a:off x="8544243" y="11356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6032 h 38100"/>
                <a:gd name="connsiteX3" fmla="*/ 6667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7" y="5397"/>
                    <a:pt x="58102" y="6032"/>
                  </a:cubicBezTo>
                  <a:lnTo>
                    <a:pt x="6667" y="35877"/>
                  </a:lnTo>
                  <a:cubicBezTo>
                    <a:pt x="6032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4" name="任意多边形: 形状 1413"/>
            <p:cNvSpPr/>
            <p:nvPr/>
          </p:nvSpPr>
          <p:spPr>
            <a:xfrm>
              <a:off x="8546147" y="113696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032 h 38100"/>
                <a:gd name="connsiteX3" fmla="*/ 6668 w 57150"/>
                <a:gd name="connsiteY3" fmla="*/ 3587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7468" y="6032"/>
                    <a:pt x="58103" y="6032"/>
                  </a:cubicBezTo>
                  <a:lnTo>
                    <a:pt x="6668" y="35877"/>
                  </a:lnTo>
                  <a:cubicBezTo>
                    <a:pt x="6033" y="35877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5" name="任意多边形: 形状 1414"/>
            <p:cNvSpPr/>
            <p:nvPr/>
          </p:nvSpPr>
          <p:spPr>
            <a:xfrm>
              <a:off x="8548053" y="113823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8 h 38100"/>
                <a:gd name="connsiteX3" fmla="*/ 6667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7467" y="6032"/>
                    <a:pt x="58103" y="6668"/>
                  </a:cubicBezTo>
                  <a:lnTo>
                    <a:pt x="6667" y="36513"/>
                  </a:lnTo>
                  <a:cubicBezTo>
                    <a:pt x="6032" y="35877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6" name="任意多边形: 形状 1415"/>
            <p:cNvSpPr/>
            <p:nvPr/>
          </p:nvSpPr>
          <p:spPr>
            <a:xfrm>
              <a:off x="8549957" y="114014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6668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7468" y="6032"/>
                    <a:pt x="58103" y="6668"/>
                  </a:cubicBezTo>
                  <a:lnTo>
                    <a:pt x="6668" y="36513"/>
                  </a:lnTo>
                  <a:cubicBezTo>
                    <a:pt x="6033" y="35877"/>
                    <a:pt x="539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7" name="任意多边形: 形状 1416"/>
            <p:cNvSpPr/>
            <p:nvPr/>
          </p:nvSpPr>
          <p:spPr>
            <a:xfrm>
              <a:off x="8551863" y="11420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668" y="35877"/>
                    <a:pt x="6032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8" name="任意多边形: 形状 1417"/>
            <p:cNvSpPr/>
            <p:nvPr/>
          </p:nvSpPr>
          <p:spPr>
            <a:xfrm>
              <a:off x="8554403" y="11439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8103 w 57150"/>
                <a:gd name="connsiteY2" fmla="*/ 6668 h 38100"/>
                <a:gd name="connsiteX3" fmla="*/ 6667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033"/>
                    <a:pt x="58103" y="6668"/>
                  </a:cubicBezTo>
                  <a:lnTo>
                    <a:pt x="6667" y="36513"/>
                  </a:lnTo>
                  <a:cubicBezTo>
                    <a:pt x="6032" y="35243"/>
                    <a:pt x="539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9" name="任意多边形: 形状 1418"/>
            <p:cNvSpPr/>
            <p:nvPr/>
          </p:nvSpPr>
          <p:spPr>
            <a:xfrm>
              <a:off x="8556307" y="11452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6667 h 38100"/>
                <a:gd name="connsiteX3" fmla="*/ 6668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7468" y="6032"/>
                    <a:pt x="58103" y="6667"/>
                  </a:cubicBezTo>
                  <a:lnTo>
                    <a:pt x="6668" y="36513"/>
                  </a:lnTo>
                  <a:cubicBezTo>
                    <a:pt x="6033" y="36513"/>
                    <a:pt x="5398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0" name="任意多边形: 形状 1419"/>
            <p:cNvSpPr/>
            <p:nvPr/>
          </p:nvSpPr>
          <p:spPr>
            <a:xfrm>
              <a:off x="8558213" y="114776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5398 h 38100"/>
                <a:gd name="connsiteX3" fmla="*/ 4763 w 57150"/>
                <a:gd name="connsiteY3" fmla="*/ 3460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4763"/>
                    <a:pt x="56197" y="4763"/>
                    <a:pt x="56832" y="5398"/>
                  </a:cubicBezTo>
                  <a:lnTo>
                    <a:pt x="4763" y="34607"/>
                  </a:lnTo>
                  <a:cubicBezTo>
                    <a:pt x="4763" y="34607"/>
                    <a:pt x="4763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1" name="任意多边形: 形状 1420"/>
            <p:cNvSpPr/>
            <p:nvPr/>
          </p:nvSpPr>
          <p:spPr>
            <a:xfrm>
              <a:off x="8587422" y="1079818"/>
              <a:ext cx="63500" cy="38100"/>
            </a:xfrm>
            <a:custGeom>
              <a:avLst/>
              <a:gdLst>
                <a:gd name="connsiteX0" fmla="*/ 4763 w 63500"/>
                <a:gd name="connsiteY0" fmla="*/ 38418 h 38100"/>
                <a:gd name="connsiteX1" fmla="*/ 56197 w 63500"/>
                <a:gd name="connsiteY1" fmla="*/ 8572 h 38100"/>
                <a:gd name="connsiteX2" fmla="*/ 64453 w 63500"/>
                <a:gd name="connsiteY2" fmla="*/ 4763 h 38100"/>
                <a:gd name="connsiteX3" fmla="*/ 13018 w 63500"/>
                <a:gd name="connsiteY3" fmla="*/ 34607 h 38100"/>
                <a:gd name="connsiteX4" fmla="*/ 4763 w 63500"/>
                <a:gd name="connsiteY4" fmla="*/ 3841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8418"/>
                  </a:moveTo>
                  <a:lnTo>
                    <a:pt x="56197" y="8572"/>
                  </a:lnTo>
                  <a:cubicBezTo>
                    <a:pt x="58738" y="7302"/>
                    <a:pt x="61913" y="6032"/>
                    <a:pt x="64453" y="4763"/>
                  </a:cubicBezTo>
                  <a:lnTo>
                    <a:pt x="13018" y="34607"/>
                  </a:lnTo>
                  <a:cubicBezTo>
                    <a:pt x="9843" y="35877"/>
                    <a:pt x="7303" y="37147"/>
                    <a:pt x="4763" y="3841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2" name="任意多边形: 形状 1421"/>
            <p:cNvSpPr/>
            <p:nvPr/>
          </p:nvSpPr>
          <p:spPr>
            <a:xfrm>
              <a:off x="8595678" y="1077913"/>
              <a:ext cx="63500" cy="38100"/>
            </a:xfrm>
            <a:custGeom>
              <a:avLst/>
              <a:gdLst>
                <a:gd name="connsiteX0" fmla="*/ 4763 w 63500"/>
                <a:gd name="connsiteY0" fmla="*/ 36513 h 38100"/>
                <a:gd name="connsiteX1" fmla="*/ 56197 w 63500"/>
                <a:gd name="connsiteY1" fmla="*/ 6668 h 38100"/>
                <a:gd name="connsiteX2" fmla="*/ 63182 w 63500"/>
                <a:gd name="connsiteY2" fmla="*/ 4763 h 38100"/>
                <a:gd name="connsiteX3" fmla="*/ 11747 w 63500"/>
                <a:gd name="connsiteY3" fmla="*/ 34607 h 38100"/>
                <a:gd name="connsiteX4" fmla="*/ 4763 w 63500"/>
                <a:gd name="connsiteY4" fmla="*/ 3651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6513"/>
                  </a:moveTo>
                  <a:lnTo>
                    <a:pt x="56197" y="6668"/>
                  </a:lnTo>
                  <a:cubicBezTo>
                    <a:pt x="58738" y="6032"/>
                    <a:pt x="60642" y="5398"/>
                    <a:pt x="63182" y="4763"/>
                  </a:cubicBezTo>
                  <a:lnTo>
                    <a:pt x="11747" y="34607"/>
                  </a:lnTo>
                  <a:cubicBezTo>
                    <a:pt x="9207" y="35243"/>
                    <a:pt x="7303" y="35877"/>
                    <a:pt x="4763" y="3651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3" name="任意多边形: 形状 1422"/>
            <p:cNvSpPr/>
            <p:nvPr/>
          </p:nvSpPr>
          <p:spPr>
            <a:xfrm>
              <a:off x="8602663" y="1077277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7 w 63500"/>
                <a:gd name="connsiteY1" fmla="*/ 5398 h 38100"/>
                <a:gd name="connsiteX2" fmla="*/ 61913 w 63500"/>
                <a:gd name="connsiteY2" fmla="*/ 4763 h 38100"/>
                <a:gd name="connsiteX3" fmla="*/ 10478 w 63500"/>
                <a:gd name="connsiteY3" fmla="*/ 34608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7" y="5398"/>
                  </a:lnTo>
                  <a:cubicBezTo>
                    <a:pt x="58103" y="4763"/>
                    <a:pt x="60007" y="4763"/>
                    <a:pt x="61913" y="4763"/>
                  </a:cubicBezTo>
                  <a:lnTo>
                    <a:pt x="10478" y="34608"/>
                  </a:lnTo>
                  <a:cubicBezTo>
                    <a:pt x="9207" y="34608"/>
                    <a:pt x="6668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4" name="任意多边形: 形状 1423"/>
            <p:cNvSpPr/>
            <p:nvPr/>
          </p:nvSpPr>
          <p:spPr>
            <a:xfrm>
              <a:off x="8609013" y="10772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1278 w 63500"/>
                <a:gd name="connsiteY2" fmla="*/ 4763 h 38100"/>
                <a:gd name="connsiteX3" fmla="*/ 9843 w 63500"/>
                <a:gd name="connsiteY3" fmla="*/ 3460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8103" y="4763"/>
                    <a:pt x="60007" y="4763"/>
                    <a:pt x="61278" y="4763"/>
                  </a:cubicBezTo>
                  <a:lnTo>
                    <a:pt x="9843" y="34608"/>
                  </a:lnTo>
                  <a:cubicBezTo>
                    <a:pt x="7938" y="34608"/>
                    <a:pt x="6032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5" name="任意多边形: 形状 1424"/>
            <p:cNvSpPr/>
            <p:nvPr/>
          </p:nvSpPr>
          <p:spPr>
            <a:xfrm>
              <a:off x="8614093" y="10772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1277 w 63500"/>
                <a:gd name="connsiteY2" fmla="*/ 4763 h 38100"/>
                <a:gd name="connsiteX3" fmla="*/ 9842 w 63500"/>
                <a:gd name="connsiteY3" fmla="*/ 3460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8102" y="4763"/>
                    <a:pt x="59372" y="4763"/>
                    <a:pt x="61277" y="4763"/>
                  </a:cubicBezTo>
                  <a:lnTo>
                    <a:pt x="9842" y="34608"/>
                  </a:lnTo>
                  <a:cubicBezTo>
                    <a:pt x="7938" y="34608"/>
                    <a:pt x="6667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6" name="任意多边形: 形状 1425"/>
            <p:cNvSpPr/>
            <p:nvPr/>
          </p:nvSpPr>
          <p:spPr>
            <a:xfrm>
              <a:off x="8619172" y="10772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3 w 63500"/>
                <a:gd name="connsiteY2" fmla="*/ 5398 h 38100"/>
                <a:gd name="connsiteX3" fmla="*/ 9208 w 63500"/>
                <a:gd name="connsiteY3" fmla="*/ 3524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4763"/>
                    <a:pt x="59372" y="4763"/>
                    <a:pt x="60643" y="5398"/>
                  </a:cubicBezTo>
                  <a:lnTo>
                    <a:pt x="9208" y="35243"/>
                  </a:lnTo>
                  <a:cubicBezTo>
                    <a:pt x="7938" y="34608"/>
                    <a:pt x="6033" y="3460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7" name="任意多边形: 形状 1426"/>
            <p:cNvSpPr/>
            <p:nvPr/>
          </p:nvSpPr>
          <p:spPr>
            <a:xfrm>
              <a:off x="8623618" y="107791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2 w 63500"/>
                <a:gd name="connsiteY2" fmla="*/ 5398 h 38100"/>
                <a:gd name="connsiteX3" fmla="*/ 9207 w 63500"/>
                <a:gd name="connsiteY3" fmla="*/ 3524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4763"/>
                    <a:pt x="59372" y="5398"/>
                    <a:pt x="60642" y="5398"/>
                  </a:cubicBezTo>
                  <a:lnTo>
                    <a:pt x="9207" y="35243"/>
                  </a:lnTo>
                  <a:cubicBezTo>
                    <a:pt x="7938" y="34607"/>
                    <a:pt x="666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8" name="任意多边形: 形状 1427"/>
            <p:cNvSpPr/>
            <p:nvPr/>
          </p:nvSpPr>
          <p:spPr>
            <a:xfrm>
              <a:off x="8628063" y="10785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6032 h 38100"/>
                <a:gd name="connsiteX3" fmla="*/ 9207 w 63500"/>
                <a:gd name="connsiteY3" fmla="*/ 3587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4763"/>
                    <a:pt x="59372" y="5397"/>
                    <a:pt x="60643" y="6032"/>
                  </a:cubicBezTo>
                  <a:lnTo>
                    <a:pt x="9207" y="35877"/>
                  </a:lnTo>
                  <a:cubicBezTo>
                    <a:pt x="7938" y="35242"/>
                    <a:pt x="666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9" name="任意多边形: 形状 1428"/>
            <p:cNvSpPr/>
            <p:nvPr/>
          </p:nvSpPr>
          <p:spPr>
            <a:xfrm>
              <a:off x="8632507" y="107918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643 w 63500"/>
                <a:gd name="connsiteY2" fmla="*/ 6032 h 38100"/>
                <a:gd name="connsiteX3" fmla="*/ 9208 w 63500"/>
                <a:gd name="connsiteY3" fmla="*/ 3587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5398"/>
                    <a:pt x="59373" y="5398"/>
                    <a:pt x="60643" y="6032"/>
                  </a:cubicBezTo>
                  <a:lnTo>
                    <a:pt x="9208" y="35878"/>
                  </a:lnTo>
                  <a:cubicBezTo>
                    <a:pt x="7938" y="35243"/>
                    <a:pt x="666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0" name="任意多边形: 形状 1429"/>
            <p:cNvSpPr/>
            <p:nvPr/>
          </p:nvSpPr>
          <p:spPr>
            <a:xfrm>
              <a:off x="8636953" y="108045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6033 h 38100"/>
                <a:gd name="connsiteX3" fmla="*/ 9207 w 63500"/>
                <a:gd name="connsiteY3" fmla="*/ 3587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5398"/>
                    <a:pt x="58738" y="5398"/>
                    <a:pt x="60642" y="6033"/>
                  </a:cubicBezTo>
                  <a:lnTo>
                    <a:pt x="9207" y="35878"/>
                  </a:lnTo>
                  <a:cubicBezTo>
                    <a:pt x="7938" y="35878"/>
                    <a:pt x="6032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1" name="任意多边形: 形状 1430"/>
            <p:cNvSpPr/>
            <p:nvPr/>
          </p:nvSpPr>
          <p:spPr>
            <a:xfrm>
              <a:off x="8641397" y="108172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6667 h 38100"/>
                <a:gd name="connsiteX3" fmla="*/ 9208 w 63500"/>
                <a:gd name="connsiteY3" fmla="*/ 3651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5397"/>
                    <a:pt x="58738" y="6032"/>
                    <a:pt x="60643" y="6667"/>
                  </a:cubicBezTo>
                  <a:lnTo>
                    <a:pt x="9208" y="36513"/>
                  </a:lnTo>
                  <a:cubicBezTo>
                    <a:pt x="7303" y="35877"/>
                    <a:pt x="603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2" name="任意多边形: 形状 1431"/>
            <p:cNvSpPr/>
            <p:nvPr/>
          </p:nvSpPr>
          <p:spPr>
            <a:xfrm>
              <a:off x="8645843" y="10836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6668 h 38100"/>
                <a:gd name="connsiteX3" fmla="*/ 9207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5398"/>
                    <a:pt x="58738" y="6033"/>
                    <a:pt x="60642" y="6668"/>
                  </a:cubicBezTo>
                  <a:lnTo>
                    <a:pt x="9207" y="36513"/>
                  </a:lnTo>
                  <a:cubicBezTo>
                    <a:pt x="7302" y="35878"/>
                    <a:pt x="6032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3" name="任意多边形: 形状 1432"/>
            <p:cNvSpPr/>
            <p:nvPr/>
          </p:nvSpPr>
          <p:spPr>
            <a:xfrm>
              <a:off x="8649653" y="108553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2 w 63500"/>
                <a:gd name="connsiteY2" fmla="*/ 6668 h 38100"/>
                <a:gd name="connsiteX3" fmla="*/ 9207 w 63500"/>
                <a:gd name="connsiteY3" fmla="*/ 3651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5398"/>
                    <a:pt x="59372" y="6032"/>
                    <a:pt x="60642" y="6668"/>
                  </a:cubicBezTo>
                  <a:lnTo>
                    <a:pt x="9207" y="36513"/>
                  </a:lnTo>
                  <a:cubicBezTo>
                    <a:pt x="7938" y="35878"/>
                    <a:pt x="666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4" name="任意多边形: 形状 1433"/>
            <p:cNvSpPr/>
            <p:nvPr/>
          </p:nvSpPr>
          <p:spPr>
            <a:xfrm>
              <a:off x="8654097" y="108743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7302 h 38100"/>
                <a:gd name="connsiteX3" fmla="*/ 9208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5398"/>
                    <a:pt x="59372" y="6032"/>
                    <a:pt x="60643" y="7302"/>
                  </a:cubicBezTo>
                  <a:lnTo>
                    <a:pt x="9208" y="37148"/>
                  </a:lnTo>
                  <a:cubicBezTo>
                    <a:pt x="7938" y="35877"/>
                    <a:pt x="666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5" name="任意多边形: 形状 1434"/>
            <p:cNvSpPr/>
            <p:nvPr/>
          </p:nvSpPr>
          <p:spPr>
            <a:xfrm>
              <a:off x="8658543" y="10899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9372 w 63500"/>
                <a:gd name="connsiteY2" fmla="*/ 6668 h 38100"/>
                <a:gd name="connsiteX3" fmla="*/ 7938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5398"/>
                    <a:pt x="58738" y="6033"/>
                    <a:pt x="59372" y="6668"/>
                  </a:cubicBezTo>
                  <a:lnTo>
                    <a:pt x="7938" y="36513"/>
                  </a:lnTo>
                  <a:cubicBezTo>
                    <a:pt x="7302" y="35878"/>
                    <a:pt x="6032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6" name="任意多边形: 形状 1435"/>
            <p:cNvSpPr/>
            <p:nvPr/>
          </p:nvSpPr>
          <p:spPr>
            <a:xfrm>
              <a:off x="8662353" y="1091882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5398 h 38100"/>
                <a:gd name="connsiteX3" fmla="*/ 6032 w 57150"/>
                <a:gd name="connsiteY3" fmla="*/ 3524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6832" y="5398"/>
                    <a:pt x="57467" y="5398"/>
                  </a:cubicBezTo>
                  <a:lnTo>
                    <a:pt x="6032" y="35243"/>
                  </a:lnTo>
                  <a:cubicBezTo>
                    <a:pt x="5397" y="34607"/>
                    <a:pt x="4763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7" name="任意多边形: 形状 1436"/>
            <p:cNvSpPr/>
            <p:nvPr/>
          </p:nvSpPr>
          <p:spPr>
            <a:xfrm>
              <a:off x="8662988" y="109251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7302 h 38100"/>
                <a:gd name="connsiteX3" fmla="*/ 9207 w 63500"/>
                <a:gd name="connsiteY3" fmla="*/ 3714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5397"/>
                    <a:pt x="59372" y="6668"/>
                    <a:pt x="60643" y="7302"/>
                  </a:cubicBezTo>
                  <a:lnTo>
                    <a:pt x="9207" y="37147"/>
                  </a:lnTo>
                  <a:cubicBezTo>
                    <a:pt x="7938" y="35877"/>
                    <a:pt x="666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8" name="任意多边形: 形状 1437"/>
            <p:cNvSpPr/>
            <p:nvPr/>
          </p:nvSpPr>
          <p:spPr>
            <a:xfrm>
              <a:off x="8667432" y="1095057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643 w 63500"/>
                <a:gd name="connsiteY2" fmla="*/ 7938 h 38100"/>
                <a:gd name="connsiteX3" fmla="*/ 9208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6032"/>
                    <a:pt x="59373" y="6668"/>
                    <a:pt x="60643" y="7938"/>
                  </a:cubicBezTo>
                  <a:lnTo>
                    <a:pt x="9208" y="37782"/>
                  </a:lnTo>
                  <a:cubicBezTo>
                    <a:pt x="7938" y="36513"/>
                    <a:pt x="666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9" name="任意多边形: 形状 1438"/>
            <p:cNvSpPr/>
            <p:nvPr/>
          </p:nvSpPr>
          <p:spPr>
            <a:xfrm>
              <a:off x="8671878" y="109823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2 w 63500"/>
                <a:gd name="connsiteY2" fmla="*/ 7938 h 38100"/>
                <a:gd name="connsiteX3" fmla="*/ 9207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032"/>
                    <a:pt x="59372" y="6668"/>
                    <a:pt x="60642" y="7938"/>
                  </a:cubicBezTo>
                  <a:lnTo>
                    <a:pt x="9207" y="37782"/>
                  </a:lnTo>
                  <a:cubicBezTo>
                    <a:pt x="7938" y="36513"/>
                    <a:pt x="666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0" name="任意多边形: 形状 1439"/>
            <p:cNvSpPr/>
            <p:nvPr/>
          </p:nvSpPr>
          <p:spPr>
            <a:xfrm>
              <a:off x="8676957" y="1101407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643 w 63500"/>
                <a:gd name="connsiteY2" fmla="*/ 8573 h 38100"/>
                <a:gd name="connsiteX3" fmla="*/ 9208 w 63500"/>
                <a:gd name="connsiteY3" fmla="*/ 3841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6032"/>
                    <a:pt x="59373" y="7303"/>
                    <a:pt x="60643" y="8573"/>
                  </a:cubicBezTo>
                  <a:lnTo>
                    <a:pt x="9208" y="38418"/>
                  </a:lnTo>
                  <a:cubicBezTo>
                    <a:pt x="7938" y="36513"/>
                    <a:pt x="6033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1" name="任意多边形: 形状 1440"/>
            <p:cNvSpPr/>
            <p:nvPr/>
          </p:nvSpPr>
          <p:spPr>
            <a:xfrm>
              <a:off x="8681403" y="110458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2 w 63500"/>
                <a:gd name="connsiteY2" fmla="*/ 8573 h 38100"/>
                <a:gd name="connsiteX3" fmla="*/ 9207 w 63500"/>
                <a:gd name="connsiteY3" fmla="*/ 3841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8103" y="6032"/>
                    <a:pt x="59372" y="7303"/>
                    <a:pt x="60642" y="8573"/>
                  </a:cubicBezTo>
                  <a:lnTo>
                    <a:pt x="9207" y="38418"/>
                  </a:lnTo>
                  <a:cubicBezTo>
                    <a:pt x="7938" y="37148"/>
                    <a:pt x="6667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2" name="任意多边形: 形状 1441"/>
            <p:cNvSpPr/>
            <p:nvPr/>
          </p:nvSpPr>
          <p:spPr>
            <a:xfrm>
              <a:off x="8686482" y="110839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643 w 63500"/>
                <a:gd name="connsiteY2" fmla="*/ 8572 h 38100"/>
                <a:gd name="connsiteX3" fmla="*/ 9208 w 63500"/>
                <a:gd name="connsiteY3" fmla="*/ 3841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8103" y="6032"/>
                    <a:pt x="59373" y="7302"/>
                    <a:pt x="60643" y="8572"/>
                  </a:cubicBezTo>
                  <a:lnTo>
                    <a:pt x="9208" y="38418"/>
                  </a:lnTo>
                  <a:cubicBezTo>
                    <a:pt x="7938" y="37782"/>
                    <a:pt x="6033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3" name="任意多边形: 形状 1442"/>
            <p:cNvSpPr/>
            <p:nvPr/>
          </p:nvSpPr>
          <p:spPr>
            <a:xfrm>
              <a:off x="8690928" y="111283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2 w 63500"/>
                <a:gd name="connsiteY2" fmla="*/ 9207 h 38100"/>
                <a:gd name="connsiteX3" fmla="*/ 9207 w 63500"/>
                <a:gd name="connsiteY3" fmla="*/ 3905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032"/>
                    <a:pt x="59372" y="7938"/>
                    <a:pt x="60642" y="9207"/>
                  </a:cubicBezTo>
                  <a:lnTo>
                    <a:pt x="9207" y="39052"/>
                  </a:lnTo>
                  <a:cubicBezTo>
                    <a:pt x="7938" y="37148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4" name="任意多边形: 形状 1443"/>
            <p:cNvSpPr/>
            <p:nvPr/>
          </p:nvSpPr>
          <p:spPr>
            <a:xfrm>
              <a:off x="8695372" y="111728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643 w 63500"/>
                <a:gd name="connsiteY2" fmla="*/ 9207 h 38100"/>
                <a:gd name="connsiteX3" fmla="*/ 9208 w 63500"/>
                <a:gd name="connsiteY3" fmla="*/ 3905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9372" y="7938"/>
                    <a:pt x="60643" y="9207"/>
                  </a:cubicBezTo>
                  <a:lnTo>
                    <a:pt x="9208" y="39053"/>
                  </a:lnTo>
                  <a:cubicBezTo>
                    <a:pt x="7938" y="37148"/>
                    <a:pt x="6668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5" name="任意多边形: 形状 1444"/>
            <p:cNvSpPr/>
            <p:nvPr/>
          </p:nvSpPr>
          <p:spPr>
            <a:xfrm>
              <a:off x="8699818" y="11217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60642 w 63500"/>
                <a:gd name="connsiteY2" fmla="*/ 9208 h 38100"/>
                <a:gd name="connsiteX3" fmla="*/ 9207 w 63500"/>
                <a:gd name="connsiteY3" fmla="*/ 3905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033"/>
                    <a:pt x="59372" y="7938"/>
                    <a:pt x="60642" y="9208"/>
                  </a:cubicBezTo>
                  <a:lnTo>
                    <a:pt x="9207" y="39053"/>
                  </a:lnTo>
                  <a:cubicBezTo>
                    <a:pt x="7938" y="37148"/>
                    <a:pt x="6667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6" name="任意多边形: 形状 1445"/>
            <p:cNvSpPr/>
            <p:nvPr/>
          </p:nvSpPr>
          <p:spPr>
            <a:xfrm>
              <a:off x="8704263" y="112617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60007 w 63500"/>
                <a:gd name="connsiteY2" fmla="*/ 9207 h 38100"/>
                <a:gd name="connsiteX3" fmla="*/ 8572 w 63500"/>
                <a:gd name="connsiteY3" fmla="*/ 3905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8738" y="7938"/>
                    <a:pt x="60007" y="9207"/>
                  </a:cubicBezTo>
                  <a:lnTo>
                    <a:pt x="8572" y="39052"/>
                  </a:lnTo>
                  <a:cubicBezTo>
                    <a:pt x="7303" y="37782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7" name="任意多边形: 形状 1446"/>
            <p:cNvSpPr/>
            <p:nvPr/>
          </p:nvSpPr>
          <p:spPr>
            <a:xfrm>
              <a:off x="8708707" y="113061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60008 w 63500"/>
                <a:gd name="connsiteY2" fmla="*/ 9207 h 38100"/>
                <a:gd name="connsiteX3" fmla="*/ 8573 w 63500"/>
                <a:gd name="connsiteY3" fmla="*/ 3905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6032"/>
                    <a:pt x="58738" y="7938"/>
                    <a:pt x="60008" y="9207"/>
                  </a:cubicBezTo>
                  <a:lnTo>
                    <a:pt x="8573" y="39052"/>
                  </a:lnTo>
                  <a:cubicBezTo>
                    <a:pt x="7303" y="37782"/>
                    <a:pt x="603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8" name="任意多边形: 形状 1447"/>
            <p:cNvSpPr/>
            <p:nvPr/>
          </p:nvSpPr>
          <p:spPr>
            <a:xfrm>
              <a:off x="8712518" y="113506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0007 w 63500"/>
                <a:gd name="connsiteY2" fmla="*/ 9843 h 44450"/>
                <a:gd name="connsiteX3" fmla="*/ 8572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8"/>
                    <a:pt x="58738" y="7938"/>
                    <a:pt x="60007" y="9843"/>
                  </a:cubicBezTo>
                  <a:lnTo>
                    <a:pt x="8572" y="39688"/>
                  </a:lnTo>
                  <a:cubicBezTo>
                    <a:pt x="7302" y="38418"/>
                    <a:pt x="6032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9" name="任意多边形: 形状 1448"/>
            <p:cNvSpPr/>
            <p:nvPr/>
          </p:nvSpPr>
          <p:spPr>
            <a:xfrm>
              <a:off x="8716328" y="114014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0642 w 63500"/>
                <a:gd name="connsiteY2" fmla="*/ 10477 h 44450"/>
                <a:gd name="connsiteX3" fmla="*/ 9207 w 63500"/>
                <a:gd name="connsiteY3" fmla="*/ 40322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8"/>
                    <a:pt x="59372" y="8572"/>
                    <a:pt x="60642" y="10477"/>
                  </a:cubicBezTo>
                  <a:lnTo>
                    <a:pt x="9207" y="40322"/>
                  </a:lnTo>
                  <a:cubicBezTo>
                    <a:pt x="7938" y="38418"/>
                    <a:pt x="666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0" name="任意多边形: 形状 1449"/>
            <p:cNvSpPr/>
            <p:nvPr/>
          </p:nvSpPr>
          <p:spPr>
            <a:xfrm>
              <a:off x="8720772" y="114649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2547 w 63500"/>
                <a:gd name="connsiteY2" fmla="*/ 13652 h 44450"/>
                <a:gd name="connsiteX3" fmla="*/ 11113 w 63500"/>
                <a:gd name="connsiteY3" fmla="*/ 4349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8103" y="7938"/>
                    <a:pt x="60643" y="10477"/>
                    <a:pt x="62547" y="13652"/>
                  </a:cubicBezTo>
                  <a:lnTo>
                    <a:pt x="11113" y="43497"/>
                  </a:lnTo>
                  <a:cubicBezTo>
                    <a:pt x="9208" y="40322"/>
                    <a:pt x="7303" y="3714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1" name="任意多边形: 形状 1450"/>
            <p:cNvSpPr/>
            <p:nvPr/>
          </p:nvSpPr>
          <p:spPr>
            <a:xfrm>
              <a:off x="8727122" y="1155382"/>
              <a:ext cx="63500" cy="50800"/>
            </a:xfrm>
            <a:custGeom>
              <a:avLst/>
              <a:gdLst>
                <a:gd name="connsiteX0" fmla="*/ 4763 w 63500"/>
                <a:gd name="connsiteY0" fmla="*/ 34607 h 50800"/>
                <a:gd name="connsiteX1" fmla="*/ 56197 w 63500"/>
                <a:gd name="connsiteY1" fmla="*/ 4763 h 50800"/>
                <a:gd name="connsiteX2" fmla="*/ 64453 w 63500"/>
                <a:gd name="connsiteY2" fmla="*/ 18098 h 50800"/>
                <a:gd name="connsiteX3" fmla="*/ 13018 w 63500"/>
                <a:gd name="connsiteY3" fmla="*/ 47943 h 50800"/>
                <a:gd name="connsiteX4" fmla="*/ 4763 w 63500"/>
                <a:gd name="connsiteY4" fmla="*/ 34607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50800">
                  <a:moveTo>
                    <a:pt x="4763" y="34607"/>
                  </a:moveTo>
                  <a:lnTo>
                    <a:pt x="56197" y="4763"/>
                  </a:lnTo>
                  <a:cubicBezTo>
                    <a:pt x="59372" y="9207"/>
                    <a:pt x="61913" y="13653"/>
                    <a:pt x="64453" y="18098"/>
                  </a:cubicBezTo>
                  <a:lnTo>
                    <a:pt x="13018" y="47943"/>
                  </a:lnTo>
                  <a:cubicBezTo>
                    <a:pt x="10478" y="42863"/>
                    <a:pt x="7938" y="3841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2" name="任意多边形: 形状 1451"/>
            <p:cNvSpPr/>
            <p:nvPr/>
          </p:nvSpPr>
          <p:spPr>
            <a:xfrm>
              <a:off x="8735378" y="1168082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1278 w 63500"/>
                <a:gd name="connsiteY2" fmla="*/ 13653 h 44450"/>
                <a:gd name="connsiteX3" fmla="*/ 9842 w 63500"/>
                <a:gd name="connsiteY3" fmla="*/ 4349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8103" y="7938"/>
                    <a:pt x="59372" y="10478"/>
                    <a:pt x="61278" y="13653"/>
                  </a:cubicBezTo>
                  <a:lnTo>
                    <a:pt x="9842" y="43498"/>
                  </a:lnTo>
                  <a:cubicBezTo>
                    <a:pt x="7938" y="40323"/>
                    <a:pt x="6667" y="3778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3" name="任意多边形: 形状 1452"/>
            <p:cNvSpPr/>
            <p:nvPr/>
          </p:nvSpPr>
          <p:spPr>
            <a:xfrm>
              <a:off x="8740457" y="117697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8 w 63500"/>
                <a:gd name="connsiteY1" fmla="*/ 4763 h 44450"/>
                <a:gd name="connsiteX2" fmla="*/ 59373 w 63500"/>
                <a:gd name="connsiteY2" fmla="*/ 11113 h 44450"/>
                <a:gd name="connsiteX3" fmla="*/ 7938 w 63500"/>
                <a:gd name="connsiteY3" fmla="*/ 4095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6667"/>
                    <a:pt x="58103" y="8572"/>
                    <a:pt x="59373" y="11113"/>
                  </a:cubicBezTo>
                  <a:lnTo>
                    <a:pt x="7938" y="40957"/>
                  </a:lnTo>
                  <a:cubicBezTo>
                    <a:pt x="6668" y="38417"/>
                    <a:pt x="6033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4" name="任意多边形: 形状 1453"/>
            <p:cNvSpPr/>
            <p:nvPr/>
          </p:nvSpPr>
          <p:spPr>
            <a:xfrm>
              <a:off x="8743632" y="118268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8 w 63500"/>
                <a:gd name="connsiteY1" fmla="*/ 4763 h 44450"/>
                <a:gd name="connsiteX2" fmla="*/ 58738 w 63500"/>
                <a:gd name="connsiteY2" fmla="*/ 9843 h 44450"/>
                <a:gd name="connsiteX3" fmla="*/ 7303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6668"/>
                    <a:pt x="58103" y="7938"/>
                    <a:pt x="58738" y="9843"/>
                  </a:cubicBezTo>
                  <a:lnTo>
                    <a:pt x="7303" y="39688"/>
                  </a:lnTo>
                  <a:cubicBezTo>
                    <a:pt x="6033" y="38418"/>
                    <a:pt x="5398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5" name="任意多边形: 形状 1454"/>
            <p:cNvSpPr/>
            <p:nvPr/>
          </p:nvSpPr>
          <p:spPr>
            <a:xfrm>
              <a:off x="8746172" y="118776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58738 w 63500"/>
                <a:gd name="connsiteY2" fmla="*/ 9843 h 44450"/>
                <a:gd name="connsiteX3" fmla="*/ 7303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668"/>
                    <a:pt x="57468" y="7938"/>
                    <a:pt x="58738" y="9843"/>
                  </a:cubicBezTo>
                  <a:lnTo>
                    <a:pt x="7303" y="39688"/>
                  </a:lnTo>
                  <a:cubicBezTo>
                    <a:pt x="6033" y="38418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6" name="任意多边形: 形状 1455"/>
            <p:cNvSpPr/>
            <p:nvPr/>
          </p:nvSpPr>
          <p:spPr>
            <a:xfrm>
              <a:off x="8748078" y="11928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3 w 57150"/>
                <a:gd name="connsiteY2" fmla="*/ 9207 h 38100"/>
                <a:gd name="connsiteX3" fmla="*/ 6667 w 57150"/>
                <a:gd name="connsiteY3" fmla="*/ 3905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7" y="7938"/>
                    <a:pt x="58103" y="9207"/>
                  </a:cubicBezTo>
                  <a:lnTo>
                    <a:pt x="6667" y="39052"/>
                  </a:lnTo>
                  <a:cubicBezTo>
                    <a:pt x="6032" y="37782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7" name="任意多边形: 形状 1456"/>
            <p:cNvSpPr/>
            <p:nvPr/>
          </p:nvSpPr>
          <p:spPr>
            <a:xfrm>
              <a:off x="8749982" y="1197927"/>
              <a:ext cx="57150" cy="44450"/>
            </a:xfrm>
            <a:custGeom>
              <a:avLst/>
              <a:gdLst>
                <a:gd name="connsiteX0" fmla="*/ 4763 w 57150"/>
                <a:gd name="connsiteY0" fmla="*/ 34608 h 44450"/>
                <a:gd name="connsiteX1" fmla="*/ 56198 w 57150"/>
                <a:gd name="connsiteY1" fmla="*/ 4763 h 44450"/>
                <a:gd name="connsiteX2" fmla="*/ 58103 w 57150"/>
                <a:gd name="connsiteY2" fmla="*/ 9843 h 44450"/>
                <a:gd name="connsiteX3" fmla="*/ 6668 w 57150"/>
                <a:gd name="connsiteY3" fmla="*/ 39688 h 44450"/>
                <a:gd name="connsiteX4" fmla="*/ 4763 w 5715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6668"/>
                    <a:pt x="57468" y="7938"/>
                    <a:pt x="58103" y="9843"/>
                  </a:cubicBezTo>
                  <a:lnTo>
                    <a:pt x="6668" y="39688"/>
                  </a:lnTo>
                  <a:cubicBezTo>
                    <a:pt x="6033" y="37783"/>
                    <a:pt x="5398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8" name="任意多边形: 形状 1457"/>
            <p:cNvSpPr/>
            <p:nvPr/>
          </p:nvSpPr>
          <p:spPr>
            <a:xfrm>
              <a:off x="8751888" y="1202373"/>
              <a:ext cx="57150" cy="44450"/>
            </a:xfrm>
            <a:custGeom>
              <a:avLst/>
              <a:gdLst>
                <a:gd name="connsiteX0" fmla="*/ 4763 w 57150"/>
                <a:gd name="connsiteY0" fmla="*/ 34607 h 44450"/>
                <a:gd name="connsiteX1" fmla="*/ 56197 w 57150"/>
                <a:gd name="connsiteY1" fmla="*/ 4763 h 44450"/>
                <a:gd name="connsiteX2" fmla="*/ 58103 w 57150"/>
                <a:gd name="connsiteY2" fmla="*/ 9842 h 44450"/>
                <a:gd name="connsiteX3" fmla="*/ 6668 w 57150"/>
                <a:gd name="connsiteY3" fmla="*/ 39688 h 44450"/>
                <a:gd name="connsiteX4" fmla="*/ 4763 w 5715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667"/>
                    <a:pt x="57468" y="7938"/>
                    <a:pt x="58103" y="9842"/>
                  </a:cubicBezTo>
                  <a:lnTo>
                    <a:pt x="6668" y="39688"/>
                  </a:lnTo>
                  <a:cubicBezTo>
                    <a:pt x="6032" y="37782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9" name="任意多边形: 形状 1458"/>
            <p:cNvSpPr/>
            <p:nvPr/>
          </p:nvSpPr>
          <p:spPr>
            <a:xfrm>
              <a:off x="8753793" y="1207452"/>
              <a:ext cx="57150" cy="44450"/>
            </a:xfrm>
            <a:custGeom>
              <a:avLst/>
              <a:gdLst>
                <a:gd name="connsiteX0" fmla="*/ 4763 w 57150"/>
                <a:gd name="connsiteY0" fmla="*/ 34608 h 44450"/>
                <a:gd name="connsiteX1" fmla="*/ 56197 w 57150"/>
                <a:gd name="connsiteY1" fmla="*/ 4763 h 44450"/>
                <a:gd name="connsiteX2" fmla="*/ 58102 w 57150"/>
                <a:gd name="connsiteY2" fmla="*/ 9843 h 44450"/>
                <a:gd name="connsiteX3" fmla="*/ 6667 w 57150"/>
                <a:gd name="connsiteY3" fmla="*/ 39688 h 44450"/>
                <a:gd name="connsiteX4" fmla="*/ 4763 w 5715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668"/>
                    <a:pt x="57467" y="7938"/>
                    <a:pt x="58102" y="9843"/>
                  </a:cubicBezTo>
                  <a:lnTo>
                    <a:pt x="6667" y="39688"/>
                  </a:lnTo>
                  <a:cubicBezTo>
                    <a:pt x="6032" y="37783"/>
                    <a:pt x="5397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0" name="任意多边形: 形状 1459"/>
            <p:cNvSpPr/>
            <p:nvPr/>
          </p:nvSpPr>
          <p:spPr>
            <a:xfrm>
              <a:off x="8755697" y="1212532"/>
              <a:ext cx="57150" cy="44450"/>
            </a:xfrm>
            <a:custGeom>
              <a:avLst/>
              <a:gdLst>
                <a:gd name="connsiteX0" fmla="*/ 4763 w 57150"/>
                <a:gd name="connsiteY0" fmla="*/ 34607 h 44450"/>
                <a:gd name="connsiteX1" fmla="*/ 56197 w 57150"/>
                <a:gd name="connsiteY1" fmla="*/ 4763 h 44450"/>
                <a:gd name="connsiteX2" fmla="*/ 58103 w 57150"/>
                <a:gd name="connsiteY2" fmla="*/ 9843 h 44450"/>
                <a:gd name="connsiteX3" fmla="*/ 6668 w 57150"/>
                <a:gd name="connsiteY3" fmla="*/ 39688 h 44450"/>
                <a:gd name="connsiteX4" fmla="*/ 4763 w 5715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668"/>
                    <a:pt x="57468" y="7938"/>
                    <a:pt x="58103" y="9843"/>
                  </a:cubicBezTo>
                  <a:lnTo>
                    <a:pt x="6668" y="39688"/>
                  </a:lnTo>
                  <a:cubicBezTo>
                    <a:pt x="6033" y="37782"/>
                    <a:pt x="5397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1" name="任意多边形: 形状 1460"/>
            <p:cNvSpPr/>
            <p:nvPr/>
          </p:nvSpPr>
          <p:spPr>
            <a:xfrm>
              <a:off x="8757603" y="1217613"/>
              <a:ext cx="57150" cy="44450"/>
            </a:xfrm>
            <a:custGeom>
              <a:avLst/>
              <a:gdLst>
                <a:gd name="connsiteX0" fmla="*/ 4763 w 57150"/>
                <a:gd name="connsiteY0" fmla="*/ 34607 h 44450"/>
                <a:gd name="connsiteX1" fmla="*/ 56197 w 57150"/>
                <a:gd name="connsiteY1" fmla="*/ 4763 h 44450"/>
                <a:gd name="connsiteX2" fmla="*/ 57467 w 57150"/>
                <a:gd name="connsiteY2" fmla="*/ 9843 h 44450"/>
                <a:gd name="connsiteX3" fmla="*/ 6032 w 57150"/>
                <a:gd name="connsiteY3" fmla="*/ 39688 h 44450"/>
                <a:gd name="connsiteX4" fmla="*/ 4763 w 5715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668"/>
                    <a:pt x="57467" y="7938"/>
                    <a:pt x="57467" y="9843"/>
                  </a:cubicBezTo>
                  <a:lnTo>
                    <a:pt x="6032" y="39688"/>
                  </a:lnTo>
                  <a:cubicBezTo>
                    <a:pt x="5397" y="37782"/>
                    <a:pt x="4763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2" name="任意多边形: 形状 1461"/>
            <p:cNvSpPr/>
            <p:nvPr/>
          </p:nvSpPr>
          <p:spPr>
            <a:xfrm>
              <a:off x="8758872" y="1222693"/>
              <a:ext cx="57150" cy="44450"/>
            </a:xfrm>
            <a:custGeom>
              <a:avLst/>
              <a:gdLst>
                <a:gd name="connsiteX0" fmla="*/ 4763 w 57150"/>
                <a:gd name="connsiteY0" fmla="*/ 34607 h 44450"/>
                <a:gd name="connsiteX1" fmla="*/ 56197 w 57150"/>
                <a:gd name="connsiteY1" fmla="*/ 4763 h 44450"/>
                <a:gd name="connsiteX2" fmla="*/ 57468 w 57150"/>
                <a:gd name="connsiteY2" fmla="*/ 9843 h 44450"/>
                <a:gd name="connsiteX3" fmla="*/ 6033 w 57150"/>
                <a:gd name="connsiteY3" fmla="*/ 39688 h 44450"/>
                <a:gd name="connsiteX4" fmla="*/ 4763 w 5715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668"/>
                    <a:pt x="56833" y="7938"/>
                    <a:pt x="57468" y="9843"/>
                  </a:cubicBezTo>
                  <a:lnTo>
                    <a:pt x="6033" y="39688"/>
                  </a:lnTo>
                  <a:cubicBezTo>
                    <a:pt x="5397" y="37782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3" name="任意多边形: 形状 1462"/>
            <p:cNvSpPr/>
            <p:nvPr/>
          </p:nvSpPr>
          <p:spPr>
            <a:xfrm>
              <a:off x="8760143" y="12277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8572 h 38100"/>
                <a:gd name="connsiteX3" fmla="*/ 5397 w 57150"/>
                <a:gd name="connsiteY3" fmla="*/ 3841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7302"/>
                    <a:pt x="56832" y="8572"/>
                  </a:cubicBezTo>
                  <a:lnTo>
                    <a:pt x="5397" y="38417"/>
                  </a:lnTo>
                  <a:cubicBezTo>
                    <a:pt x="5397" y="37147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4" name="任意多边形: 形状 1463"/>
            <p:cNvSpPr/>
            <p:nvPr/>
          </p:nvSpPr>
          <p:spPr>
            <a:xfrm>
              <a:off x="8855393" y="134905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6032 h 38100"/>
                <a:gd name="connsiteX3" fmla="*/ 6667 w 57150"/>
                <a:gd name="connsiteY3" fmla="*/ 3587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7467" y="6032"/>
                    <a:pt x="58102" y="6032"/>
                  </a:cubicBezTo>
                  <a:lnTo>
                    <a:pt x="6667" y="35878"/>
                  </a:lnTo>
                  <a:cubicBezTo>
                    <a:pt x="6032" y="3524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5" name="任意多边形: 形状 1464"/>
            <p:cNvSpPr/>
            <p:nvPr/>
          </p:nvSpPr>
          <p:spPr>
            <a:xfrm>
              <a:off x="8857297" y="13503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9372 w 63500"/>
                <a:gd name="connsiteY2" fmla="*/ 7303 h 38100"/>
                <a:gd name="connsiteX3" fmla="*/ 7938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5398"/>
                    <a:pt x="58103" y="6668"/>
                    <a:pt x="59372" y="7303"/>
                  </a:cubicBezTo>
                  <a:lnTo>
                    <a:pt x="7938" y="37148"/>
                  </a:lnTo>
                  <a:cubicBezTo>
                    <a:pt x="7303" y="36513"/>
                    <a:pt x="603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6" name="任意多边形: 形状 1465"/>
            <p:cNvSpPr/>
            <p:nvPr/>
          </p:nvSpPr>
          <p:spPr>
            <a:xfrm>
              <a:off x="8860472" y="135350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9372 w 63500"/>
                <a:gd name="connsiteY2" fmla="*/ 7938 h 38100"/>
                <a:gd name="connsiteX3" fmla="*/ 7938 w 63500"/>
                <a:gd name="connsiteY3" fmla="*/ 3778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7468" y="5398"/>
                    <a:pt x="58103" y="6668"/>
                    <a:pt x="59372" y="7938"/>
                  </a:cubicBezTo>
                  <a:lnTo>
                    <a:pt x="7938" y="37783"/>
                  </a:lnTo>
                  <a:cubicBezTo>
                    <a:pt x="7303" y="36513"/>
                    <a:pt x="603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7" name="任意多边形: 形状 1466"/>
            <p:cNvSpPr/>
            <p:nvPr/>
          </p:nvSpPr>
          <p:spPr>
            <a:xfrm>
              <a:off x="8863647" y="135604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9372 w 63500"/>
                <a:gd name="connsiteY2" fmla="*/ 7938 h 38100"/>
                <a:gd name="connsiteX3" fmla="*/ 7938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8103" y="6668"/>
                    <a:pt x="59372" y="7938"/>
                  </a:cubicBezTo>
                  <a:lnTo>
                    <a:pt x="7938" y="37782"/>
                  </a:lnTo>
                  <a:cubicBezTo>
                    <a:pt x="6668" y="36513"/>
                    <a:pt x="603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8" name="任意多边形: 形状 1467"/>
            <p:cNvSpPr/>
            <p:nvPr/>
          </p:nvSpPr>
          <p:spPr>
            <a:xfrm>
              <a:off x="8866822" y="135921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9372 w 63500"/>
                <a:gd name="connsiteY2" fmla="*/ 7938 h 38100"/>
                <a:gd name="connsiteX3" fmla="*/ 7938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8" y="6032"/>
                    <a:pt x="58103" y="6668"/>
                    <a:pt x="59372" y="7938"/>
                  </a:cubicBezTo>
                  <a:lnTo>
                    <a:pt x="7938" y="37782"/>
                  </a:lnTo>
                  <a:cubicBezTo>
                    <a:pt x="6668" y="3651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9" name="任意多边形: 形状 1468"/>
            <p:cNvSpPr/>
            <p:nvPr/>
          </p:nvSpPr>
          <p:spPr>
            <a:xfrm>
              <a:off x="8869363" y="136239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8103" y="6668"/>
                    <a:pt x="58738" y="7938"/>
                  </a:cubicBezTo>
                  <a:lnTo>
                    <a:pt x="7303" y="37782"/>
                  </a:lnTo>
                  <a:cubicBezTo>
                    <a:pt x="6668" y="36513"/>
                    <a:pt x="6032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0" name="任意多边形: 形状 1469"/>
            <p:cNvSpPr/>
            <p:nvPr/>
          </p:nvSpPr>
          <p:spPr>
            <a:xfrm>
              <a:off x="8872538" y="136493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8103" y="6668"/>
                    <a:pt x="58738" y="7938"/>
                  </a:cubicBezTo>
                  <a:lnTo>
                    <a:pt x="7303" y="37782"/>
                  </a:lnTo>
                  <a:cubicBezTo>
                    <a:pt x="6668" y="37148"/>
                    <a:pt x="5397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1" name="任意多边形: 形状 1470"/>
            <p:cNvSpPr/>
            <p:nvPr/>
          </p:nvSpPr>
          <p:spPr>
            <a:xfrm>
              <a:off x="8875078" y="1368107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8103" y="6668"/>
                    <a:pt x="58738" y="7938"/>
                  </a:cubicBezTo>
                  <a:lnTo>
                    <a:pt x="7303" y="37782"/>
                  </a:lnTo>
                  <a:cubicBezTo>
                    <a:pt x="6667" y="37148"/>
                    <a:pt x="5397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2" name="任意多边形: 形状 1471"/>
            <p:cNvSpPr/>
            <p:nvPr/>
          </p:nvSpPr>
          <p:spPr>
            <a:xfrm>
              <a:off x="8877618" y="137191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9372 w 63500"/>
                <a:gd name="connsiteY2" fmla="*/ 8572 h 38100"/>
                <a:gd name="connsiteX3" fmla="*/ 7938 w 63500"/>
                <a:gd name="connsiteY3" fmla="*/ 3841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032"/>
                    <a:pt x="58102" y="7302"/>
                    <a:pt x="59372" y="8572"/>
                  </a:cubicBezTo>
                  <a:lnTo>
                    <a:pt x="7938" y="38418"/>
                  </a:lnTo>
                  <a:cubicBezTo>
                    <a:pt x="6667" y="37147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3" name="任意多边形: 形状 1472"/>
            <p:cNvSpPr/>
            <p:nvPr/>
          </p:nvSpPr>
          <p:spPr>
            <a:xfrm>
              <a:off x="8880793" y="1375727"/>
              <a:ext cx="63500" cy="44450"/>
            </a:xfrm>
            <a:custGeom>
              <a:avLst/>
              <a:gdLst>
                <a:gd name="connsiteX0" fmla="*/ 4763 w 63500"/>
                <a:gd name="connsiteY0" fmla="*/ 34608 h 44450"/>
                <a:gd name="connsiteX1" fmla="*/ 56197 w 63500"/>
                <a:gd name="connsiteY1" fmla="*/ 4763 h 44450"/>
                <a:gd name="connsiteX2" fmla="*/ 60007 w 63500"/>
                <a:gd name="connsiteY2" fmla="*/ 10478 h 44450"/>
                <a:gd name="connsiteX3" fmla="*/ 8572 w 63500"/>
                <a:gd name="connsiteY3" fmla="*/ 40323 h 44450"/>
                <a:gd name="connsiteX4" fmla="*/ 4763 w 63500"/>
                <a:gd name="connsiteY4" fmla="*/ 3460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8"/>
                  </a:moveTo>
                  <a:lnTo>
                    <a:pt x="56197" y="4763"/>
                  </a:lnTo>
                  <a:cubicBezTo>
                    <a:pt x="57467" y="6668"/>
                    <a:pt x="58738" y="8573"/>
                    <a:pt x="60007" y="10478"/>
                  </a:cubicBezTo>
                  <a:lnTo>
                    <a:pt x="8572" y="40323"/>
                  </a:lnTo>
                  <a:cubicBezTo>
                    <a:pt x="7302" y="38418"/>
                    <a:pt x="6032" y="3651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4" name="任意多边形: 形状 1473"/>
            <p:cNvSpPr/>
            <p:nvPr/>
          </p:nvSpPr>
          <p:spPr>
            <a:xfrm>
              <a:off x="8884603" y="1381443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1913 w 63500"/>
                <a:gd name="connsiteY2" fmla="*/ 13652 h 44450"/>
                <a:gd name="connsiteX3" fmla="*/ 10478 w 63500"/>
                <a:gd name="connsiteY3" fmla="*/ 4349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8103" y="7938"/>
                    <a:pt x="60007" y="10477"/>
                    <a:pt x="61913" y="13652"/>
                  </a:cubicBezTo>
                  <a:lnTo>
                    <a:pt x="10478" y="43497"/>
                  </a:lnTo>
                  <a:cubicBezTo>
                    <a:pt x="8572" y="40322"/>
                    <a:pt x="6667" y="3714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5" name="任意多边形: 形状 1474"/>
            <p:cNvSpPr/>
            <p:nvPr/>
          </p:nvSpPr>
          <p:spPr>
            <a:xfrm>
              <a:off x="8890318" y="1390332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59372 w 63500"/>
                <a:gd name="connsiteY2" fmla="*/ 11113 h 44450"/>
                <a:gd name="connsiteX3" fmla="*/ 7938 w 63500"/>
                <a:gd name="connsiteY3" fmla="*/ 4095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8"/>
                    <a:pt x="58738" y="8573"/>
                    <a:pt x="59372" y="11113"/>
                  </a:cubicBezTo>
                  <a:lnTo>
                    <a:pt x="7938" y="40957"/>
                  </a:lnTo>
                  <a:cubicBezTo>
                    <a:pt x="7302" y="38418"/>
                    <a:pt x="6032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6" name="任意多边形: 形状 1475"/>
            <p:cNvSpPr/>
            <p:nvPr/>
          </p:nvSpPr>
          <p:spPr>
            <a:xfrm>
              <a:off x="8893493" y="13960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8102 w 57150"/>
                <a:gd name="connsiteY2" fmla="*/ 8572 h 38100"/>
                <a:gd name="connsiteX3" fmla="*/ 6667 w 57150"/>
                <a:gd name="connsiteY3" fmla="*/ 3841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7" y="7302"/>
                    <a:pt x="58102" y="8572"/>
                  </a:cubicBezTo>
                  <a:lnTo>
                    <a:pt x="6667" y="38417"/>
                  </a:lnTo>
                  <a:cubicBezTo>
                    <a:pt x="6667" y="37147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7" name="任意多边形: 形状 1476"/>
            <p:cNvSpPr/>
            <p:nvPr/>
          </p:nvSpPr>
          <p:spPr>
            <a:xfrm>
              <a:off x="8896032" y="140049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8572 h 38100"/>
                <a:gd name="connsiteX3" fmla="*/ 6668 w 57150"/>
                <a:gd name="connsiteY3" fmla="*/ 3841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6032"/>
                    <a:pt x="57468" y="7302"/>
                    <a:pt x="58103" y="8572"/>
                  </a:cubicBezTo>
                  <a:lnTo>
                    <a:pt x="6668" y="38418"/>
                  </a:lnTo>
                  <a:cubicBezTo>
                    <a:pt x="6033" y="36513"/>
                    <a:pt x="539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8" name="任意多边形: 形状 1477"/>
            <p:cNvSpPr/>
            <p:nvPr/>
          </p:nvSpPr>
          <p:spPr>
            <a:xfrm>
              <a:off x="8897303" y="140366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7938 h 38100"/>
                <a:gd name="connsiteX3" fmla="*/ 6032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7" y="6668"/>
                    <a:pt x="57467" y="7938"/>
                  </a:cubicBezTo>
                  <a:lnTo>
                    <a:pt x="6032" y="37782"/>
                  </a:lnTo>
                  <a:cubicBezTo>
                    <a:pt x="6032" y="37147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9" name="任意多边形: 形状 1478"/>
            <p:cNvSpPr/>
            <p:nvPr/>
          </p:nvSpPr>
          <p:spPr>
            <a:xfrm>
              <a:off x="8899207" y="140684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6032"/>
                    <a:pt x="56833" y="6668"/>
                    <a:pt x="57468" y="7938"/>
                  </a:cubicBezTo>
                  <a:lnTo>
                    <a:pt x="6033" y="37782"/>
                  </a:lnTo>
                  <a:cubicBezTo>
                    <a:pt x="5398" y="37147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0" name="任意多边形: 形状 1479"/>
            <p:cNvSpPr/>
            <p:nvPr/>
          </p:nvSpPr>
          <p:spPr>
            <a:xfrm>
              <a:off x="8900478" y="141001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7938 h 38100"/>
                <a:gd name="connsiteX3" fmla="*/ 6032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6832" y="6668"/>
                    <a:pt x="57467" y="7938"/>
                  </a:cubicBezTo>
                  <a:lnTo>
                    <a:pt x="6032" y="37782"/>
                  </a:lnTo>
                  <a:cubicBezTo>
                    <a:pt x="5397" y="37147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1" name="任意多边形: 形状 1480"/>
            <p:cNvSpPr/>
            <p:nvPr/>
          </p:nvSpPr>
          <p:spPr>
            <a:xfrm>
              <a:off x="8901747" y="141319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032"/>
                    <a:pt x="56833" y="6668"/>
                    <a:pt x="57468" y="7938"/>
                  </a:cubicBezTo>
                  <a:lnTo>
                    <a:pt x="6033" y="37782"/>
                  </a:lnTo>
                  <a:cubicBezTo>
                    <a:pt x="5397" y="37147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2" name="任意多边形: 形状 1481"/>
            <p:cNvSpPr/>
            <p:nvPr/>
          </p:nvSpPr>
          <p:spPr>
            <a:xfrm>
              <a:off x="8903018" y="141636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7938 h 38100"/>
                <a:gd name="connsiteX3" fmla="*/ 6032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6832" y="7302"/>
                    <a:pt x="57467" y="7938"/>
                  </a:cubicBezTo>
                  <a:lnTo>
                    <a:pt x="6032" y="37782"/>
                  </a:lnTo>
                  <a:cubicBezTo>
                    <a:pt x="5397" y="37147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3" name="任意多边形: 形状 1482"/>
            <p:cNvSpPr/>
            <p:nvPr/>
          </p:nvSpPr>
          <p:spPr>
            <a:xfrm>
              <a:off x="8904288" y="14201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7303"/>
                    <a:pt x="57468" y="7938"/>
                  </a:cubicBezTo>
                  <a:lnTo>
                    <a:pt x="6032" y="37783"/>
                  </a:lnTo>
                  <a:cubicBezTo>
                    <a:pt x="5397" y="36513"/>
                    <a:pt x="476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4" name="任意多边形: 形状 1483"/>
            <p:cNvSpPr/>
            <p:nvPr/>
          </p:nvSpPr>
          <p:spPr>
            <a:xfrm>
              <a:off x="8904922" y="14233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3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3" y="6033"/>
                    <a:pt x="56833" y="7303"/>
                    <a:pt x="57468" y="7938"/>
                  </a:cubicBezTo>
                  <a:lnTo>
                    <a:pt x="6033" y="37783"/>
                  </a:lnTo>
                  <a:cubicBezTo>
                    <a:pt x="5397" y="37148"/>
                    <a:pt x="5397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5" name="任意多边形: 形状 1484"/>
            <p:cNvSpPr/>
            <p:nvPr/>
          </p:nvSpPr>
          <p:spPr>
            <a:xfrm>
              <a:off x="8906193" y="142716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6832" y="7302"/>
                    <a:pt x="56832" y="7938"/>
                  </a:cubicBezTo>
                  <a:lnTo>
                    <a:pt x="5397" y="37782"/>
                  </a:lnTo>
                  <a:cubicBezTo>
                    <a:pt x="5397" y="3651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6" name="任意多边形: 形状 1485"/>
            <p:cNvSpPr/>
            <p:nvPr/>
          </p:nvSpPr>
          <p:spPr>
            <a:xfrm>
              <a:off x="8906828" y="143033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7302"/>
                    <a:pt x="56832" y="7938"/>
                  </a:cubicBezTo>
                  <a:lnTo>
                    <a:pt x="5397" y="37782"/>
                  </a:lnTo>
                  <a:cubicBezTo>
                    <a:pt x="5397" y="37148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7" name="任意多边形: 形状 1486"/>
            <p:cNvSpPr/>
            <p:nvPr/>
          </p:nvSpPr>
          <p:spPr>
            <a:xfrm>
              <a:off x="8908097" y="143351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3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3" y="7302"/>
                    <a:pt x="56833" y="7938"/>
                  </a:cubicBezTo>
                  <a:lnTo>
                    <a:pt x="5397" y="37782"/>
                  </a:lnTo>
                  <a:cubicBezTo>
                    <a:pt x="4763" y="37148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8" name="任意多边形: 形状 1487"/>
            <p:cNvSpPr/>
            <p:nvPr/>
          </p:nvSpPr>
          <p:spPr>
            <a:xfrm>
              <a:off x="8908732" y="14373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6833 w 57150"/>
                <a:gd name="connsiteY2" fmla="*/ 7938 h 38100"/>
                <a:gd name="connsiteX3" fmla="*/ 5398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198" y="6032"/>
                    <a:pt x="56833" y="6667"/>
                    <a:pt x="56833" y="7938"/>
                  </a:cubicBezTo>
                  <a:lnTo>
                    <a:pt x="5398" y="37782"/>
                  </a:lnTo>
                  <a:cubicBezTo>
                    <a:pt x="4763" y="36513"/>
                    <a:pt x="4763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9" name="任意多边形: 形状 1488"/>
            <p:cNvSpPr/>
            <p:nvPr/>
          </p:nvSpPr>
          <p:spPr>
            <a:xfrm>
              <a:off x="8909368" y="14404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6667"/>
                    <a:pt x="56832" y="7938"/>
                  </a:cubicBezTo>
                  <a:lnTo>
                    <a:pt x="5397" y="37782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0" name="任意多边形: 形状 1489"/>
            <p:cNvSpPr/>
            <p:nvPr/>
          </p:nvSpPr>
          <p:spPr>
            <a:xfrm>
              <a:off x="8909368" y="14436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832" y="7938"/>
                  </a:cubicBezTo>
                  <a:lnTo>
                    <a:pt x="5397" y="37782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1" name="任意多边形: 形状 1490"/>
            <p:cNvSpPr/>
            <p:nvPr/>
          </p:nvSpPr>
          <p:spPr>
            <a:xfrm>
              <a:off x="8910003" y="14468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2" name="任意多边形: 形状 1491"/>
            <p:cNvSpPr/>
            <p:nvPr/>
          </p:nvSpPr>
          <p:spPr>
            <a:xfrm>
              <a:off x="8910003" y="14500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5397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3" name="任意多边形: 形状 1492"/>
            <p:cNvSpPr/>
            <p:nvPr/>
          </p:nvSpPr>
          <p:spPr>
            <a:xfrm>
              <a:off x="8910638" y="14531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56197 w 57150"/>
                <a:gd name="connsiteY3" fmla="*/ 7938 h 38100"/>
                <a:gd name="connsiteX4" fmla="*/ 4763 w 57150"/>
                <a:gd name="connsiteY4" fmla="*/ 37782 h 38100"/>
                <a:gd name="connsiteX5" fmla="*/ 4763 w 57150"/>
                <a:gd name="connsiteY5" fmla="*/ 37782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cubicBezTo>
                    <a:pt x="56197" y="7938"/>
                    <a:pt x="56197" y="7938"/>
                    <a:pt x="56197" y="7938"/>
                  </a:cubicBezTo>
                  <a:lnTo>
                    <a:pt x="4763" y="37782"/>
                  </a:lnTo>
                  <a:cubicBezTo>
                    <a:pt x="4763" y="37782"/>
                    <a:pt x="4763" y="37782"/>
                    <a:pt x="4763" y="37782"/>
                  </a:cubicBez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4" name="任意多边形: 形状 1493"/>
            <p:cNvSpPr/>
            <p:nvPr/>
          </p:nvSpPr>
          <p:spPr>
            <a:xfrm>
              <a:off x="8910638" y="14563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5" name="任意多边形: 形状 1494"/>
            <p:cNvSpPr/>
            <p:nvPr/>
          </p:nvSpPr>
          <p:spPr>
            <a:xfrm>
              <a:off x="8910161" y="1459548"/>
              <a:ext cx="57150" cy="38100"/>
            </a:xfrm>
            <a:custGeom>
              <a:avLst/>
              <a:gdLst>
                <a:gd name="connsiteX0" fmla="*/ 5239 w 57150"/>
                <a:gd name="connsiteY0" fmla="*/ 34607 h 38100"/>
                <a:gd name="connsiteX1" fmla="*/ 56673 w 57150"/>
                <a:gd name="connsiteY1" fmla="*/ 4763 h 38100"/>
                <a:gd name="connsiteX2" fmla="*/ 56673 w 57150"/>
                <a:gd name="connsiteY2" fmla="*/ 7938 h 38100"/>
                <a:gd name="connsiteX3" fmla="*/ 5239 w 57150"/>
                <a:gd name="connsiteY3" fmla="*/ 37782 h 38100"/>
                <a:gd name="connsiteX4" fmla="*/ 5239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239" y="34607"/>
                  </a:moveTo>
                  <a:lnTo>
                    <a:pt x="56673" y="4763"/>
                  </a:lnTo>
                  <a:cubicBezTo>
                    <a:pt x="56673" y="6032"/>
                    <a:pt x="56673" y="6667"/>
                    <a:pt x="56673" y="7938"/>
                  </a:cubicBezTo>
                  <a:lnTo>
                    <a:pt x="5239" y="37782"/>
                  </a:lnTo>
                  <a:cubicBezTo>
                    <a:pt x="4604" y="36513"/>
                    <a:pt x="4604" y="35242"/>
                    <a:pt x="5239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6" name="任意多边形: 形状 1495"/>
            <p:cNvSpPr/>
            <p:nvPr/>
          </p:nvSpPr>
          <p:spPr>
            <a:xfrm>
              <a:off x="8909368" y="1462723"/>
              <a:ext cx="57150" cy="38100"/>
            </a:xfrm>
            <a:custGeom>
              <a:avLst/>
              <a:gdLst>
                <a:gd name="connsiteX0" fmla="*/ 5397 w 57150"/>
                <a:gd name="connsiteY0" fmla="*/ 34607 h 38100"/>
                <a:gd name="connsiteX1" fmla="*/ 56832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5397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7" y="34607"/>
                  </a:moveTo>
                  <a:lnTo>
                    <a:pt x="56832" y="4763"/>
                  </a:lnTo>
                  <a:cubicBezTo>
                    <a:pt x="56832" y="6032"/>
                    <a:pt x="56832" y="6667"/>
                    <a:pt x="56197" y="7938"/>
                  </a:cubicBezTo>
                  <a:lnTo>
                    <a:pt x="4763" y="37782"/>
                  </a:lnTo>
                  <a:cubicBezTo>
                    <a:pt x="5397" y="36513"/>
                    <a:pt x="5397" y="35242"/>
                    <a:pt x="5397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7" name="任意多边形: 形状 1496"/>
            <p:cNvSpPr/>
            <p:nvPr/>
          </p:nvSpPr>
          <p:spPr>
            <a:xfrm>
              <a:off x="8909368" y="1465898"/>
              <a:ext cx="57150" cy="38100"/>
            </a:xfrm>
            <a:custGeom>
              <a:avLst/>
              <a:gdLst>
                <a:gd name="connsiteX0" fmla="*/ 5397 w 57150"/>
                <a:gd name="connsiteY0" fmla="*/ 34607 h 38100"/>
                <a:gd name="connsiteX1" fmla="*/ 56832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5397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7" y="34607"/>
                  </a:moveTo>
                  <a:lnTo>
                    <a:pt x="56832" y="4763"/>
                  </a:lnTo>
                  <a:cubicBezTo>
                    <a:pt x="56832" y="6032"/>
                    <a:pt x="56832" y="6667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5397" y="35242"/>
                    <a:pt x="5397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8" name="任意多边形: 形状 1497"/>
            <p:cNvSpPr/>
            <p:nvPr/>
          </p:nvSpPr>
          <p:spPr>
            <a:xfrm>
              <a:off x="8908732" y="1468438"/>
              <a:ext cx="57150" cy="38100"/>
            </a:xfrm>
            <a:custGeom>
              <a:avLst/>
              <a:gdLst>
                <a:gd name="connsiteX0" fmla="*/ 5398 w 57150"/>
                <a:gd name="connsiteY0" fmla="*/ 34607 h 38100"/>
                <a:gd name="connsiteX1" fmla="*/ 56833 w 57150"/>
                <a:gd name="connsiteY1" fmla="*/ 4763 h 38100"/>
                <a:gd name="connsiteX2" fmla="*/ 56198 w 57150"/>
                <a:gd name="connsiteY2" fmla="*/ 7938 h 38100"/>
                <a:gd name="connsiteX3" fmla="*/ 4763 w 57150"/>
                <a:gd name="connsiteY3" fmla="*/ 37782 h 38100"/>
                <a:gd name="connsiteX4" fmla="*/ 5398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8" y="34607"/>
                  </a:moveTo>
                  <a:lnTo>
                    <a:pt x="56833" y="4763"/>
                  </a:lnTo>
                  <a:cubicBezTo>
                    <a:pt x="56833" y="6032"/>
                    <a:pt x="56198" y="6668"/>
                    <a:pt x="56198" y="7938"/>
                  </a:cubicBezTo>
                  <a:lnTo>
                    <a:pt x="4763" y="37782"/>
                  </a:lnTo>
                  <a:cubicBezTo>
                    <a:pt x="4763" y="37148"/>
                    <a:pt x="5398" y="35877"/>
                    <a:pt x="5398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9" name="任意多边形: 形状 1498"/>
            <p:cNvSpPr/>
            <p:nvPr/>
          </p:nvSpPr>
          <p:spPr>
            <a:xfrm>
              <a:off x="8908097" y="1471613"/>
              <a:ext cx="57150" cy="38100"/>
            </a:xfrm>
            <a:custGeom>
              <a:avLst/>
              <a:gdLst>
                <a:gd name="connsiteX0" fmla="*/ 5397 w 57150"/>
                <a:gd name="connsiteY0" fmla="*/ 34607 h 38100"/>
                <a:gd name="connsiteX1" fmla="*/ 56833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5397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397" y="34607"/>
                  </a:moveTo>
                  <a:lnTo>
                    <a:pt x="56833" y="4763"/>
                  </a:lnTo>
                  <a:cubicBezTo>
                    <a:pt x="56833" y="6032"/>
                    <a:pt x="56197" y="7302"/>
                    <a:pt x="56197" y="7938"/>
                  </a:cubicBezTo>
                  <a:lnTo>
                    <a:pt x="4763" y="37782"/>
                  </a:lnTo>
                  <a:cubicBezTo>
                    <a:pt x="4763" y="37148"/>
                    <a:pt x="5397" y="35877"/>
                    <a:pt x="5397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0" name="任意多边形: 形状 1499"/>
            <p:cNvSpPr/>
            <p:nvPr/>
          </p:nvSpPr>
          <p:spPr>
            <a:xfrm>
              <a:off x="8906828" y="1475423"/>
              <a:ext cx="57150" cy="38100"/>
            </a:xfrm>
            <a:custGeom>
              <a:avLst/>
              <a:gdLst>
                <a:gd name="connsiteX0" fmla="*/ 6032 w 57150"/>
                <a:gd name="connsiteY0" fmla="*/ 34607 h 38100"/>
                <a:gd name="connsiteX1" fmla="*/ 57467 w 57150"/>
                <a:gd name="connsiteY1" fmla="*/ 4763 h 38100"/>
                <a:gd name="connsiteX2" fmla="*/ 56197 w 57150"/>
                <a:gd name="connsiteY2" fmla="*/ 8572 h 38100"/>
                <a:gd name="connsiteX3" fmla="*/ 4763 w 57150"/>
                <a:gd name="connsiteY3" fmla="*/ 38417 h 38100"/>
                <a:gd name="connsiteX4" fmla="*/ 6032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6032" y="34607"/>
                  </a:moveTo>
                  <a:lnTo>
                    <a:pt x="57467" y="4763"/>
                  </a:lnTo>
                  <a:cubicBezTo>
                    <a:pt x="56832" y="6032"/>
                    <a:pt x="56832" y="7302"/>
                    <a:pt x="56197" y="8572"/>
                  </a:cubicBezTo>
                  <a:lnTo>
                    <a:pt x="4763" y="38417"/>
                  </a:lnTo>
                  <a:cubicBezTo>
                    <a:pt x="4763" y="36513"/>
                    <a:pt x="5397" y="35877"/>
                    <a:pt x="6032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1" name="任意多边形: 形状 1500"/>
            <p:cNvSpPr/>
            <p:nvPr/>
          </p:nvSpPr>
          <p:spPr>
            <a:xfrm>
              <a:off x="8904922" y="1478598"/>
              <a:ext cx="57150" cy="38100"/>
            </a:xfrm>
            <a:custGeom>
              <a:avLst/>
              <a:gdLst>
                <a:gd name="connsiteX0" fmla="*/ 6668 w 57150"/>
                <a:gd name="connsiteY0" fmla="*/ 34607 h 38100"/>
                <a:gd name="connsiteX1" fmla="*/ 58103 w 57150"/>
                <a:gd name="connsiteY1" fmla="*/ 4763 h 38100"/>
                <a:gd name="connsiteX2" fmla="*/ 56197 w 57150"/>
                <a:gd name="connsiteY2" fmla="*/ 8572 h 38100"/>
                <a:gd name="connsiteX3" fmla="*/ 4763 w 57150"/>
                <a:gd name="connsiteY3" fmla="*/ 38417 h 38100"/>
                <a:gd name="connsiteX4" fmla="*/ 6668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6668" y="34607"/>
                  </a:moveTo>
                  <a:lnTo>
                    <a:pt x="58103" y="4763"/>
                  </a:lnTo>
                  <a:cubicBezTo>
                    <a:pt x="57468" y="6032"/>
                    <a:pt x="56833" y="7302"/>
                    <a:pt x="56197" y="8572"/>
                  </a:cubicBezTo>
                  <a:lnTo>
                    <a:pt x="4763" y="38417"/>
                  </a:lnTo>
                  <a:cubicBezTo>
                    <a:pt x="5397" y="37147"/>
                    <a:pt x="6033" y="35877"/>
                    <a:pt x="6668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2" name="任意多边形: 形状 1501"/>
            <p:cNvSpPr/>
            <p:nvPr/>
          </p:nvSpPr>
          <p:spPr>
            <a:xfrm>
              <a:off x="8902382" y="1482407"/>
              <a:ext cx="63500" cy="38100"/>
            </a:xfrm>
            <a:custGeom>
              <a:avLst/>
              <a:gdLst>
                <a:gd name="connsiteX0" fmla="*/ 7303 w 63500"/>
                <a:gd name="connsiteY0" fmla="*/ 34607 h 38100"/>
                <a:gd name="connsiteX1" fmla="*/ 58738 w 63500"/>
                <a:gd name="connsiteY1" fmla="*/ 4763 h 38100"/>
                <a:gd name="connsiteX2" fmla="*/ 56198 w 63500"/>
                <a:gd name="connsiteY2" fmla="*/ 9207 h 38100"/>
                <a:gd name="connsiteX3" fmla="*/ 4763 w 63500"/>
                <a:gd name="connsiteY3" fmla="*/ 39053 h 38100"/>
                <a:gd name="connsiteX4" fmla="*/ 730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7303" y="34607"/>
                  </a:moveTo>
                  <a:lnTo>
                    <a:pt x="58738" y="4763"/>
                  </a:lnTo>
                  <a:cubicBezTo>
                    <a:pt x="58103" y="6032"/>
                    <a:pt x="57468" y="7938"/>
                    <a:pt x="56198" y="9207"/>
                  </a:cubicBezTo>
                  <a:lnTo>
                    <a:pt x="4763" y="39053"/>
                  </a:lnTo>
                  <a:cubicBezTo>
                    <a:pt x="6033" y="37782"/>
                    <a:pt x="6668" y="36513"/>
                    <a:pt x="730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3" name="任意多边形: 形状 1502"/>
            <p:cNvSpPr/>
            <p:nvPr/>
          </p:nvSpPr>
          <p:spPr>
            <a:xfrm>
              <a:off x="8890953" y="1486852"/>
              <a:ext cx="69850" cy="50800"/>
            </a:xfrm>
            <a:custGeom>
              <a:avLst/>
              <a:gdLst>
                <a:gd name="connsiteX0" fmla="*/ 16192 w 69850"/>
                <a:gd name="connsiteY0" fmla="*/ 34608 h 50800"/>
                <a:gd name="connsiteX1" fmla="*/ 67628 w 69850"/>
                <a:gd name="connsiteY1" fmla="*/ 4763 h 50800"/>
                <a:gd name="connsiteX2" fmla="*/ 56197 w 69850"/>
                <a:gd name="connsiteY2" fmla="*/ 16193 h 50800"/>
                <a:gd name="connsiteX3" fmla="*/ 4763 w 69850"/>
                <a:gd name="connsiteY3" fmla="*/ 46038 h 50800"/>
                <a:gd name="connsiteX4" fmla="*/ 16192 w 69850"/>
                <a:gd name="connsiteY4" fmla="*/ 34608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850" h="50800">
                  <a:moveTo>
                    <a:pt x="16192" y="34608"/>
                  </a:moveTo>
                  <a:lnTo>
                    <a:pt x="67628" y="4763"/>
                  </a:lnTo>
                  <a:cubicBezTo>
                    <a:pt x="64453" y="9843"/>
                    <a:pt x="60642" y="13653"/>
                    <a:pt x="56197" y="16193"/>
                  </a:cubicBezTo>
                  <a:lnTo>
                    <a:pt x="4763" y="46038"/>
                  </a:lnTo>
                  <a:cubicBezTo>
                    <a:pt x="9207" y="43498"/>
                    <a:pt x="13653" y="39688"/>
                    <a:pt x="16192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4" name="任意多边形: 形状 1503"/>
            <p:cNvSpPr/>
            <p:nvPr/>
          </p:nvSpPr>
          <p:spPr>
            <a:xfrm>
              <a:off x="8760778" y="1230948"/>
              <a:ext cx="57150" cy="38100"/>
            </a:xfrm>
            <a:custGeom>
              <a:avLst/>
              <a:gdLst>
                <a:gd name="connsiteX0" fmla="*/ 4763 w 57150"/>
                <a:gd name="connsiteY0" fmla="*/ 35242 h 38100"/>
                <a:gd name="connsiteX1" fmla="*/ 56197 w 57150"/>
                <a:gd name="connsiteY1" fmla="*/ 5397 h 38100"/>
                <a:gd name="connsiteX2" fmla="*/ 58103 w 57150"/>
                <a:gd name="connsiteY2" fmla="*/ 4763 h 38100"/>
                <a:gd name="connsiteX3" fmla="*/ 6667 w 57150"/>
                <a:gd name="connsiteY3" fmla="*/ 34607 h 38100"/>
                <a:gd name="connsiteX4" fmla="*/ 4763 w 57150"/>
                <a:gd name="connsiteY4" fmla="*/ 3524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5242"/>
                  </a:moveTo>
                  <a:lnTo>
                    <a:pt x="56197" y="5397"/>
                  </a:lnTo>
                  <a:cubicBezTo>
                    <a:pt x="56832" y="5397"/>
                    <a:pt x="57467" y="5397"/>
                    <a:pt x="58103" y="4763"/>
                  </a:cubicBezTo>
                  <a:lnTo>
                    <a:pt x="6667" y="34607"/>
                  </a:lnTo>
                  <a:cubicBezTo>
                    <a:pt x="6032" y="34607"/>
                    <a:pt x="5397" y="34607"/>
                    <a:pt x="4763" y="3524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5" name="任意多边形: 形状 1504"/>
            <p:cNvSpPr/>
            <p:nvPr/>
          </p:nvSpPr>
          <p:spPr>
            <a:xfrm>
              <a:off x="8762682" y="1230313"/>
              <a:ext cx="63500" cy="38100"/>
            </a:xfrm>
            <a:custGeom>
              <a:avLst/>
              <a:gdLst>
                <a:gd name="connsiteX0" fmla="*/ 4763 w 63500"/>
                <a:gd name="connsiteY0" fmla="*/ 35243 h 38100"/>
                <a:gd name="connsiteX1" fmla="*/ 56198 w 63500"/>
                <a:gd name="connsiteY1" fmla="*/ 5398 h 38100"/>
                <a:gd name="connsiteX2" fmla="*/ 59373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52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5243"/>
                  </a:moveTo>
                  <a:lnTo>
                    <a:pt x="56198" y="5398"/>
                  </a:lnTo>
                  <a:cubicBezTo>
                    <a:pt x="57468" y="5398"/>
                    <a:pt x="58738" y="4763"/>
                    <a:pt x="59373" y="4763"/>
                  </a:cubicBezTo>
                  <a:lnTo>
                    <a:pt x="7938" y="34607"/>
                  </a:lnTo>
                  <a:cubicBezTo>
                    <a:pt x="7303" y="34607"/>
                    <a:pt x="6033" y="35243"/>
                    <a:pt x="4763" y="3524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6" name="任意多边形: 形状 1505"/>
            <p:cNvSpPr/>
            <p:nvPr/>
          </p:nvSpPr>
          <p:spPr>
            <a:xfrm>
              <a:off x="8765857" y="123031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9373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7468" y="4763"/>
                    <a:pt x="58103" y="4763"/>
                    <a:pt x="59373" y="4763"/>
                  </a:cubicBezTo>
                  <a:lnTo>
                    <a:pt x="7938" y="34607"/>
                  </a:lnTo>
                  <a:cubicBezTo>
                    <a:pt x="7303" y="34607"/>
                    <a:pt x="6033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7" name="任意多边形: 形状 1506"/>
            <p:cNvSpPr/>
            <p:nvPr/>
          </p:nvSpPr>
          <p:spPr>
            <a:xfrm>
              <a:off x="8769032" y="123031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9373 w 63500"/>
                <a:gd name="connsiteY2" fmla="*/ 4763 h 38100"/>
                <a:gd name="connsiteX3" fmla="*/ 7938 w 63500"/>
                <a:gd name="connsiteY3" fmla="*/ 3460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8103" y="4763"/>
                    <a:pt x="59373" y="4763"/>
                  </a:cubicBezTo>
                  <a:lnTo>
                    <a:pt x="7938" y="34607"/>
                  </a:lnTo>
                  <a:cubicBezTo>
                    <a:pt x="6668" y="34607"/>
                    <a:pt x="6033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8" name="任意多边形: 形状 1507"/>
            <p:cNvSpPr/>
            <p:nvPr/>
          </p:nvSpPr>
          <p:spPr>
            <a:xfrm>
              <a:off x="8772207" y="123031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4763 h 38100"/>
                <a:gd name="connsiteX3" fmla="*/ 7303 w 63500"/>
                <a:gd name="connsiteY3" fmla="*/ 3460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8103" y="4763"/>
                    <a:pt x="58738" y="4763"/>
                  </a:cubicBezTo>
                  <a:lnTo>
                    <a:pt x="7303" y="34607"/>
                  </a:lnTo>
                  <a:cubicBezTo>
                    <a:pt x="6668" y="35243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9" name="任意多边形: 形状 1508"/>
            <p:cNvSpPr/>
            <p:nvPr/>
          </p:nvSpPr>
          <p:spPr>
            <a:xfrm>
              <a:off x="8774747" y="12309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5397 h 38100"/>
                <a:gd name="connsiteX3" fmla="*/ 7303 w 63500"/>
                <a:gd name="connsiteY3" fmla="*/ 3524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4763"/>
                    <a:pt x="58103" y="4763"/>
                    <a:pt x="58738" y="5397"/>
                  </a:cubicBezTo>
                  <a:lnTo>
                    <a:pt x="7303" y="35242"/>
                  </a:lnTo>
                  <a:cubicBezTo>
                    <a:pt x="6668" y="34607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0" name="任意多边形: 形状 1509"/>
            <p:cNvSpPr/>
            <p:nvPr/>
          </p:nvSpPr>
          <p:spPr>
            <a:xfrm>
              <a:off x="8777288" y="12309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5397 h 38100"/>
                <a:gd name="connsiteX3" fmla="*/ 7303 w 63500"/>
                <a:gd name="connsiteY3" fmla="*/ 3524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8103" y="5397"/>
                    <a:pt x="58738" y="5397"/>
                  </a:cubicBezTo>
                  <a:lnTo>
                    <a:pt x="7303" y="35242"/>
                  </a:lnTo>
                  <a:cubicBezTo>
                    <a:pt x="6668" y="35242"/>
                    <a:pt x="6032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1" name="任意多边形: 形状 1510"/>
            <p:cNvSpPr/>
            <p:nvPr/>
          </p:nvSpPr>
          <p:spPr>
            <a:xfrm>
              <a:off x="8779828" y="123158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5398 h 38100"/>
                <a:gd name="connsiteX3" fmla="*/ 7303 w 63500"/>
                <a:gd name="connsiteY3" fmla="*/ 3524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8103" y="5398"/>
                    <a:pt x="58738" y="5398"/>
                  </a:cubicBezTo>
                  <a:lnTo>
                    <a:pt x="7303" y="35243"/>
                  </a:lnTo>
                  <a:cubicBezTo>
                    <a:pt x="6667" y="35243"/>
                    <a:pt x="6032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2" name="任意多边形: 形状 1511"/>
            <p:cNvSpPr/>
            <p:nvPr/>
          </p:nvSpPr>
          <p:spPr>
            <a:xfrm>
              <a:off x="8782368" y="123221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5397 h 38100"/>
                <a:gd name="connsiteX3" fmla="*/ 7302 w 63500"/>
                <a:gd name="connsiteY3" fmla="*/ 3524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4763"/>
                    <a:pt x="58102" y="5397"/>
                    <a:pt x="58738" y="5397"/>
                  </a:cubicBezTo>
                  <a:lnTo>
                    <a:pt x="7302" y="35243"/>
                  </a:lnTo>
                  <a:cubicBezTo>
                    <a:pt x="6667" y="3524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3" name="任意多边形: 形状 1512"/>
            <p:cNvSpPr/>
            <p:nvPr/>
          </p:nvSpPr>
          <p:spPr>
            <a:xfrm>
              <a:off x="8784907" y="123348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5398 h 38100"/>
                <a:gd name="connsiteX3" fmla="*/ 7303 w 63500"/>
                <a:gd name="connsiteY3" fmla="*/ 3524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4763"/>
                    <a:pt x="58103" y="5398"/>
                    <a:pt x="58738" y="5398"/>
                  </a:cubicBezTo>
                  <a:lnTo>
                    <a:pt x="7303" y="35243"/>
                  </a:lnTo>
                  <a:cubicBezTo>
                    <a:pt x="6668" y="35243"/>
                    <a:pt x="5398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4" name="任意多边形: 形状 1513"/>
            <p:cNvSpPr/>
            <p:nvPr/>
          </p:nvSpPr>
          <p:spPr>
            <a:xfrm>
              <a:off x="8787447" y="123412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6032 h 38100"/>
                <a:gd name="connsiteX3" fmla="*/ 7303 w 63500"/>
                <a:gd name="connsiteY3" fmla="*/ 3587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8103" y="5397"/>
                    <a:pt x="58738" y="6032"/>
                  </a:cubicBezTo>
                  <a:lnTo>
                    <a:pt x="7303" y="35877"/>
                  </a:lnTo>
                  <a:cubicBezTo>
                    <a:pt x="6033" y="35242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5" name="任意多边形: 形状 1514"/>
            <p:cNvSpPr/>
            <p:nvPr/>
          </p:nvSpPr>
          <p:spPr>
            <a:xfrm>
              <a:off x="8789988" y="123539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6032 h 38100"/>
                <a:gd name="connsiteX3" fmla="*/ 7303 w 63500"/>
                <a:gd name="connsiteY3" fmla="*/ 3587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8103" y="5397"/>
                    <a:pt x="58738" y="6032"/>
                  </a:cubicBezTo>
                  <a:lnTo>
                    <a:pt x="7303" y="35877"/>
                  </a:lnTo>
                  <a:cubicBezTo>
                    <a:pt x="6032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6" name="任意多边形: 形状 1515"/>
            <p:cNvSpPr/>
            <p:nvPr/>
          </p:nvSpPr>
          <p:spPr>
            <a:xfrm>
              <a:off x="8792528" y="123666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6032 h 38100"/>
                <a:gd name="connsiteX3" fmla="*/ 7303 w 63500"/>
                <a:gd name="connsiteY3" fmla="*/ 3587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8103" y="5398"/>
                    <a:pt x="58738" y="6032"/>
                  </a:cubicBezTo>
                  <a:lnTo>
                    <a:pt x="7303" y="35877"/>
                  </a:lnTo>
                  <a:cubicBezTo>
                    <a:pt x="6032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7" name="任意多边形: 形状 1516"/>
            <p:cNvSpPr/>
            <p:nvPr/>
          </p:nvSpPr>
          <p:spPr>
            <a:xfrm>
              <a:off x="8795068" y="123793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102 w 63500"/>
                <a:gd name="connsiteY2" fmla="*/ 6032 h 38100"/>
                <a:gd name="connsiteX3" fmla="*/ 58738 w 63500"/>
                <a:gd name="connsiteY3" fmla="*/ 6668 h 38100"/>
                <a:gd name="connsiteX4" fmla="*/ 7302 w 63500"/>
                <a:gd name="connsiteY4" fmla="*/ 36513 h 38100"/>
                <a:gd name="connsiteX5" fmla="*/ 6667 w 63500"/>
                <a:gd name="connsiteY5" fmla="*/ 35878 h 38100"/>
                <a:gd name="connsiteX6" fmla="*/ 4763 w 6350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7467" y="5398"/>
                    <a:pt x="58102" y="6032"/>
                  </a:cubicBezTo>
                  <a:cubicBezTo>
                    <a:pt x="58102" y="6032"/>
                    <a:pt x="58738" y="6032"/>
                    <a:pt x="58738" y="6668"/>
                  </a:cubicBezTo>
                  <a:lnTo>
                    <a:pt x="7302" y="36513"/>
                  </a:lnTo>
                  <a:cubicBezTo>
                    <a:pt x="7302" y="36513"/>
                    <a:pt x="6667" y="36513"/>
                    <a:pt x="6667" y="35878"/>
                  </a:cubicBezTo>
                  <a:cubicBezTo>
                    <a:pt x="6032" y="35243"/>
                    <a:pt x="5397" y="3460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8" name="任意多边形: 形状 1517"/>
            <p:cNvSpPr/>
            <p:nvPr/>
          </p:nvSpPr>
          <p:spPr>
            <a:xfrm>
              <a:off x="8797607" y="1239202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8 w 63500"/>
                <a:gd name="connsiteY1" fmla="*/ 4763 h 38100"/>
                <a:gd name="connsiteX2" fmla="*/ 58738 w 63500"/>
                <a:gd name="connsiteY2" fmla="*/ 6668 h 38100"/>
                <a:gd name="connsiteX3" fmla="*/ 7303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8" y="4763"/>
                  </a:lnTo>
                  <a:cubicBezTo>
                    <a:pt x="56833" y="5398"/>
                    <a:pt x="58103" y="6033"/>
                    <a:pt x="58738" y="6668"/>
                  </a:cubicBezTo>
                  <a:lnTo>
                    <a:pt x="7303" y="36513"/>
                  </a:lnTo>
                  <a:cubicBezTo>
                    <a:pt x="6033" y="35878"/>
                    <a:pt x="5398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9" name="任意多边形: 形状 1518"/>
            <p:cNvSpPr/>
            <p:nvPr/>
          </p:nvSpPr>
          <p:spPr>
            <a:xfrm>
              <a:off x="8800147" y="124047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6667 h 38100"/>
                <a:gd name="connsiteX3" fmla="*/ 7303 w 63500"/>
                <a:gd name="connsiteY3" fmla="*/ 3651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7"/>
                    <a:pt x="58103" y="6032"/>
                    <a:pt x="58738" y="6667"/>
                  </a:cubicBezTo>
                  <a:lnTo>
                    <a:pt x="7303" y="36513"/>
                  </a:lnTo>
                  <a:cubicBezTo>
                    <a:pt x="6668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0" name="任意多边形: 形状 1519"/>
            <p:cNvSpPr/>
            <p:nvPr/>
          </p:nvSpPr>
          <p:spPr>
            <a:xfrm>
              <a:off x="8802688" y="124237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6668 h 38100"/>
                <a:gd name="connsiteX3" fmla="*/ 7303 w 63500"/>
                <a:gd name="connsiteY3" fmla="*/ 36513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3" y="6033"/>
                    <a:pt x="58738" y="6668"/>
                  </a:cubicBezTo>
                  <a:lnTo>
                    <a:pt x="7303" y="36513"/>
                  </a:lnTo>
                  <a:cubicBezTo>
                    <a:pt x="6668" y="35878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1" name="任意多边形: 形状 1520"/>
            <p:cNvSpPr/>
            <p:nvPr/>
          </p:nvSpPr>
          <p:spPr>
            <a:xfrm>
              <a:off x="8805228" y="1244282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6668 h 38100"/>
                <a:gd name="connsiteX3" fmla="*/ 7303 w 63500"/>
                <a:gd name="connsiteY3" fmla="*/ 36513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8103" y="6032"/>
                    <a:pt x="58738" y="6668"/>
                  </a:cubicBezTo>
                  <a:lnTo>
                    <a:pt x="7303" y="36513"/>
                  </a:lnTo>
                  <a:cubicBezTo>
                    <a:pt x="6667" y="35878"/>
                    <a:pt x="6032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2" name="任意多边形: 形状 1521"/>
            <p:cNvSpPr/>
            <p:nvPr/>
          </p:nvSpPr>
          <p:spPr>
            <a:xfrm>
              <a:off x="8807768" y="124618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2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8102" y="6032"/>
                    <a:pt x="58738" y="7302"/>
                  </a:cubicBezTo>
                  <a:lnTo>
                    <a:pt x="7302" y="37148"/>
                  </a:lnTo>
                  <a:cubicBezTo>
                    <a:pt x="6667" y="36513"/>
                    <a:pt x="6032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3" name="任意多边形: 形状 1522"/>
            <p:cNvSpPr/>
            <p:nvPr/>
          </p:nvSpPr>
          <p:spPr>
            <a:xfrm>
              <a:off x="8810943" y="12487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303 h 38100"/>
                <a:gd name="connsiteX3" fmla="*/ 7302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8102" y="6033"/>
                    <a:pt x="58738" y="7303"/>
                  </a:cubicBezTo>
                  <a:lnTo>
                    <a:pt x="7302" y="37148"/>
                  </a:lnTo>
                  <a:cubicBezTo>
                    <a:pt x="6667" y="35878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4" name="任意多边形: 形状 1523"/>
            <p:cNvSpPr/>
            <p:nvPr/>
          </p:nvSpPr>
          <p:spPr>
            <a:xfrm>
              <a:off x="8813482" y="125126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8103" y="6668"/>
                    <a:pt x="58738" y="7302"/>
                  </a:cubicBezTo>
                  <a:lnTo>
                    <a:pt x="7303" y="37147"/>
                  </a:lnTo>
                  <a:cubicBezTo>
                    <a:pt x="6668" y="35877"/>
                    <a:pt x="539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5" name="任意多边形: 形状 1524"/>
            <p:cNvSpPr/>
            <p:nvPr/>
          </p:nvSpPr>
          <p:spPr>
            <a:xfrm>
              <a:off x="8816022" y="1253807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3 h 38100"/>
                <a:gd name="connsiteX3" fmla="*/ 7303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8"/>
                    <a:pt x="58103" y="6668"/>
                    <a:pt x="58738" y="7303"/>
                  </a:cubicBezTo>
                  <a:lnTo>
                    <a:pt x="7303" y="37148"/>
                  </a:lnTo>
                  <a:cubicBezTo>
                    <a:pt x="6668" y="35878"/>
                    <a:pt x="603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6" name="任意多边形: 形状 1525"/>
            <p:cNvSpPr/>
            <p:nvPr/>
          </p:nvSpPr>
          <p:spPr>
            <a:xfrm>
              <a:off x="8818563" y="125634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8103" y="6667"/>
                    <a:pt x="58738" y="7302"/>
                  </a:cubicBezTo>
                  <a:lnTo>
                    <a:pt x="7303" y="37147"/>
                  </a:lnTo>
                  <a:cubicBezTo>
                    <a:pt x="6668" y="35877"/>
                    <a:pt x="6032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7" name="任意多边形: 形状 1526"/>
            <p:cNvSpPr/>
            <p:nvPr/>
          </p:nvSpPr>
          <p:spPr>
            <a:xfrm>
              <a:off x="8821103" y="125888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8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8"/>
                    <a:pt x="58103" y="6668"/>
                    <a:pt x="58738" y="7302"/>
                  </a:cubicBezTo>
                  <a:lnTo>
                    <a:pt x="7303" y="37148"/>
                  </a:lnTo>
                  <a:cubicBezTo>
                    <a:pt x="6667" y="35877"/>
                    <a:pt x="6032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8" name="任意多边形: 形状 1527"/>
            <p:cNvSpPr/>
            <p:nvPr/>
          </p:nvSpPr>
          <p:spPr>
            <a:xfrm>
              <a:off x="8823643" y="1261427"/>
              <a:ext cx="63500" cy="38100"/>
            </a:xfrm>
            <a:custGeom>
              <a:avLst/>
              <a:gdLst>
                <a:gd name="connsiteX0" fmla="*/ 4763 w 63500"/>
                <a:gd name="connsiteY0" fmla="*/ 34608 h 38100"/>
                <a:gd name="connsiteX1" fmla="*/ 56197 w 63500"/>
                <a:gd name="connsiteY1" fmla="*/ 4763 h 38100"/>
                <a:gd name="connsiteX2" fmla="*/ 58738 w 63500"/>
                <a:gd name="connsiteY2" fmla="*/ 7303 h 38100"/>
                <a:gd name="connsiteX3" fmla="*/ 7302 w 63500"/>
                <a:gd name="connsiteY3" fmla="*/ 37148 h 38100"/>
                <a:gd name="connsiteX4" fmla="*/ 4763 w 6350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7467" y="6668"/>
                    <a:pt x="58738" y="7303"/>
                  </a:cubicBezTo>
                  <a:lnTo>
                    <a:pt x="7302" y="37148"/>
                  </a:lnTo>
                  <a:cubicBezTo>
                    <a:pt x="6032" y="3651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9" name="任意多边形: 形状 1528"/>
            <p:cNvSpPr/>
            <p:nvPr/>
          </p:nvSpPr>
          <p:spPr>
            <a:xfrm>
              <a:off x="8826182" y="1263968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8 w 63500"/>
                <a:gd name="connsiteY1" fmla="*/ 4763 h 38100"/>
                <a:gd name="connsiteX2" fmla="*/ 58738 w 63500"/>
                <a:gd name="connsiteY2" fmla="*/ 7302 h 38100"/>
                <a:gd name="connsiteX3" fmla="*/ 7303 w 63500"/>
                <a:gd name="connsiteY3" fmla="*/ 37147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7468" y="6668"/>
                    <a:pt x="58738" y="7302"/>
                  </a:cubicBezTo>
                  <a:lnTo>
                    <a:pt x="7303" y="37147"/>
                  </a:lnTo>
                  <a:cubicBezTo>
                    <a:pt x="6033" y="36513"/>
                    <a:pt x="5398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0" name="任意多边形: 形状 1529"/>
            <p:cNvSpPr/>
            <p:nvPr/>
          </p:nvSpPr>
          <p:spPr>
            <a:xfrm>
              <a:off x="8828088" y="1267143"/>
              <a:ext cx="63500" cy="38100"/>
            </a:xfrm>
            <a:custGeom>
              <a:avLst/>
              <a:gdLst>
                <a:gd name="connsiteX0" fmla="*/ 4763 w 63500"/>
                <a:gd name="connsiteY0" fmla="*/ 34607 h 38100"/>
                <a:gd name="connsiteX1" fmla="*/ 56197 w 63500"/>
                <a:gd name="connsiteY1" fmla="*/ 4763 h 38100"/>
                <a:gd name="connsiteX2" fmla="*/ 58738 w 63500"/>
                <a:gd name="connsiteY2" fmla="*/ 7938 h 38100"/>
                <a:gd name="connsiteX3" fmla="*/ 7303 w 63500"/>
                <a:gd name="connsiteY3" fmla="*/ 37782 h 38100"/>
                <a:gd name="connsiteX4" fmla="*/ 4763 w 6350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8103" y="7302"/>
                    <a:pt x="58738" y="7938"/>
                  </a:cubicBezTo>
                  <a:lnTo>
                    <a:pt x="7303" y="37782"/>
                  </a:lnTo>
                  <a:cubicBezTo>
                    <a:pt x="6668" y="36513"/>
                    <a:pt x="6032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1" name="任意多边形: 形状 1530"/>
            <p:cNvSpPr/>
            <p:nvPr/>
          </p:nvSpPr>
          <p:spPr>
            <a:xfrm>
              <a:off x="8830628" y="127031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0007 w 63500"/>
                <a:gd name="connsiteY2" fmla="*/ 9843 h 44450"/>
                <a:gd name="connsiteX3" fmla="*/ 8572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8"/>
                    <a:pt x="58738" y="7938"/>
                    <a:pt x="60007" y="9843"/>
                  </a:cubicBezTo>
                  <a:lnTo>
                    <a:pt x="8572" y="39688"/>
                  </a:lnTo>
                  <a:cubicBezTo>
                    <a:pt x="7303" y="38418"/>
                    <a:pt x="6032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2" name="任意多边形: 形状 1531"/>
            <p:cNvSpPr/>
            <p:nvPr/>
          </p:nvSpPr>
          <p:spPr>
            <a:xfrm>
              <a:off x="8834438" y="127539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60643 w 63500"/>
                <a:gd name="connsiteY2" fmla="*/ 12382 h 44450"/>
                <a:gd name="connsiteX3" fmla="*/ 9207 w 63500"/>
                <a:gd name="connsiteY3" fmla="*/ 42227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8103" y="7302"/>
                    <a:pt x="59372" y="9842"/>
                    <a:pt x="60643" y="12382"/>
                  </a:cubicBezTo>
                  <a:lnTo>
                    <a:pt x="9207" y="42227"/>
                  </a:lnTo>
                  <a:cubicBezTo>
                    <a:pt x="7938" y="39688"/>
                    <a:pt x="6668" y="3714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3" name="任意多边形: 形状 1532"/>
            <p:cNvSpPr/>
            <p:nvPr/>
          </p:nvSpPr>
          <p:spPr>
            <a:xfrm>
              <a:off x="8839518" y="1283018"/>
              <a:ext cx="63500" cy="44450"/>
            </a:xfrm>
            <a:custGeom>
              <a:avLst/>
              <a:gdLst>
                <a:gd name="connsiteX0" fmla="*/ 4763 w 63500"/>
                <a:gd name="connsiteY0" fmla="*/ 34607 h 44450"/>
                <a:gd name="connsiteX1" fmla="*/ 56197 w 63500"/>
                <a:gd name="connsiteY1" fmla="*/ 4763 h 44450"/>
                <a:gd name="connsiteX2" fmla="*/ 58738 w 63500"/>
                <a:gd name="connsiteY2" fmla="*/ 9843 h 44450"/>
                <a:gd name="connsiteX3" fmla="*/ 7302 w 63500"/>
                <a:gd name="connsiteY3" fmla="*/ 39688 h 44450"/>
                <a:gd name="connsiteX4" fmla="*/ 4763 w 63500"/>
                <a:gd name="connsiteY4" fmla="*/ 3460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00" h="44450">
                  <a:moveTo>
                    <a:pt x="4763" y="34607"/>
                  </a:moveTo>
                  <a:lnTo>
                    <a:pt x="56197" y="4763"/>
                  </a:lnTo>
                  <a:cubicBezTo>
                    <a:pt x="57467" y="6668"/>
                    <a:pt x="58102" y="7938"/>
                    <a:pt x="58738" y="9843"/>
                  </a:cubicBezTo>
                  <a:lnTo>
                    <a:pt x="7302" y="39688"/>
                  </a:lnTo>
                  <a:cubicBezTo>
                    <a:pt x="6667" y="38418"/>
                    <a:pt x="5397" y="3651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4" name="任意多边形: 形状 1533"/>
            <p:cNvSpPr/>
            <p:nvPr/>
          </p:nvSpPr>
          <p:spPr>
            <a:xfrm>
              <a:off x="8842057" y="12880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8103 w 57150"/>
                <a:gd name="connsiteY2" fmla="*/ 7938 h 38100"/>
                <a:gd name="connsiteX3" fmla="*/ 6668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6032"/>
                    <a:pt x="57468" y="6667"/>
                    <a:pt x="58103" y="7938"/>
                  </a:cubicBezTo>
                  <a:lnTo>
                    <a:pt x="6668" y="37782"/>
                  </a:lnTo>
                  <a:cubicBezTo>
                    <a:pt x="6033" y="37147"/>
                    <a:pt x="5398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5" name="任意多边形: 形状 1534"/>
            <p:cNvSpPr/>
            <p:nvPr/>
          </p:nvSpPr>
          <p:spPr>
            <a:xfrm>
              <a:off x="8843963" y="129127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7938 h 38100"/>
                <a:gd name="connsiteX3" fmla="*/ 6032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6032"/>
                    <a:pt x="57468" y="6667"/>
                    <a:pt x="57468" y="7938"/>
                  </a:cubicBezTo>
                  <a:lnTo>
                    <a:pt x="6032" y="37782"/>
                  </a:lnTo>
                  <a:cubicBezTo>
                    <a:pt x="5397" y="37147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6" name="任意多边形: 形状 1535"/>
            <p:cNvSpPr/>
            <p:nvPr/>
          </p:nvSpPr>
          <p:spPr>
            <a:xfrm>
              <a:off x="8845232" y="129444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7468 w 57150"/>
                <a:gd name="connsiteY2" fmla="*/ 7302 h 38100"/>
                <a:gd name="connsiteX3" fmla="*/ 6033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833" y="5397"/>
                    <a:pt x="56833" y="6667"/>
                    <a:pt x="57468" y="7302"/>
                  </a:cubicBezTo>
                  <a:lnTo>
                    <a:pt x="6033" y="37147"/>
                  </a:lnTo>
                  <a:cubicBezTo>
                    <a:pt x="5398" y="36513"/>
                    <a:pt x="5398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7" name="任意多边形: 形状 1536"/>
            <p:cNvSpPr/>
            <p:nvPr/>
          </p:nvSpPr>
          <p:spPr>
            <a:xfrm>
              <a:off x="8846503" y="129762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7 w 57150"/>
                <a:gd name="connsiteY2" fmla="*/ 7302 h 38100"/>
                <a:gd name="connsiteX3" fmla="*/ 6032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2" y="5397"/>
                    <a:pt x="56832" y="6667"/>
                    <a:pt x="57467" y="7302"/>
                  </a:cubicBezTo>
                  <a:lnTo>
                    <a:pt x="6032" y="37147"/>
                  </a:lnTo>
                  <a:cubicBezTo>
                    <a:pt x="5397" y="35877"/>
                    <a:pt x="5397" y="35242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8" name="任意多边形: 形状 1537"/>
            <p:cNvSpPr/>
            <p:nvPr/>
          </p:nvSpPr>
          <p:spPr>
            <a:xfrm>
              <a:off x="8847772" y="130016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7468 w 57150"/>
                <a:gd name="connsiteY2" fmla="*/ 7302 h 38100"/>
                <a:gd name="connsiteX3" fmla="*/ 6033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5398"/>
                    <a:pt x="56833" y="6668"/>
                    <a:pt x="57468" y="7302"/>
                  </a:cubicBezTo>
                  <a:lnTo>
                    <a:pt x="6033" y="37148"/>
                  </a:lnTo>
                  <a:cubicBezTo>
                    <a:pt x="5397" y="3651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9" name="任意多边形: 形状 1538"/>
            <p:cNvSpPr/>
            <p:nvPr/>
          </p:nvSpPr>
          <p:spPr>
            <a:xfrm>
              <a:off x="8849043" y="130270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7 w 57150"/>
                <a:gd name="connsiteY2" fmla="*/ 7303 h 38100"/>
                <a:gd name="connsiteX3" fmla="*/ 6032 w 57150"/>
                <a:gd name="connsiteY3" fmla="*/ 3714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5398"/>
                    <a:pt x="56832" y="6668"/>
                    <a:pt x="57467" y="7303"/>
                  </a:cubicBezTo>
                  <a:lnTo>
                    <a:pt x="6032" y="37148"/>
                  </a:lnTo>
                  <a:cubicBezTo>
                    <a:pt x="5397" y="36513"/>
                    <a:pt x="476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0" name="任意多边形: 形状 1539"/>
            <p:cNvSpPr/>
            <p:nvPr/>
          </p:nvSpPr>
          <p:spPr>
            <a:xfrm>
              <a:off x="8849678" y="1305877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7467 w 57150"/>
                <a:gd name="connsiteY2" fmla="*/ 7938 h 38100"/>
                <a:gd name="connsiteX3" fmla="*/ 6032 w 57150"/>
                <a:gd name="connsiteY3" fmla="*/ 3778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832" y="6033"/>
                    <a:pt x="56832" y="6668"/>
                    <a:pt x="57467" y="7938"/>
                  </a:cubicBezTo>
                  <a:lnTo>
                    <a:pt x="6032" y="37783"/>
                  </a:lnTo>
                  <a:cubicBezTo>
                    <a:pt x="5397" y="36513"/>
                    <a:pt x="5397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1" name="任意多边形: 形状 1540"/>
            <p:cNvSpPr/>
            <p:nvPr/>
          </p:nvSpPr>
          <p:spPr>
            <a:xfrm>
              <a:off x="8850947" y="130841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3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833" y="6032"/>
                    <a:pt x="56833" y="6668"/>
                    <a:pt x="56833" y="7938"/>
                  </a:cubicBezTo>
                  <a:lnTo>
                    <a:pt x="5397" y="37782"/>
                  </a:lnTo>
                  <a:cubicBezTo>
                    <a:pt x="5397" y="36513"/>
                    <a:pt x="5397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2" name="任意多边形: 形状 1541"/>
            <p:cNvSpPr/>
            <p:nvPr/>
          </p:nvSpPr>
          <p:spPr>
            <a:xfrm>
              <a:off x="8851582" y="131159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6833 w 57150"/>
                <a:gd name="connsiteY2" fmla="*/ 7938 h 38100"/>
                <a:gd name="connsiteX3" fmla="*/ 5398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198" y="6032"/>
                    <a:pt x="56833" y="6668"/>
                    <a:pt x="56833" y="7938"/>
                  </a:cubicBezTo>
                  <a:lnTo>
                    <a:pt x="5398" y="37782"/>
                  </a:lnTo>
                  <a:cubicBezTo>
                    <a:pt x="5398" y="36513"/>
                    <a:pt x="5398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3" name="任意多边形: 形状 1542"/>
            <p:cNvSpPr/>
            <p:nvPr/>
          </p:nvSpPr>
          <p:spPr>
            <a:xfrm>
              <a:off x="8852853" y="131476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6668"/>
                    <a:pt x="56832" y="7938"/>
                  </a:cubicBezTo>
                  <a:lnTo>
                    <a:pt x="5397" y="37782"/>
                  </a:lnTo>
                  <a:cubicBezTo>
                    <a:pt x="5397" y="3651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4" name="任意多边形: 形状 1543"/>
            <p:cNvSpPr/>
            <p:nvPr/>
          </p:nvSpPr>
          <p:spPr>
            <a:xfrm>
              <a:off x="8853488" y="131730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2" y="6668"/>
                    <a:pt x="56832" y="7938"/>
                  </a:cubicBezTo>
                  <a:lnTo>
                    <a:pt x="5397" y="37782"/>
                  </a:lnTo>
                  <a:cubicBezTo>
                    <a:pt x="5397" y="36513"/>
                    <a:pt x="4763" y="35878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5" name="任意多边形: 形状 1544"/>
            <p:cNvSpPr/>
            <p:nvPr/>
          </p:nvSpPr>
          <p:spPr>
            <a:xfrm>
              <a:off x="8854122" y="1320482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3 w 57150"/>
                <a:gd name="connsiteY2" fmla="*/ 7938 h 38100"/>
                <a:gd name="connsiteX3" fmla="*/ 5397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833" y="6668"/>
                    <a:pt x="56833" y="7938"/>
                  </a:cubicBezTo>
                  <a:lnTo>
                    <a:pt x="5397" y="37782"/>
                  </a:lnTo>
                  <a:cubicBezTo>
                    <a:pt x="5397" y="36513"/>
                    <a:pt x="5397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6" name="任意多边形: 形状 1545"/>
            <p:cNvSpPr/>
            <p:nvPr/>
          </p:nvSpPr>
          <p:spPr>
            <a:xfrm>
              <a:off x="8854757" y="1323657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8 w 57150"/>
                <a:gd name="connsiteY1" fmla="*/ 4763 h 38100"/>
                <a:gd name="connsiteX2" fmla="*/ 56833 w 57150"/>
                <a:gd name="connsiteY2" fmla="*/ 7303 h 38100"/>
                <a:gd name="connsiteX3" fmla="*/ 5398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8" y="4763"/>
                  </a:lnTo>
                  <a:cubicBezTo>
                    <a:pt x="56198" y="5398"/>
                    <a:pt x="56833" y="6668"/>
                    <a:pt x="56833" y="7303"/>
                  </a:cubicBezTo>
                  <a:lnTo>
                    <a:pt x="5398" y="37148"/>
                  </a:lnTo>
                  <a:cubicBezTo>
                    <a:pt x="5398" y="3651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7" name="任意多边形: 形状 1546"/>
            <p:cNvSpPr/>
            <p:nvPr/>
          </p:nvSpPr>
          <p:spPr>
            <a:xfrm>
              <a:off x="8855393" y="132619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832 w 57150"/>
                <a:gd name="connsiteY2" fmla="*/ 7302 h 38100"/>
                <a:gd name="connsiteX3" fmla="*/ 5397 w 57150"/>
                <a:gd name="connsiteY3" fmla="*/ 37147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7"/>
                    <a:pt x="56197" y="6667"/>
                    <a:pt x="56832" y="7302"/>
                  </a:cubicBezTo>
                  <a:lnTo>
                    <a:pt x="5397" y="37147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8" name="任意多边形: 形状 1547"/>
            <p:cNvSpPr/>
            <p:nvPr/>
          </p:nvSpPr>
          <p:spPr>
            <a:xfrm>
              <a:off x="8856028" y="132873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4763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8"/>
                    <a:pt x="56197" y="6668"/>
                    <a:pt x="56197" y="7302"/>
                  </a:cubicBezTo>
                  <a:lnTo>
                    <a:pt x="4763" y="37148"/>
                  </a:ln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9" name="任意多边形: 形状 1548"/>
            <p:cNvSpPr/>
            <p:nvPr/>
          </p:nvSpPr>
          <p:spPr>
            <a:xfrm>
              <a:off x="8856028" y="133191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4763 w 57150"/>
                <a:gd name="connsiteY3" fmla="*/ 37148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8"/>
                    <a:pt x="56197" y="6668"/>
                    <a:pt x="56197" y="7302"/>
                  </a:cubicBezTo>
                  <a:lnTo>
                    <a:pt x="4763" y="37148"/>
                  </a:lnTo>
                  <a:cubicBezTo>
                    <a:pt x="4763" y="3651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0" name="任意多边形: 形状 1549"/>
            <p:cNvSpPr/>
            <p:nvPr/>
          </p:nvSpPr>
          <p:spPr>
            <a:xfrm>
              <a:off x="8856028" y="13344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197 w 57150"/>
                <a:gd name="connsiteY2" fmla="*/ 7303 h 38100"/>
                <a:gd name="connsiteX3" fmla="*/ 4763 w 57150"/>
                <a:gd name="connsiteY3" fmla="*/ 37148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5398"/>
                    <a:pt x="56197" y="6668"/>
                    <a:pt x="56197" y="7303"/>
                  </a:cubicBezTo>
                  <a:lnTo>
                    <a:pt x="4763" y="37148"/>
                  </a:lnTo>
                  <a:cubicBezTo>
                    <a:pt x="5397" y="36513"/>
                    <a:pt x="4763" y="35878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1" name="任意多边形: 形状 1550"/>
            <p:cNvSpPr/>
            <p:nvPr/>
          </p:nvSpPr>
          <p:spPr>
            <a:xfrm>
              <a:off x="8856663" y="133699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302 h 38100"/>
                <a:gd name="connsiteX3" fmla="*/ 56197 w 57150"/>
                <a:gd name="connsiteY3" fmla="*/ 7302 h 38100"/>
                <a:gd name="connsiteX4" fmla="*/ 4763 w 57150"/>
                <a:gd name="connsiteY4" fmla="*/ 37147 h 38100"/>
                <a:gd name="connsiteX5" fmla="*/ 4763 w 57150"/>
                <a:gd name="connsiteY5" fmla="*/ 37147 h 38100"/>
                <a:gd name="connsiteX6" fmla="*/ 4763 w 57150"/>
                <a:gd name="connsiteY6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7"/>
                    <a:pt x="56197" y="6668"/>
                    <a:pt x="56197" y="7302"/>
                  </a:cubicBezTo>
                  <a:cubicBezTo>
                    <a:pt x="56197" y="7302"/>
                    <a:pt x="56197" y="7302"/>
                    <a:pt x="56197" y="7302"/>
                  </a:cubicBezTo>
                  <a:lnTo>
                    <a:pt x="4763" y="37147"/>
                  </a:lnTo>
                  <a:cubicBezTo>
                    <a:pt x="4763" y="37147"/>
                    <a:pt x="4763" y="37147"/>
                    <a:pt x="4763" y="37147"/>
                  </a:cubicBezTo>
                  <a:cubicBezTo>
                    <a:pt x="4763" y="36513"/>
                    <a:pt x="4763" y="35877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2" name="任意多边形: 形状 1551"/>
            <p:cNvSpPr/>
            <p:nvPr/>
          </p:nvSpPr>
          <p:spPr>
            <a:xfrm>
              <a:off x="8856663" y="1340168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6668 h 38100"/>
                <a:gd name="connsiteX3" fmla="*/ 4763 w 57150"/>
                <a:gd name="connsiteY3" fmla="*/ 36513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5397"/>
                    <a:pt x="56197" y="6032"/>
                    <a:pt x="56197" y="6668"/>
                  </a:cubicBezTo>
                  <a:lnTo>
                    <a:pt x="4763" y="36513"/>
                  </a:lnTo>
                  <a:cubicBezTo>
                    <a:pt x="4763" y="35877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3" name="任意多边形: 形状 1552"/>
            <p:cNvSpPr/>
            <p:nvPr/>
          </p:nvSpPr>
          <p:spPr>
            <a:xfrm>
              <a:off x="8856186" y="1342073"/>
              <a:ext cx="57150" cy="38100"/>
            </a:xfrm>
            <a:custGeom>
              <a:avLst/>
              <a:gdLst>
                <a:gd name="connsiteX0" fmla="*/ 5239 w 57150"/>
                <a:gd name="connsiteY0" fmla="*/ 34607 h 38100"/>
                <a:gd name="connsiteX1" fmla="*/ 56673 w 57150"/>
                <a:gd name="connsiteY1" fmla="*/ 4763 h 38100"/>
                <a:gd name="connsiteX2" fmla="*/ 56673 w 57150"/>
                <a:gd name="connsiteY2" fmla="*/ 7302 h 38100"/>
                <a:gd name="connsiteX3" fmla="*/ 5239 w 57150"/>
                <a:gd name="connsiteY3" fmla="*/ 37147 h 38100"/>
                <a:gd name="connsiteX4" fmla="*/ 5239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5239" y="34607"/>
                  </a:moveTo>
                  <a:lnTo>
                    <a:pt x="56673" y="4763"/>
                  </a:lnTo>
                  <a:cubicBezTo>
                    <a:pt x="56673" y="5397"/>
                    <a:pt x="56673" y="6667"/>
                    <a:pt x="56673" y="7302"/>
                  </a:cubicBezTo>
                  <a:lnTo>
                    <a:pt x="5239" y="37147"/>
                  </a:lnTo>
                  <a:cubicBezTo>
                    <a:pt x="4604" y="35877"/>
                    <a:pt x="4604" y="35242"/>
                    <a:pt x="5239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4" name="任意多边形: 形状 1553"/>
            <p:cNvSpPr/>
            <p:nvPr/>
          </p:nvSpPr>
          <p:spPr>
            <a:xfrm>
              <a:off x="8856028" y="1344613"/>
              <a:ext cx="57150" cy="38100"/>
            </a:xfrm>
            <a:custGeom>
              <a:avLst/>
              <a:gdLst>
                <a:gd name="connsiteX0" fmla="*/ 4763 w 57150"/>
                <a:gd name="connsiteY0" fmla="*/ 34607 h 38100"/>
                <a:gd name="connsiteX1" fmla="*/ 56197 w 57150"/>
                <a:gd name="connsiteY1" fmla="*/ 4763 h 38100"/>
                <a:gd name="connsiteX2" fmla="*/ 56197 w 57150"/>
                <a:gd name="connsiteY2" fmla="*/ 7938 h 38100"/>
                <a:gd name="connsiteX3" fmla="*/ 4763 w 57150"/>
                <a:gd name="connsiteY3" fmla="*/ 37782 h 38100"/>
                <a:gd name="connsiteX4" fmla="*/ 4763 w 57150"/>
                <a:gd name="connsiteY4" fmla="*/ 346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7"/>
                  </a:moveTo>
                  <a:lnTo>
                    <a:pt x="56197" y="4763"/>
                  </a:lnTo>
                  <a:cubicBezTo>
                    <a:pt x="56197" y="6032"/>
                    <a:pt x="56197" y="6668"/>
                    <a:pt x="56197" y="7938"/>
                  </a:cubicBezTo>
                  <a:lnTo>
                    <a:pt x="4763" y="37782"/>
                  </a:lnTo>
                  <a:cubicBezTo>
                    <a:pt x="4763" y="36513"/>
                    <a:pt x="4763" y="35243"/>
                    <a:pt x="4763" y="3460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5" name="任意多边形: 形状 1554"/>
            <p:cNvSpPr/>
            <p:nvPr/>
          </p:nvSpPr>
          <p:spPr>
            <a:xfrm>
              <a:off x="8856028" y="1347152"/>
              <a:ext cx="57150" cy="38100"/>
            </a:xfrm>
            <a:custGeom>
              <a:avLst/>
              <a:gdLst>
                <a:gd name="connsiteX0" fmla="*/ 4763 w 57150"/>
                <a:gd name="connsiteY0" fmla="*/ 34608 h 38100"/>
                <a:gd name="connsiteX1" fmla="*/ 56197 w 57150"/>
                <a:gd name="connsiteY1" fmla="*/ 4763 h 38100"/>
                <a:gd name="connsiteX2" fmla="*/ 56197 w 57150"/>
                <a:gd name="connsiteY2" fmla="*/ 6668 h 38100"/>
                <a:gd name="connsiteX3" fmla="*/ 4763 w 57150"/>
                <a:gd name="connsiteY3" fmla="*/ 36513 h 38100"/>
                <a:gd name="connsiteX4" fmla="*/ 4763 w 57150"/>
                <a:gd name="connsiteY4" fmla="*/ 3460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38100">
                  <a:moveTo>
                    <a:pt x="4763" y="34608"/>
                  </a:moveTo>
                  <a:lnTo>
                    <a:pt x="56197" y="4763"/>
                  </a:lnTo>
                  <a:cubicBezTo>
                    <a:pt x="56197" y="5398"/>
                    <a:pt x="56197" y="6033"/>
                    <a:pt x="56197" y="6668"/>
                  </a:cubicBezTo>
                  <a:lnTo>
                    <a:pt x="4763" y="36513"/>
                  </a:lnTo>
                  <a:cubicBezTo>
                    <a:pt x="4763" y="35878"/>
                    <a:pt x="4763" y="35243"/>
                    <a:pt x="4763" y="3460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6" name="任意多边形: 形状 1555"/>
            <p:cNvSpPr/>
            <p:nvPr/>
          </p:nvSpPr>
          <p:spPr>
            <a:xfrm>
              <a:off x="8403272" y="1107028"/>
              <a:ext cx="514350" cy="431800"/>
            </a:xfrm>
            <a:custGeom>
              <a:avLst/>
              <a:gdLst>
                <a:gd name="connsiteX0" fmla="*/ 263843 w 514350"/>
                <a:gd name="connsiteY0" fmla="*/ 19462 h 431800"/>
                <a:gd name="connsiteX1" fmla="*/ 362903 w 514350"/>
                <a:gd name="connsiteY1" fmla="*/ 159162 h 431800"/>
                <a:gd name="connsiteX2" fmla="*/ 398463 w 514350"/>
                <a:gd name="connsiteY2" fmla="*/ 166782 h 431800"/>
                <a:gd name="connsiteX3" fmla="*/ 458153 w 514350"/>
                <a:gd name="connsiteY3" fmla="*/ 267747 h 431800"/>
                <a:gd name="connsiteX4" fmla="*/ 457518 w 514350"/>
                <a:gd name="connsiteY4" fmla="*/ 277272 h 431800"/>
                <a:gd name="connsiteX5" fmla="*/ 512128 w 514350"/>
                <a:gd name="connsiteY5" fmla="*/ 384587 h 431800"/>
                <a:gd name="connsiteX6" fmla="*/ 454343 w 514350"/>
                <a:gd name="connsiteY6" fmla="*/ 427132 h 431800"/>
                <a:gd name="connsiteX7" fmla="*/ 53022 w 514350"/>
                <a:gd name="connsiteY7" fmla="*/ 196627 h 431800"/>
                <a:gd name="connsiteX8" fmla="*/ 44768 w 514350"/>
                <a:gd name="connsiteY8" fmla="*/ 192182 h 431800"/>
                <a:gd name="connsiteX9" fmla="*/ 4763 w 514350"/>
                <a:gd name="connsiteY9" fmla="*/ 124872 h 431800"/>
                <a:gd name="connsiteX10" fmla="*/ 39053 w 514350"/>
                <a:gd name="connsiteY10" fmla="*/ 100742 h 431800"/>
                <a:gd name="connsiteX11" fmla="*/ 37147 w 514350"/>
                <a:gd name="connsiteY11" fmla="*/ 86137 h 431800"/>
                <a:gd name="connsiteX12" fmla="*/ 77153 w 514350"/>
                <a:gd name="connsiteY12" fmla="*/ 64547 h 431800"/>
                <a:gd name="connsiteX13" fmla="*/ 98108 w 514350"/>
                <a:gd name="connsiteY13" fmla="*/ 83597 h 431800"/>
                <a:gd name="connsiteX14" fmla="*/ 141288 w 514350"/>
                <a:gd name="connsiteY14" fmla="*/ 62007 h 431800"/>
                <a:gd name="connsiteX15" fmla="*/ 159068 w 514350"/>
                <a:gd name="connsiteY15" fmla="*/ 76612 h 431800"/>
                <a:gd name="connsiteX16" fmla="*/ 263843 w 514350"/>
                <a:gd name="connsiteY16" fmla="*/ 19462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4350" h="431800">
                  <a:moveTo>
                    <a:pt x="263843" y="19462"/>
                  </a:moveTo>
                  <a:cubicBezTo>
                    <a:pt x="310833" y="46767"/>
                    <a:pt x="350203" y="104552"/>
                    <a:pt x="362903" y="159162"/>
                  </a:cubicBezTo>
                  <a:cubicBezTo>
                    <a:pt x="373063" y="156622"/>
                    <a:pt x="385128" y="158527"/>
                    <a:pt x="398463" y="166782"/>
                  </a:cubicBezTo>
                  <a:cubicBezTo>
                    <a:pt x="431483" y="185832"/>
                    <a:pt x="458153" y="230917"/>
                    <a:pt x="458153" y="267747"/>
                  </a:cubicBezTo>
                  <a:cubicBezTo>
                    <a:pt x="458153" y="270922"/>
                    <a:pt x="458153" y="274097"/>
                    <a:pt x="457518" y="277272"/>
                  </a:cubicBezTo>
                  <a:cubicBezTo>
                    <a:pt x="488633" y="302672"/>
                    <a:pt x="512128" y="347122"/>
                    <a:pt x="512128" y="384587"/>
                  </a:cubicBezTo>
                  <a:cubicBezTo>
                    <a:pt x="512128" y="422687"/>
                    <a:pt x="486728" y="439832"/>
                    <a:pt x="454343" y="427132"/>
                  </a:cubicBezTo>
                  <a:lnTo>
                    <a:pt x="53022" y="196627"/>
                  </a:lnTo>
                  <a:cubicBezTo>
                    <a:pt x="50483" y="194722"/>
                    <a:pt x="47943" y="193452"/>
                    <a:pt x="44768" y="192182"/>
                  </a:cubicBezTo>
                  <a:cubicBezTo>
                    <a:pt x="22543" y="179482"/>
                    <a:pt x="4763" y="149002"/>
                    <a:pt x="4763" y="124872"/>
                  </a:cubicBezTo>
                  <a:cubicBezTo>
                    <a:pt x="4763" y="102647"/>
                    <a:pt x="20003" y="92487"/>
                    <a:pt x="39053" y="100742"/>
                  </a:cubicBezTo>
                  <a:cubicBezTo>
                    <a:pt x="37783" y="95662"/>
                    <a:pt x="37147" y="90582"/>
                    <a:pt x="37147" y="86137"/>
                  </a:cubicBezTo>
                  <a:cubicBezTo>
                    <a:pt x="37147" y="61372"/>
                    <a:pt x="54928" y="51847"/>
                    <a:pt x="77153" y="64547"/>
                  </a:cubicBezTo>
                  <a:cubicBezTo>
                    <a:pt x="84772" y="68992"/>
                    <a:pt x="91758" y="75342"/>
                    <a:pt x="98108" y="83597"/>
                  </a:cubicBezTo>
                  <a:cubicBezTo>
                    <a:pt x="98743" y="58197"/>
                    <a:pt x="117793" y="48672"/>
                    <a:pt x="141288" y="62007"/>
                  </a:cubicBezTo>
                  <a:cubicBezTo>
                    <a:pt x="147638" y="65817"/>
                    <a:pt x="153988" y="70897"/>
                    <a:pt x="159068" y="76612"/>
                  </a:cubicBezTo>
                  <a:cubicBezTo>
                    <a:pt x="159703" y="10572"/>
                    <a:pt x="206058" y="-13558"/>
                    <a:pt x="263843" y="19462"/>
                  </a:cubicBezTo>
                  <a:close/>
                </a:path>
              </a:pathLst>
            </a:custGeom>
            <a:solidFill>
              <a:srgbClr val="D9E1F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7" name="任意多边形: 形状 1556"/>
            <p:cNvSpPr/>
            <p:nvPr/>
          </p:nvSpPr>
          <p:spPr>
            <a:xfrm>
              <a:off x="6976428" y="1983423"/>
              <a:ext cx="76200" cy="50800"/>
            </a:xfrm>
            <a:custGeom>
              <a:avLst/>
              <a:gdLst>
                <a:gd name="connsiteX0" fmla="*/ 77153 w 76200"/>
                <a:gd name="connsiteY0" fmla="*/ 46038 h 50800"/>
                <a:gd name="connsiteX1" fmla="*/ 9207 w 76200"/>
                <a:gd name="connsiteY1" fmla="*/ 6667 h 50800"/>
                <a:gd name="connsiteX2" fmla="*/ 4763 w 76200"/>
                <a:gd name="connsiteY2" fmla="*/ 4763 h 50800"/>
                <a:gd name="connsiteX3" fmla="*/ 72707 w 76200"/>
                <a:gd name="connsiteY3" fmla="*/ 44132 h 50800"/>
                <a:gd name="connsiteX4" fmla="*/ 77153 w 76200"/>
                <a:gd name="connsiteY4" fmla="*/ 46038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7153" y="46038"/>
                  </a:moveTo>
                  <a:lnTo>
                    <a:pt x="9207" y="6667"/>
                  </a:lnTo>
                  <a:cubicBezTo>
                    <a:pt x="7938" y="6032"/>
                    <a:pt x="6667" y="5398"/>
                    <a:pt x="4763" y="4763"/>
                  </a:cubicBezTo>
                  <a:lnTo>
                    <a:pt x="72707" y="44132"/>
                  </a:lnTo>
                  <a:cubicBezTo>
                    <a:pt x="74613" y="44767"/>
                    <a:pt x="75882" y="45402"/>
                    <a:pt x="77153" y="4603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8" name="任意多边形: 形状 1557"/>
            <p:cNvSpPr/>
            <p:nvPr/>
          </p:nvSpPr>
          <p:spPr>
            <a:xfrm>
              <a:off x="6972618" y="1982152"/>
              <a:ext cx="76200" cy="44450"/>
            </a:xfrm>
            <a:custGeom>
              <a:avLst/>
              <a:gdLst>
                <a:gd name="connsiteX0" fmla="*/ 76517 w 76200"/>
                <a:gd name="connsiteY0" fmla="*/ 45402 h 44450"/>
                <a:gd name="connsiteX1" fmla="*/ 8572 w 76200"/>
                <a:gd name="connsiteY1" fmla="*/ 6033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6517 w 76200"/>
                <a:gd name="connsiteY4" fmla="*/ 4540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6517" y="45402"/>
                  </a:moveTo>
                  <a:lnTo>
                    <a:pt x="8572" y="6033"/>
                  </a:lnTo>
                  <a:cubicBezTo>
                    <a:pt x="7302" y="5398"/>
                    <a:pt x="6032" y="5398"/>
                    <a:pt x="4763" y="4763"/>
                  </a:cubicBezTo>
                  <a:lnTo>
                    <a:pt x="72707" y="44133"/>
                  </a:lnTo>
                  <a:cubicBezTo>
                    <a:pt x="74613" y="44768"/>
                    <a:pt x="75247" y="44768"/>
                    <a:pt x="76517" y="4540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9" name="任意多边形: 形状 1558"/>
            <p:cNvSpPr/>
            <p:nvPr/>
          </p:nvSpPr>
          <p:spPr>
            <a:xfrm>
              <a:off x="6970078" y="1981517"/>
              <a:ext cx="76200" cy="44450"/>
            </a:xfrm>
            <a:custGeom>
              <a:avLst/>
              <a:gdLst>
                <a:gd name="connsiteX0" fmla="*/ 75882 w 76200"/>
                <a:gd name="connsiteY0" fmla="*/ 44768 h 44450"/>
                <a:gd name="connsiteX1" fmla="*/ 7938 w 76200"/>
                <a:gd name="connsiteY1" fmla="*/ 5398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5882 w 76200"/>
                <a:gd name="connsiteY4" fmla="*/ 4476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2" y="44768"/>
                  </a:moveTo>
                  <a:lnTo>
                    <a:pt x="7938" y="5398"/>
                  </a:lnTo>
                  <a:cubicBezTo>
                    <a:pt x="6667" y="5398"/>
                    <a:pt x="6032" y="4763"/>
                    <a:pt x="4763" y="4763"/>
                  </a:cubicBezTo>
                  <a:lnTo>
                    <a:pt x="72707" y="44133"/>
                  </a:lnTo>
                  <a:cubicBezTo>
                    <a:pt x="73342" y="44768"/>
                    <a:pt x="74613" y="44768"/>
                    <a:pt x="75882" y="4476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0" name="任意多边形: 形状 1559"/>
            <p:cNvSpPr/>
            <p:nvPr/>
          </p:nvSpPr>
          <p:spPr>
            <a:xfrm>
              <a:off x="6967538" y="1982152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4763"/>
                    <a:pt x="5397" y="4763"/>
                    <a:pt x="4763" y="4763"/>
                  </a:cubicBezTo>
                  <a:lnTo>
                    <a:pt x="72707" y="44133"/>
                  </a:lnTo>
                  <a:cubicBezTo>
                    <a:pt x="73343" y="43498"/>
                    <a:pt x="73978" y="4349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1" name="任意多边形: 形状 1560"/>
            <p:cNvSpPr/>
            <p:nvPr/>
          </p:nvSpPr>
          <p:spPr>
            <a:xfrm>
              <a:off x="6964997" y="1981517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4763 h 44450"/>
                <a:gd name="connsiteX3" fmla="*/ 72708 w 76200"/>
                <a:gd name="connsiteY3" fmla="*/ 44133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4763"/>
                    <a:pt x="5397" y="4763"/>
                    <a:pt x="4763" y="4763"/>
                  </a:cubicBezTo>
                  <a:lnTo>
                    <a:pt x="72708" y="44133"/>
                  </a:lnTo>
                  <a:cubicBezTo>
                    <a:pt x="73343" y="44133"/>
                    <a:pt x="73978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2" name="任意多边形: 形状 1561"/>
            <p:cNvSpPr/>
            <p:nvPr/>
          </p:nvSpPr>
          <p:spPr>
            <a:xfrm>
              <a:off x="6961822" y="1982152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4763 h 44450"/>
                <a:gd name="connsiteX3" fmla="*/ 72708 w 76200"/>
                <a:gd name="connsiteY3" fmla="*/ 44133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4763"/>
                    <a:pt x="6033" y="4763"/>
                    <a:pt x="4763" y="4763"/>
                  </a:cubicBezTo>
                  <a:lnTo>
                    <a:pt x="72708" y="44133"/>
                  </a:lnTo>
                  <a:cubicBezTo>
                    <a:pt x="73978" y="44133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3" name="任意多边形: 形状 1562"/>
            <p:cNvSpPr/>
            <p:nvPr/>
          </p:nvSpPr>
          <p:spPr>
            <a:xfrm>
              <a:off x="6959918" y="1982152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2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8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4763"/>
                    <a:pt x="6032" y="4763"/>
                    <a:pt x="4763" y="5398"/>
                  </a:cubicBezTo>
                  <a:lnTo>
                    <a:pt x="72707" y="44768"/>
                  </a:lnTo>
                  <a:cubicBezTo>
                    <a:pt x="73342" y="44133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4" name="任意多边形: 形状 1563"/>
            <p:cNvSpPr/>
            <p:nvPr/>
          </p:nvSpPr>
          <p:spPr>
            <a:xfrm>
              <a:off x="6957378" y="1982788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7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7" y="4763"/>
                    <a:pt x="6032" y="4763"/>
                    <a:pt x="4763" y="5398"/>
                  </a:cubicBezTo>
                  <a:lnTo>
                    <a:pt x="72707" y="44767"/>
                  </a:lnTo>
                  <a:cubicBezTo>
                    <a:pt x="73978" y="44133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5" name="任意多边形: 形状 1564"/>
            <p:cNvSpPr/>
            <p:nvPr/>
          </p:nvSpPr>
          <p:spPr>
            <a:xfrm>
              <a:off x="6956107" y="1982788"/>
              <a:ext cx="76200" cy="44450"/>
            </a:xfrm>
            <a:custGeom>
              <a:avLst/>
              <a:gdLst>
                <a:gd name="connsiteX0" fmla="*/ 74613 w 76200"/>
                <a:gd name="connsiteY0" fmla="*/ 44133 h 44450"/>
                <a:gd name="connsiteX1" fmla="*/ 6668 w 76200"/>
                <a:gd name="connsiteY1" fmla="*/ 4763 h 44450"/>
                <a:gd name="connsiteX2" fmla="*/ 4763 w 76200"/>
                <a:gd name="connsiteY2" fmla="*/ 5398 h 44450"/>
                <a:gd name="connsiteX3" fmla="*/ 72708 w 76200"/>
                <a:gd name="connsiteY3" fmla="*/ 44767 h 44450"/>
                <a:gd name="connsiteX4" fmla="*/ 74613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3"/>
                  </a:moveTo>
                  <a:lnTo>
                    <a:pt x="6668" y="4763"/>
                  </a:lnTo>
                  <a:cubicBezTo>
                    <a:pt x="6033" y="4763"/>
                    <a:pt x="5398" y="5398"/>
                    <a:pt x="4763" y="5398"/>
                  </a:cubicBezTo>
                  <a:lnTo>
                    <a:pt x="72708" y="44767"/>
                  </a:lnTo>
                  <a:cubicBezTo>
                    <a:pt x="72708" y="44767"/>
                    <a:pt x="73343" y="44767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6" name="任意多边形: 形状 1565"/>
            <p:cNvSpPr/>
            <p:nvPr/>
          </p:nvSpPr>
          <p:spPr>
            <a:xfrm>
              <a:off x="6953568" y="1983423"/>
              <a:ext cx="76200" cy="44450"/>
            </a:xfrm>
            <a:custGeom>
              <a:avLst/>
              <a:gdLst>
                <a:gd name="connsiteX0" fmla="*/ 74613 w 76200"/>
                <a:gd name="connsiteY0" fmla="*/ 44132 h 44450"/>
                <a:gd name="connsiteX1" fmla="*/ 6667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7 h 44450"/>
                <a:gd name="connsiteX4" fmla="*/ 7461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2"/>
                  </a:moveTo>
                  <a:lnTo>
                    <a:pt x="6667" y="4763"/>
                  </a:lnTo>
                  <a:cubicBezTo>
                    <a:pt x="6032" y="4763"/>
                    <a:pt x="5397" y="5398"/>
                    <a:pt x="4763" y="5398"/>
                  </a:cubicBezTo>
                  <a:lnTo>
                    <a:pt x="72707" y="44767"/>
                  </a:lnTo>
                  <a:cubicBezTo>
                    <a:pt x="73342" y="44767"/>
                    <a:pt x="73977" y="44767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7" name="任意多边形: 形状 1566"/>
            <p:cNvSpPr/>
            <p:nvPr/>
          </p:nvSpPr>
          <p:spPr>
            <a:xfrm>
              <a:off x="6951663" y="1984058"/>
              <a:ext cx="76200" cy="44450"/>
            </a:xfrm>
            <a:custGeom>
              <a:avLst/>
              <a:gdLst>
                <a:gd name="connsiteX0" fmla="*/ 74613 w 76200"/>
                <a:gd name="connsiteY0" fmla="*/ 44132 h 44450"/>
                <a:gd name="connsiteX1" fmla="*/ 6668 w 76200"/>
                <a:gd name="connsiteY1" fmla="*/ 4763 h 44450"/>
                <a:gd name="connsiteX2" fmla="*/ 4763 w 76200"/>
                <a:gd name="connsiteY2" fmla="*/ 5397 h 44450"/>
                <a:gd name="connsiteX3" fmla="*/ 72707 w 76200"/>
                <a:gd name="connsiteY3" fmla="*/ 44767 h 44450"/>
                <a:gd name="connsiteX4" fmla="*/ 7461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2"/>
                  </a:moveTo>
                  <a:lnTo>
                    <a:pt x="6668" y="4763"/>
                  </a:lnTo>
                  <a:cubicBezTo>
                    <a:pt x="6032" y="4763"/>
                    <a:pt x="5397" y="5397"/>
                    <a:pt x="4763" y="5397"/>
                  </a:cubicBezTo>
                  <a:lnTo>
                    <a:pt x="72707" y="44767"/>
                  </a:lnTo>
                  <a:cubicBezTo>
                    <a:pt x="72707" y="44767"/>
                    <a:pt x="73343" y="44767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8" name="任意多边形: 形状 1567"/>
            <p:cNvSpPr/>
            <p:nvPr/>
          </p:nvSpPr>
          <p:spPr>
            <a:xfrm>
              <a:off x="6950393" y="1985327"/>
              <a:ext cx="76200" cy="44450"/>
            </a:xfrm>
            <a:custGeom>
              <a:avLst/>
              <a:gdLst>
                <a:gd name="connsiteX0" fmla="*/ 73342 w 76200"/>
                <a:gd name="connsiteY0" fmla="*/ 44133 h 44450"/>
                <a:gd name="connsiteX1" fmla="*/ 5397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3342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3342" y="44133"/>
                  </a:moveTo>
                  <a:lnTo>
                    <a:pt x="5397" y="4763"/>
                  </a:lnTo>
                  <a:cubicBezTo>
                    <a:pt x="5397" y="4763"/>
                    <a:pt x="4763" y="4763"/>
                    <a:pt x="4763" y="4763"/>
                  </a:cubicBezTo>
                  <a:lnTo>
                    <a:pt x="72707" y="44133"/>
                  </a:lnTo>
                  <a:cubicBezTo>
                    <a:pt x="72707" y="44133"/>
                    <a:pt x="73342" y="44133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9" name="任意多边形: 形状 1568"/>
            <p:cNvSpPr/>
            <p:nvPr/>
          </p:nvSpPr>
          <p:spPr>
            <a:xfrm>
              <a:off x="6933882" y="1931988"/>
              <a:ext cx="76200" cy="50800"/>
            </a:xfrm>
            <a:custGeom>
              <a:avLst/>
              <a:gdLst>
                <a:gd name="connsiteX0" fmla="*/ 77153 w 76200"/>
                <a:gd name="connsiteY0" fmla="*/ 46038 h 50800"/>
                <a:gd name="connsiteX1" fmla="*/ 9208 w 76200"/>
                <a:gd name="connsiteY1" fmla="*/ 6667 h 50800"/>
                <a:gd name="connsiteX2" fmla="*/ 4763 w 76200"/>
                <a:gd name="connsiteY2" fmla="*/ 4763 h 50800"/>
                <a:gd name="connsiteX3" fmla="*/ 72708 w 76200"/>
                <a:gd name="connsiteY3" fmla="*/ 44133 h 50800"/>
                <a:gd name="connsiteX4" fmla="*/ 77153 w 76200"/>
                <a:gd name="connsiteY4" fmla="*/ 46038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7153" y="46038"/>
                  </a:moveTo>
                  <a:lnTo>
                    <a:pt x="9208" y="6667"/>
                  </a:lnTo>
                  <a:cubicBezTo>
                    <a:pt x="7938" y="6033"/>
                    <a:pt x="6668" y="5398"/>
                    <a:pt x="4763" y="4763"/>
                  </a:cubicBezTo>
                  <a:lnTo>
                    <a:pt x="72708" y="44133"/>
                  </a:lnTo>
                  <a:cubicBezTo>
                    <a:pt x="73978" y="44767"/>
                    <a:pt x="75883" y="45402"/>
                    <a:pt x="77153" y="4603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0" name="任意多边形: 形状 1569"/>
            <p:cNvSpPr/>
            <p:nvPr/>
          </p:nvSpPr>
          <p:spPr>
            <a:xfrm>
              <a:off x="6930072" y="1930717"/>
              <a:ext cx="76200" cy="44450"/>
            </a:xfrm>
            <a:custGeom>
              <a:avLst/>
              <a:gdLst>
                <a:gd name="connsiteX0" fmla="*/ 76518 w 76200"/>
                <a:gd name="connsiteY0" fmla="*/ 45403 h 44450"/>
                <a:gd name="connsiteX1" fmla="*/ 8572 w 76200"/>
                <a:gd name="connsiteY1" fmla="*/ 6033 h 44450"/>
                <a:gd name="connsiteX2" fmla="*/ 4763 w 76200"/>
                <a:gd name="connsiteY2" fmla="*/ 4763 h 44450"/>
                <a:gd name="connsiteX3" fmla="*/ 72708 w 76200"/>
                <a:gd name="connsiteY3" fmla="*/ 44133 h 44450"/>
                <a:gd name="connsiteX4" fmla="*/ 76518 w 76200"/>
                <a:gd name="connsiteY4" fmla="*/ 4540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6518" y="45403"/>
                  </a:moveTo>
                  <a:lnTo>
                    <a:pt x="8572" y="6033"/>
                  </a:lnTo>
                  <a:cubicBezTo>
                    <a:pt x="7303" y="5398"/>
                    <a:pt x="6033" y="5398"/>
                    <a:pt x="4763" y="4763"/>
                  </a:cubicBezTo>
                  <a:lnTo>
                    <a:pt x="72708" y="44133"/>
                  </a:lnTo>
                  <a:cubicBezTo>
                    <a:pt x="73978" y="44768"/>
                    <a:pt x="75247" y="45403"/>
                    <a:pt x="76518" y="4540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1" name="任意多边形: 形状 1570"/>
            <p:cNvSpPr/>
            <p:nvPr/>
          </p:nvSpPr>
          <p:spPr>
            <a:xfrm>
              <a:off x="6926897" y="1930717"/>
              <a:ext cx="76200" cy="44450"/>
            </a:xfrm>
            <a:custGeom>
              <a:avLst/>
              <a:gdLst>
                <a:gd name="connsiteX0" fmla="*/ 75883 w 76200"/>
                <a:gd name="connsiteY0" fmla="*/ 44768 h 44450"/>
                <a:gd name="connsiteX1" fmla="*/ 7938 w 76200"/>
                <a:gd name="connsiteY1" fmla="*/ 5398 h 44450"/>
                <a:gd name="connsiteX2" fmla="*/ 4763 w 76200"/>
                <a:gd name="connsiteY2" fmla="*/ 4763 h 44450"/>
                <a:gd name="connsiteX3" fmla="*/ 72708 w 76200"/>
                <a:gd name="connsiteY3" fmla="*/ 44133 h 44450"/>
                <a:gd name="connsiteX4" fmla="*/ 75883 w 76200"/>
                <a:gd name="connsiteY4" fmla="*/ 4476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768"/>
                  </a:moveTo>
                  <a:lnTo>
                    <a:pt x="7938" y="5398"/>
                  </a:lnTo>
                  <a:cubicBezTo>
                    <a:pt x="6668" y="5398"/>
                    <a:pt x="6033" y="4763"/>
                    <a:pt x="4763" y="4763"/>
                  </a:cubicBezTo>
                  <a:lnTo>
                    <a:pt x="72708" y="44133"/>
                  </a:lnTo>
                  <a:cubicBezTo>
                    <a:pt x="73978" y="44133"/>
                    <a:pt x="75247" y="44133"/>
                    <a:pt x="75883" y="4476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2" name="任意多边形: 形状 1571"/>
            <p:cNvSpPr/>
            <p:nvPr/>
          </p:nvSpPr>
          <p:spPr>
            <a:xfrm>
              <a:off x="6924357" y="1930717"/>
              <a:ext cx="76200" cy="44450"/>
            </a:xfrm>
            <a:custGeom>
              <a:avLst/>
              <a:gdLst>
                <a:gd name="connsiteX0" fmla="*/ 75248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4763 h 44450"/>
                <a:gd name="connsiteX3" fmla="*/ 72708 w 76200"/>
                <a:gd name="connsiteY3" fmla="*/ 44133 h 44450"/>
                <a:gd name="connsiteX4" fmla="*/ 75248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4763"/>
                    <a:pt x="5398" y="4763"/>
                    <a:pt x="4763" y="4763"/>
                  </a:cubicBezTo>
                  <a:lnTo>
                    <a:pt x="72708" y="44133"/>
                  </a:lnTo>
                  <a:cubicBezTo>
                    <a:pt x="73978" y="44133"/>
                    <a:pt x="74613" y="44133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3" name="任意多边形: 形状 1572"/>
            <p:cNvSpPr/>
            <p:nvPr/>
          </p:nvSpPr>
          <p:spPr>
            <a:xfrm>
              <a:off x="6921818" y="1930717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2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4763"/>
                    <a:pt x="5397" y="4763"/>
                    <a:pt x="4763" y="4763"/>
                  </a:cubicBezTo>
                  <a:lnTo>
                    <a:pt x="72707" y="44133"/>
                  </a:lnTo>
                  <a:cubicBezTo>
                    <a:pt x="73977" y="44133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4" name="任意多边形: 形状 1573"/>
            <p:cNvSpPr/>
            <p:nvPr/>
          </p:nvSpPr>
          <p:spPr>
            <a:xfrm>
              <a:off x="6919278" y="1930717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7" y="4763"/>
                    <a:pt x="5397" y="4763"/>
                    <a:pt x="4763" y="4763"/>
                  </a:cubicBezTo>
                  <a:lnTo>
                    <a:pt x="72707" y="44133"/>
                  </a:lnTo>
                  <a:cubicBezTo>
                    <a:pt x="73978" y="44133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5" name="任意多边形: 形状 1574"/>
            <p:cNvSpPr/>
            <p:nvPr/>
          </p:nvSpPr>
          <p:spPr>
            <a:xfrm>
              <a:off x="6916738" y="1930717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8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4763"/>
                    <a:pt x="6032" y="4763"/>
                    <a:pt x="4763" y="5398"/>
                  </a:cubicBezTo>
                  <a:lnTo>
                    <a:pt x="72707" y="44768"/>
                  </a:lnTo>
                  <a:cubicBezTo>
                    <a:pt x="73978" y="44768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6" name="任意多边形: 形状 1575"/>
            <p:cNvSpPr/>
            <p:nvPr/>
          </p:nvSpPr>
          <p:spPr>
            <a:xfrm>
              <a:off x="6914832" y="1931352"/>
              <a:ext cx="76200" cy="44450"/>
            </a:xfrm>
            <a:custGeom>
              <a:avLst/>
              <a:gdLst>
                <a:gd name="connsiteX0" fmla="*/ 75248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5398 h 44450"/>
                <a:gd name="connsiteX3" fmla="*/ 72708 w 76200"/>
                <a:gd name="connsiteY3" fmla="*/ 44768 h 44450"/>
                <a:gd name="connsiteX4" fmla="*/ 75248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4763"/>
                    <a:pt x="6033" y="4763"/>
                    <a:pt x="4763" y="5398"/>
                  </a:cubicBezTo>
                  <a:lnTo>
                    <a:pt x="72708" y="44768"/>
                  </a:lnTo>
                  <a:cubicBezTo>
                    <a:pt x="73343" y="44133"/>
                    <a:pt x="74613" y="44133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7" name="任意多边形: 形状 1576"/>
            <p:cNvSpPr/>
            <p:nvPr/>
          </p:nvSpPr>
          <p:spPr>
            <a:xfrm>
              <a:off x="6912293" y="1931988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2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7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4763"/>
                    <a:pt x="6032" y="5398"/>
                    <a:pt x="4763" y="5398"/>
                  </a:cubicBezTo>
                  <a:lnTo>
                    <a:pt x="72707" y="44767"/>
                  </a:lnTo>
                  <a:cubicBezTo>
                    <a:pt x="73977" y="44133"/>
                    <a:pt x="74613" y="4413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8" name="任意多边形: 形状 1577"/>
            <p:cNvSpPr/>
            <p:nvPr/>
          </p:nvSpPr>
          <p:spPr>
            <a:xfrm>
              <a:off x="6911022" y="1932623"/>
              <a:ext cx="76200" cy="44450"/>
            </a:xfrm>
            <a:custGeom>
              <a:avLst/>
              <a:gdLst>
                <a:gd name="connsiteX0" fmla="*/ 74613 w 76200"/>
                <a:gd name="connsiteY0" fmla="*/ 44132 h 44450"/>
                <a:gd name="connsiteX1" fmla="*/ 6668 w 76200"/>
                <a:gd name="connsiteY1" fmla="*/ 4763 h 44450"/>
                <a:gd name="connsiteX2" fmla="*/ 4763 w 76200"/>
                <a:gd name="connsiteY2" fmla="*/ 5398 h 44450"/>
                <a:gd name="connsiteX3" fmla="*/ 72708 w 76200"/>
                <a:gd name="connsiteY3" fmla="*/ 44767 h 44450"/>
                <a:gd name="connsiteX4" fmla="*/ 7461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2"/>
                  </a:moveTo>
                  <a:lnTo>
                    <a:pt x="6668" y="4763"/>
                  </a:lnTo>
                  <a:cubicBezTo>
                    <a:pt x="6033" y="4763"/>
                    <a:pt x="5397" y="5398"/>
                    <a:pt x="4763" y="5398"/>
                  </a:cubicBezTo>
                  <a:lnTo>
                    <a:pt x="72708" y="44767"/>
                  </a:lnTo>
                  <a:cubicBezTo>
                    <a:pt x="72708" y="44132"/>
                    <a:pt x="73978" y="44132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9" name="任意多边形: 形状 1578"/>
            <p:cNvSpPr/>
            <p:nvPr/>
          </p:nvSpPr>
          <p:spPr>
            <a:xfrm>
              <a:off x="6908482" y="1933258"/>
              <a:ext cx="76200" cy="44450"/>
            </a:xfrm>
            <a:custGeom>
              <a:avLst/>
              <a:gdLst>
                <a:gd name="connsiteX0" fmla="*/ 74613 w 76200"/>
                <a:gd name="connsiteY0" fmla="*/ 44132 h 44450"/>
                <a:gd name="connsiteX1" fmla="*/ 6668 w 76200"/>
                <a:gd name="connsiteY1" fmla="*/ 4763 h 44450"/>
                <a:gd name="connsiteX2" fmla="*/ 4763 w 76200"/>
                <a:gd name="connsiteY2" fmla="*/ 5397 h 44450"/>
                <a:gd name="connsiteX3" fmla="*/ 72708 w 76200"/>
                <a:gd name="connsiteY3" fmla="*/ 44767 h 44450"/>
                <a:gd name="connsiteX4" fmla="*/ 7461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2"/>
                  </a:moveTo>
                  <a:lnTo>
                    <a:pt x="6668" y="4763"/>
                  </a:lnTo>
                  <a:cubicBezTo>
                    <a:pt x="6033" y="4763"/>
                    <a:pt x="5398" y="5397"/>
                    <a:pt x="4763" y="5397"/>
                  </a:cubicBezTo>
                  <a:lnTo>
                    <a:pt x="72708" y="44767"/>
                  </a:lnTo>
                  <a:cubicBezTo>
                    <a:pt x="73343" y="44767"/>
                    <a:pt x="73978" y="44132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0" name="任意多边形: 形状 1579"/>
            <p:cNvSpPr/>
            <p:nvPr/>
          </p:nvSpPr>
          <p:spPr>
            <a:xfrm>
              <a:off x="6906578" y="1933892"/>
              <a:ext cx="76200" cy="44450"/>
            </a:xfrm>
            <a:custGeom>
              <a:avLst/>
              <a:gdLst>
                <a:gd name="connsiteX0" fmla="*/ 74613 w 76200"/>
                <a:gd name="connsiteY0" fmla="*/ 44133 h 44450"/>
                <a:gd name="connsiteX1" fmla="*/ 6667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8 h 44450"/>
                <a:gd name="connsiteX4" fmla="*/ 74613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3"/>
                  </a:moveTo>
                  <a:lnTo>
                    <a:pt x="6667" y="4763"/>
                  </a:lnTo>
                  <a:cubicBezTo>
                    <a:pt x="6032" y="4763"/>
                    <a:pt x="5397" y="5398"/>
                    <a:pt x="4763" y="5398"/>
                  </a:cubicBezTo>
                  <a:lnTo>
                    <a:pt x="72707" y="44768"/>
                  </a:lnTo>
                  <a:cubicBezTo>
                    <a:pt x="73342" y="44768"/>
                    <a:pt x="73978" y="44133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1" name="任意多边形: 形状 1580"/>
            <p:cNvSpPr/>
            <p:nvPr/>
          </p:nvSpPr>
          <p:spPr>
            <a:xfrm>
              <a:off x="6904038" y="1934527"/>
              <a:ext cx="76200" cy="44450"/>
            </a:xfrm>
            <a:custGeom>
              <a:avLst/>
              <a:gdLst>
                <a:gd name="connsiteX0" fmla="*/ 74613 w 76200"/>
                <a:gd name="connsiteY0" fmla="*/ 44133 h 44450"/>
                <a:gd name="connsiteX1" fmla="*/ 6668 w 76200"/>
                <a:gd name="connsiteY1" fmla="*/ 4763 h 44450"/>
                <a:gd name="connsiteX2" fmla="*/ 4763 w 76200"/>
                <a:gd name="connsiteY2" fmla="*/ 6033 h 44450"/>
                <a:gd name="connsiteX3" fmla="*/ 72707 w 76200"/>
                <a:gd name="connsiteY3" fmla="*/ 45402 h 44450"/>
                <a:gd name="connsiteX4" fmla="*/ 74613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133"/>
                  </a:moveTo>
                  <a:lnTo>
                    <a:pt x="6668" y="4763"/>
                  </a:lnTo>
                  <a:cubicBezTo>
                    <a:pt x="6032" y="5398"/>
                    <a:pt x="5397" y="5398"/>
                    <a:pt x="4763" y="6033"/>
                  </a:cubicBezTo>
                  <a:lnTo>
                    <a:pt x="72707" y="45402"/>
                  </a:lnTo>
                  <a:cubicBezTo>
                    <a:pt x="73343" y="44768"/>
                    <a:pt x="73978" y="44768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2" name="任意多边形: 形状 1581"/>
            <p:cNvSpPr/>
            <p:nvPr/>
          </p:nvSpPr>
          <p:spPr>
            <a:xfrm>
              <a:off x="6901497" y="1935798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3 w 76200"/>
                <a:gd name="connsiteY1" fmla="*/ 4763 h 44450"/>
                <a:gd name="connsiteX2" fmla="*/ 4763 w 76200"/>
                <a:gd name="connsiteY2" fmla="*/ 6032 h 44450"/>
                <a:gd name="connsiteX3" fmla="*/ 72708 w 76200"/>
                <a:gd name="connsiteY3" fmla="*/ 45402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3" y="4763"/>
                  </a:lnTo>
                  <a:cubicBezTo>
                    <a:pt x="6668" y="5398"/>
                    <a:pt x="6033" y="5398"/>
                    <a:pt x="4763" y="6032"/>
                  </a:cubicBezTo>
                  <a:lnTo>
                    <a:pt x="72708" y="45402"/>
                  </a:lnTo>
                  <a:cubicBezTo>
                    <a:pt x="73978" y="44767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3" name="任意多边形: 形状 1582"/>
            <p:cNvSpPr/>
            <p:nvPr/>
          </p:nvSpPr>
          <p:spPr>
            <a:xfrm>
              <a:off x="6898957" y="1937067"/>
              <a:ext cx="76200" cy="44450"/>
            </a:xfrm>
            <a:custGeom>
              <a:avLst/>
              <a:gdLst>
                <a:gd name="connsiteX0" fmla="*/ 75248 w 76200"/>
                <a:gd name="connsiteY0" fmla="*/ 44133 h 44450"/>
                <a:gd name="connsiteX1" fmla="*/ 7303 w 76200"/>
                <a:gd name="connsiteY1" fmla="*/ 4763 h 44450"/>
                <a:gd name="connsiteX2" fmla="*/ 5398 w 76200"/>
                <a:gd name="connsiteY2" fmla="*/ 6033 h 44450"/>
                <a:gd name="connsiteX3" fmla="*/ 4763 w 76200"/>
                <a:gd name="connsiteY3" fmla="*/ 6033 h 44450"/>
                <a:gd name="connsiteX4" fmla="*/ 72708 w 76200"/>
                <a:gd name="connsiteY4" fmla="*/ 45403 h 44450"/>
                <a:gd name="connsiteX5" fmla="*/ 73343 w 76200"/>
                <a:gd name="connsiteY5" fmla="*/ 45403 h 44450"/>
                <a:gd name="connsiteX6" fmla="*/ 75248 w 76200"/>
                <a:gd name="connsiteY6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4445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4763"/>
                    <a:pt x="6033" y="5398"/>
                    <a:pt x="5398" y="6033"/>
                  </a:cubicBezTo>
                  <a:cubicBezTo>
                    <a:pt x="5398" y="6033"/>
                    <a:pt x="4763" y="6033"/>
                    <a:pt x="4763" y="6033"/>
                  </a:cubicBezTo>
                  <a:lnTo>
                    <a:pt x="72708" y="45403"/>
                  </a:lnTo>
                  <a:cubicBezTo>
                    <a:pt x="72708" y="45403"/>
                    <a:pt x="73343" y="45403"/>
                    <a:pt x="73343" y="45403"/>
                  </a:cubicBezTo>
                  <a:cubicBezTo>
                    <a:pt x="74613" y="44768"/>
                    <a:pt x="75248" y="44133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4" name="任意多边形: 形状 1583"/>
            <p:cNvSpPr/>
            <p:nvPr/>
          </p:nvSpPr>
          <p:spPr>
            <a:xfrm>
              <a:off x="6897053" y="1938338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6033 h 44450"/>
                <a:gd name="connsiteX3" fmla="*/ 72707 w 76200"/>
                <a:gd name="connsiteY3" fmla="*/ 45402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7" y="5398"/>
                    <a:pt x="6032" y="5398"/>
                    <a:pt x="4763" y="6033"/>
                  </a:cubicBezTo>
                  <a:lnTo>
                    <a:pt x="72707" y="45402"/>
                  </a:lnTo>
                  <a:cubicBezTo>
                    <a:pt x="73978" y="44767"/>
                    <a:pt x="74613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5" name="任意多边形: 形状 1584"/>
            <p:cNvSpPr/>
            <p:nvPr/>
          </p:nvSpPr>
          <p:spPr>
            <a:xfrm>
              <a:off x="6894513" y="1939608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3 w 76200"/>
                <a:gd name="connsiteY1" fmla="*/ 4763 h 44450"/>
                <a:gd name="connsiteX2" fmla="*/ 4763 w 76200"/>
                <a:gd name="connsiteY2" fmla="*/ 6032 h 44450"/>
                <a:gd name="connsiteX3" fmla="*/ 72707 w 76200"/>
                <a:gd name="connsiteY3" fmla="*/ 45402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3" y="4763"/>
                  </a:lnTo>
                  <a:cubicBezTo>
                    <a:pt x="6668" y="5397"/>
                    <a:pt x="6032" y="6032"/>
                    <a:pt x="4763" y="6032"/>
                  </a:cubicBezTo>
                  <a:lnTo>
                    <a:pt x="72707" y="45402"/>
                  </a:lnTo>
                  <a:cubicBezTo>
                    <a:pt x="73978" y="45402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6" name="任意多边形: 形状 1585"/>
            <p:cNvSpPr/>
            <p:nvPr/>
          </p:nvSpPr>
          <p:spPr>
            <a:xfrm>
              <a:off x="6892607" y="1940877"/>
              <a:ext cx="76200" cy="50800"/>
            </a:xfrm>
            <a:custGeom>
              <a:avLst/>
              <a:gdLst>
                <a:gd name="connsiteX0" fmla="*/ 75248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6668 h 50800"/>
                <a:gd name="connsiteX3" fmla="*/ 72708 w 76200"/>
                <a:gd name="connsiteY3" fmla="*/ 46038 h 50800"/>
                <a:gd name="connsiteX4" fmla="*/ 7524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5398"/>
                    <a:pt x="6033" y="6033"/>
                    <a:pt x="4763" y="6668"/>
                  </a:cubicBezTo>
                  <a:lnTo>
                    <a:pt x="72708" y="46038"/>
                  </a:lnTo>
                  <a:cubicBezTo>
                    <a:pt x="73343" y="45402"/>
                    <a:pt x="74613" y="44768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7" name="任意多边形: 形状 1586"/>
            <p:cNvSpPr/>
            <p:nvPr/>
          </p:nvSpPr>
          <p:spPr>
            <a:xfrm>
              <a:off x="6890068" y="1942783"/>
              <a:ext cx="76200" cy="50800"/>
            </a:xfrm>
            <a:custGeom>
              <a:avLst/>
              <a:gdLst>
                <a:gd name="connsiteX0" fmla="*/ 75247 w 76200"/>
                <a:gd name="connsiteY0" fmla="*/ 44132 h 50800"/>
                <a:gd name="connsiteX1" fmla="*/ 7302 w 76200"/>
                <a:gd name="connsiteY1" fmla="*/ 4763 h 50800"/>
                <a:gd name="connsiteX2" fmla="*/ 4763 w 76200"/>
                <a:gd name="connsiteY2" fmla="*/ 6667 h 50800"/>
                <a:gd name="connsiteX3" fmla="*/ 72707 w 76200"/>
                <a:gd name="connsiteY3" fmla="*/ 46038 h 50800"/>
                <a:gd name="connsiteX4" fmla="*/ 7524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2"/>
                  </a:moveTo>
                  <a:lnTo>
                    <a:pt x="7302" y="4763"/>
                  </a:lnTo>
                  <a:cubicBezTo>
                    <a:pt x="6667" y="5397"/>
                    <a:pt x="6032" y="6032"/>
                    <a:pt x="4763" y="6667"/>
                  </a:cubicBezTo>
                  <a:lnTo>
                    <a:pt x="72707" y="46038"/>
                  </a:lnTo>
                  <a:cubicBezTo>
                    <a:pt x="73977" y="45402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8" name="任意多边形: 形状 1587"/>
            <p:cNvSpPr/>
            <p:nvPr/>
          </p:nvSpPr>
          <p:spPr>
            <a:xfrm>
              <a:off x="6887528" y="1944688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6667 h 50800"/>
                <a:gd name="connsiteX3" fmla="*/ 72707 w 76200"/>
                <a:gd name="connsiteY3" fmla="*/ 46038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3" y="4763"/>
                  </a:lnTo>
                  <a:cubicBezTo>
                    <a:pt x="6667" y="5398"/>
                    <a:pt x="5397" y="6033"/>
                    <a:pt x="4763" y="6667"/>
                  </a:cubicBezTo>
                  <a:lnTo>
                    <a:pt x="72707" y="46038"/>
                  </a:lnTo>
                  <a:cubicBezTo>
                    <a:pt x="73978" y="45402"/>
                    <a:pt x="74613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9" name="任意多边形: 形状 1588"/>
            <p:cNvSpPr/>
            <p:nvPr/>
          </p:nvSpPr>
          <p:spPr>
            <a:xfrm>
              <a:off x="6885622" y="1946592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6668 h 50800"/>
                <a:gd name="connsiteX3" fmla="*/ 72708 w 76200"/>
                <a:gd name="connsiteY3" fmla="*/ 46038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5398"/>
                    <a:pt x="5397" y="6033"/>
                    <a:pt x="4763" y="6668"/>
                  </a:cubicBezTo>
                  <a:lnTo>
                    <a:pt x="72708" y="46038"/>
                  </a:lnTo>
                  <a:cubicBezTo>
                    <a:pt x="73343" y="45403"/>
                    <a:pt x="73978" y="4476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0" name="任意多边形: 形状 1589"/>
            <p:cNvSpPr/>
            <p:nvPr/>
          </p:nvSpPr>
          <p:spPr>
            <a:xfrm>
              <a:off x="6883082" y="1948498"/>
              <a:ext cx="76200" cy="50800"/>
            </a:xfrm>
            <a:custGeom>
              <a:avLst/>
              <a:gdLst>
                <a:gd name="connsiteX0" fmla="*/ 75248 w 76200"/>
                <a:gd name="connsiteY0" fmla="*/ 44132 h 50800"/>
                <a:gd name="connsiteX1" fmla="*/ 7303 w 76200"/>
                <a:gd name="connsiteY1" fmla="*/ 4763 h 50800"/>
                <a:gd name="connsiteX2" fmla="*/ 4763 w 76200"/>
                <a:gd name="connsiteY2" fmla="*/ 6667 h 50800"/>
                <a:gd name="connsiteX3" fmla="*/ 72708 w 76200"/>
                <a:gd name="connsiteY3" fmla="*/ 46038 h 50800"/>
                <a:gd name="connsiteX4" fmla="*/ 7524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8" y="44132"/>
                  </a:moveTo>
                  <a:lnTo>
                    <a:pt x="7303" y="4763"/>
                  </a:lnTo>
                  <a:cubicBezTo>
                    <a:pt x="6668" y="5398"/>
                    <a:pt x="6033" y="6032"/>
                    <a:pt x="4763" y="6667"/>
                  </a:cubicBezTo>
                  <a:lnTo>
                    <a:pt x="72708" y="46038"/>
                  </a:lnTo>
                  <a:cubicBezTo>
                    <a:pt x="73343" y="46038"/>
                    <a:pt x="74613" y="44767"/>
                    <a:pt x="7524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1" name="任意多边形: 形状 1590"/>
            <p:cNvSpPr/>
            <p:nvPr/>
          </p:nvSpPr>
          <p:spPr>
            <a:xfrm>
              <a:off x="6880543" y="1951038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2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5398"/>
                    <a:pt x="6032" y="6033"/>
                    <a:pt x="4763" y="7302"/>
                  </a:cubicBezTo>
                  <a:lnTo>
                    <a:pt x="72707" y="46673"/>
                  </a:lnTo>
                  <a:cubicBezTo>
                    <a:pt x="73977" y="45402"/>
                    <a:pt x="74613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2" name="任意多边形: 形状 1591"/>
            <p:cNvSpPr/>
            <p:nvPr/>
          </p:nvSpPr>
          <p:spPr>
            <a:xfrm>
              <a:off x="6878638" y="1952942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8 w 76200"/>
                <a:gd name="connsiteY1" fmla="*/ 4763 h 50800"/>
                <a:gd name="connsiteX2" fmla="*/ 4763 w 76200"/>
                <a:gd name="connsiteY2" fmla="*/ 7303 h 50800"/>
                <a:gd name="connsiteX3" fmla="*/ 72707 w 76200"/>
                <a:gd name="connsiteY3" fmla="*/ 46673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8" y="4763"/>
                  </a:lnTo>
                  <a:cubicBezTo>
                    <a:pt x="6032" y="5398"/>
                    <a:pt x="5397" y="6033"/>
                    <a:pt x="4763" y="7303"/>
                  </a:cubicBezTo>
                  <a:lnTo>
                    <a:pt x="72707" y="46673"/>
                  </a:lnTo>
                  <a:cubicBezTo>
                    <a:pt x="73343" y="46038"/>
                    <a:pt x="73978" y="44768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3" name="任意多边形: 形状 1592"/>
            <p:cNvSpPr/>
            <p:nvPr/>
          </p:nvSpPr>
          <p:spPr>
            <a:xfrm>
              <a:off x="6876732" y="1955483"/>
              <a:ext cx="76200" cy="50800"/>
            </a:xfrm>
            <a:custGeom>
              <a:avLst/>
              <a:gdLst>
                <a:gd name="connsiteX0" fmla="*/ 74613 w 76200"/>
                <a:gd name="connsiteY0" fmla="*/ 44132 h 50800"/>
                <a:gd name="connsiteX1" fmla="*/ 6668 w 76200"/>
                <a:gd name="connsiteY1" fmla="*/ 4763 h 50800"/>
                <a:gd name="connsiteX2" fmla="*/ 4763 w 76200"/>
                <a:gd name="connsiteY2" fmla="*/ 7302 h 50800"/>
                <a:gd name="connsiteX3" fmla="*/ 72708 w 76200"/>
                <a:gd name="connsiteY3" fmla="*/ 46672 h 50800"/>
                <a:gd name="connsiteX4" fmla="*/ 7461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2"/>
                  </a:moveTo>
                  <a:lnTo>
                    <a:pt x="6668" y="4763"/>
                  </a:lnTo>
                  <a:cubicBezTo>
                    <a:pt x="6033" y="5397"/>
                    <a:pt x="5398" y="6032"/>
                    <a:pt x="4763" y="7302"/>
                  </a:cubicBezTo>
                  <a:lnTo>
                    <a:pt x="72708" y="46672"/>
                  </a:lnTo>
                  <a:cubicBezTo>
                    <a:pt x="73343" y="45402"/>
                    <a:pt x="73978" y="44767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4" name="任意多边形: 形状 1593"/>
            <p:cNvSpPr/>
            <p:nvPr/>
          </p:nvSpPr>
          <p:spPr>
            <a:xfrm>
              <a:off x="6874828" y="1958023"/>
              <a:ext cx="76200" cy="50800"/>
            </a:xfrm>
            <a:custGeom>
              <a:avLst/>
              <a:gdLst>
                <a:gd name="connsiteX0" fmla="*/ 74613 w 76200"/>
                <a:gd name="connsiteY0" fmla="*/ 44132 h 50800"/>
                <a:gd name="connsiteX1" fmla="*/ 6667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461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2"/>
                  </a:moveTo>
                  <a:lnTo>
                    <a:pt x="6667" y="4763"/>
                  </a:lnTo>
                  <a:cubicBezTo>
                    <a:pt x="6032" y="5398"/>
                    <a:pt x="5397" y="6667"/>
                    <a:pt x="4763" y="7302"/>
                  </a:cubicBezTo>
                  <a:lnTo>
                    <a:pt x="72707" y="46673"/>
                  </a:lnTo>
                  <a:cubicBezTo>
                    <a:pt x="73342" y="45402"/>
                    <a:pt x="73978" y="44767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5" name="任意多边形: 形状 1594"/>
            <p:cNvSpPr/>
            <p:nvPr/>
          </p:nvSpPr>
          <p:spPr>
            <a:xfrm>
              <a:off x="6872288" y="1959927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8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8" y="4763"/>
                  </a:lnTo>
                  <a:cubicBezTo>
                    <a:pt x="6032" y="5398"/>
                    <a:pt x="5397" y="6668"/>
                    <a:pt x="4763" y="7302"/>
                  </a:cubicBezTo>
                  <a:lnTo>
                    <a:pt x="72707" y="46673"/>
                  </a:lnTo>
                  <a:cubicBezTo>
                    <a:pt x="73343" y="46038"/>
                    <a:pt x="73978" y="45402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6" name="任意多边形: 形状 1595"/>
            <p:cNvSpPr/>
            <p:nvPr/>
          </p:nvSpPr>
          <p:spPr>
            <a:xfrm>
              <a:off x="6872288" y="1962467"/>
              <a:ext cx="76200" cy="44450"/>
            </a:xfrm>
            <a:custGeom>
              <a:avLst/>
              <a:gdLst>
                <a:gd name="connsiteX0" fmla="*/ 72707 w 76200"/>
                <a:gd name="connsiteY0" fmla="*/ 44133 h 44450"/>
                <a:gd name="connsiteX1" fmla="*/ 4763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3 h 44450"/>
                <a:gd name="connsiteX4" fmla="*/ 7270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2707" y="44133"/>
                  </a:moveTo>
                  <a:lnTo>
                    <a:pt x="4763" y="4763"/>
                  </a:lnTo>
                  <a:lnTo>
                    <a:pt x="4763" y="4763"/>
                  </a:lnTo>
                  <a:lnTo>
                    <a:pt x="72707" y="44133"/>
                  </a:lnTo>
                  <a:lnTo>
                    <a:pt x="72707" y="44133"/>
                  </a:ln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7" name="任意多边形: 形状 1596"/>
            <p:cNvSpPr/>
            <p:nvPr/>
          </p:nvSpPr>
          <p:spPr>
            <a:xfrm>
              <a:off x="6851968" y="1928177"/>
              <a:ext cx="76200" cy="50800"/>
            </a:xfrm>
            <a:custGeom>
              <a:avLst/>
              <a:gdLst>
                <a:gd name="connsiteX0" fmla="*/ 77152 w 76200"/>
                <a:gd name="connsiteY0" fmla="*/ 46038 h 50800"/>
                <a:gd name="connsiteX1" fmla="*/ 9207 w 76200"/>
                <a:gd name="connsiteY1" fmla="*/ 6668 h 50800"/>
                <a:gd name="connsiteX2" fmla="*/ 4763 w 76200"/>
                <a:gd name="connsiteY2" fmla="*/ 4763 h 50800"/>
                <a:gd name="connsiteX3" fmla="*/ 72707 w 76200"/>
                <a:gd name="connsiteY3" fmla="*/ 44133 h 50800"/>
                <a:gd name="connsiteX4" fmla="*/ 77152 w 76200"/>
                <a:gd name="connsiteY4" fmla="*/ 46038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7152" y="46038"/>
                  </a:moveTo>
                  <a:lnTo>
                    <a:pt x="9207" y="6668"/>
                  </a:lnTo>
                  <a:cubicBezTo>
                    <a:pt x="7938" y="6033"/>
                    <a:pt x="6032" y="5398"/>
                    <a:pt x="4763" y="4763"/>
                  </a:cubicBezTo>
                  <a:lnTo>
                    <a:pt x="72707" y="44133"/>
                  </a:lnTo>
                  <a:cubicBezTo>
                    <a:pt x="73977" y="44768"/>
                    <a:pt x="75882" y="45402"/>
                    <a:pt x="77152" y="46038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8" name="任意多边形: 形状 1597"/>
            <p:cNvSpPr/>
            <p:nvPr/>
          </p:nvSpPr>
          <p:spPr>
            <a:xfrm>
              <a:off x="6848157" y="1926908"/>
              <a:ext cx="76200" cy="44450"/>
            </a:xfrm>
            <a:custGeom>
              <a:avLst/>
              <a:gdLst>
                <a:gd name="connsiteX0" fmla="*/ 76518 w 76200"/>
                <a:gd name="connsiteY0" fmla="*/ 45402 h 44450"/>
                <a:gd name="connsiteX1" fmla="*/ 8573 w 76200"/>
                <a:gd name="connsiteY1" fmla="*/ 6032 h 44450"/>
                <a:gd name="connsiteX2" fmla="*/ 4763 w 76200"/>
                <a:gd name="connsiteY2" fmla="*/ 4763 h 44450"/>
                <a:gd name="connsiteX3" fmla="*/ 72708 w 76200"/>
                <a:gd name="connsiteY3" fmla="*/ 44132 h 44450"/>
                <a:gd name="connsiteX4" fmla="*/ 76518 w 76200"/>
                <a:gd name="connsiteY4" fmla="*/ 4540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6518" y="45402"/>
                  </a:moveTo>
                  <a:lnTo>
                    <a:pt x="8573" y="6032"/>
                  </a:lnTo>
                  <a:cubicBezTo>
                    <a:pt x="7303" y="5397"/>
                    <a:pt x="6033" y="5397"/>
                    <a:pt x="4763" y="4763"/>
                  </a:cubicBezTo>
                  <a:lnTo>
                    <a:pt x="72708" y="44132"/>
                  </a:lnTo>
                  <a:cubicBezTo>
                    <a:pt x="73978" y="44132"/>
                    <a:pt x="75248" y="44767"/>
                    <a:pt x="76518" y="4540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9" name="任意多边形: 形状 1598"/>
            <p:cNvSpPr/>
            <p:nvPr/>
          </p:nvSpPr>
          <p:spPr>
            <a:xfrm>
              <a:off x="6844982" y="1926273"/>
              <a:ext cx="76200" cy="44450"/>
            </a:xfrm>
            <a:custGeom>
              <a:avLst/>
              <a:gdLst>
                <a:gd name="connsiteX0" fmla="*/ 75883 w 76200"/>
                <a:gd name="connsiteY0" fmla="*/ 44767 h 44450"/>
                <a:gd name="connsiteX1" fmla="*/ 7938 w 76200"/>
                <a:gd name="connsiteY1" fmla="*/ 5398 h 44450"/>
                <a:gd name="connsiteX2" fmla="*/ 4763 w 76200"/>
                <a:gd name="connsiteY2" fmla="*/ 4763 h 44450"/>
                <a:gd name="connsiteX3" fmla="*/ 72708 w 76200"/>
                <a:gd name="connsiteY3" fmla="*/ 44132 h 44450"/>
                <a:gd name="connsiteX4" fmla="*/ 75883 w 76200"/>
                <a:gd name="connsiteY4" fmla="*/ 4476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767"/>
                  </a:moveTo>
                  <a:lnTo>
                    <a:pt x="7938" y="5398"/>
                  </a:lnTo>
                  <a:cubicBezTo>
                    <a:pt x="6668" y="5398"/>
                    <a:pt x="6033" y="4763"/>
                    <a:pt x="4763" y="4763"/>
                  </a:cubicBezTo>
                  <a:lnTo>
                    <a:pt x="72708" y="44132"/>
                  </a:lnTo>
                  <a:cubicBezTo>
                    <a:pt x="73343" y="44132"/>
                    <a:pt x="74613" y="44767"/>
                    <a:pt x="75883" y="4476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0" name="任意多边形: 形状 1599"/>
            <p:cNvSpPr/>
            <p:nvPr/>
          </p:nvSpPr>
          <p:spPr>
            <a:xfrm>
              <a:off x="6841172" y="1926273"/>
              <a:ext cx="76200" cy="44450"/>
            </a:xfrm>
            <a:custGeom>
              <a:avLst/>
              <a:gdLst>
                <a:gd name="connsiteX0" fmla="*/ 75883 w 76200"/>
                <a:gd name="connsiteY0" fmla="*/ 44132 h 44450"/>
                <a:gd name="connsiteX1" fmla="*/ 7938 w 76200"/>
                <a:gd name="connsiteY1" fmla="*/ 4763 h 44450"/>
                <a:gd name="connsiteX2" fmla="*/ 4763 w 76200"/>
                <a:gd name="connsiteY2" fmla="*/ 4763 h 44450"/>
                <a:gd name="connsiteX3" fmla="*/ 72708 w 76200"/>
                <a:gd name="connsiteY3" fmla="*/ 44132 h 44450"/>
                <a:gd name="connsiteX4" fmla="*/ 7588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132"/>
                  </a:moveTo>
                  <a:lnTo>
                    <a:pt x="7938" y="4763"/>
                  </a:lnTo>
                  <a:cubicBezTo>
                    <a:pt x="7303" y="4763"/>
                    <a:pt x="6033" y="4763"/>
                    <a:pt x="4763" y="4763"/>
                  </a:cubicBezTo>
                  <a:lnTo>
                    <a:pt x="72708" y="44132"/>
                  </a:lnTo>
                  <a:cubicBezTo>
                    <a:pt x="73978" y="44132"/>
                    <a:pt x="75247" y="44132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1" name="任意多边形: 形状 1600"/>
            <p:cNvSpPr/>
            <p:nvPr/>
          </p:nvSpPr>
          <p:spPr>
            <a:xfrm>
              <a:off x="6839268" y="1926273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2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2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2" y="4763"/>
                  </a:lnTo>
                  <a:cubicBezTo>
                    <a:pt x="6667" y="4763"/>
                    <a:pt x="5397" y="4763"/>
                    <a:pt x="4763" y="4763"/>
                  </a:cubicBezTo>
                  <a:lnTo>
                    <a:pt x="72707" y="44132"/>
                  </a:lnTo>
                  <a:cubicBezTo>
                    <a:pt x="73342" y="44132"/>
                    <a:pt x="73977" y="44132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2" name="任意多边形: 形状 1601"/>
            <p:cNvSpPr/>
            <p:nvPr/>
          </p:nvSpPr>
          <p:spPr>
            <a:xfrm>
              <a:off x="6836728" y="1926273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3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2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3" y="4763"/>
                  </a:lnTo>
                  <a:cubicBezTo>
                    <a:pt x="6667" y="4763"/>
                    <a:pt x="5397" y="4763"/>
                    <a:pt x="4763" y="4763"/>
                  </a:cubicBezTo>
                  <a:lnTo>
                    <a:pt x="72707" y="44132"/>
                  </a:lnTo>
                  <a:cubicBezTo>
                    <a:pt x="73342" y="44132"/>
                    <a:pt x="73978" y="44132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3" name="任意多边形: 形状 1602"/>
            <p:cNvSpPr/>
            <p:nvPr/>
          </p:nvSpPr>
          <p:spPr>
            <a:xfrm>
              <a:off x="6833553" y="1926908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3 w 76200"/>
                <a:gd name="connsiteY1" fmla="*/ 4763 h 44450"/>
                <a:gd name="connsiteX2" fmla="*/ 4763 w 76200"/>
                <a:gd name="connsiteY2" fmla="*/ 5397 h 44450"/>
                <a:gd name="connsiteX3" fmla="*/ 72707 w 76200"/>
                <a:gd name="connsiteY3" fmla="*/ 44767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3" y="4763"/>
                  </a:lnTo>
                  <a:cubicBezTo>
                    <a:pt x="6667" y="4763"/>
                    <a:pt x="5397" y="4763"/>
                    <a:pt x="4763" y="5397"/>
                  </a:cubicBezTo>
                  <a:lnTo>
                    <a:pt x="72707" y="44767"/>
                  </a:lnTo>
                  <a:cubicBezTo>
                    <a:pt x="73978" y="44132"/>
                    <a:pt x="74613" y="44132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4" name="任意多边形: 形状 1603"/>
            <p:cNvSpPr/>
            <p:nvPr/>
          </p:nvSpPr>
          <p:spPr>
            <a:xfrm>
              <a:off x="6831013" y="1926908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3 w 76200"/>
                <a:gd name="connsiteY1" fmla="*/ 4763 h 44450"/>
                <a:gd name="connsiteX2" fmla="*/ 4763 w 76200"/>
                <a:gd name="connsiteY2" fmla="*/ 5397 h 44450"/>
                <a:gd name="connsiteX3" fmla="*/ 72707 w 76200"/>
                <a:gd name="connsiteY3" fmla="*/ 44767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3" y="4763"/>
                  </a:lnTo>
                  <a:cubicBezTo>
                    <a:pt x="6668" y="4763"/>
                    <a:pt x="5397" y="5397"/>
                    <a:pt x="4763" y="5397"/>
                  </a:cubicBezTo>
                  <a:lnTo>
                    <a:pt x="72707" y="44767"/>
                  </a:lnTo>
                  <a:cubicBezTo>
                    <a:pt x="73978" y="44767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5" name="任意多边形: 形状 1604"/>
            <p:cNvSpPr/>
            <p:nvPr/>
          </p:nvSpPr>
          <p:spPr>
            <a:xfrm>
              <a:off x="6829107" y="1927542"/>
              <a:ext cx="76200" cy="44450"/>
            </a:xfrm>
            <a:custGeom>
              <a:avLst/>
              <a:gdLst>
                <a:gd name="connsiteX0" fmla="*/ 75248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5398 h 44450"/>
                <a:gd name="connsiteX3" fmla="*/ 72708 w 76200"/>
                <a:gd name="connsiteY3" fmla="*/ 44768 h 44450"/>
                <a:gd name="connsiteX4" fmla="*/ 75248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4763"/>
                    <a:pt x="5398" y="5398"/>
                    <a:pt x="4763" y="5398"/>
                  </a:cubicBezTo>
                  <a:lnTo>
                    <a:pt x="72708" y="44768"/>
                  </a:lnTo>
                  <a:cubicBezTo>
                    <a:pt x="73343" y="44768"/>
                    <a:pt x="73978" y="44133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6" name="任意多边形: 形状 1605"/>
            <p:cNvSpPr/>
            <p:nvPr/>
          </p:nvSpPr>
          <p:spPr>
            <a:xfrm>
              <a:off x="6826568" y="1928177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2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8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4763"/>
                    <a:pt x="6032" y="5398"/>
                    <a:pt x="4763" y="5398"/>
                  </a:cubicBezTo>
                  <a:lnTo>
                    <a:pt x="72707" y="44768"/>
                  </a:lnTo>
                  <a:cubicBezTo>
                    <a:pt x="73342" y="44768"/>
                    <a:pt x="74613" y="4476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7" name="任意多边形: 形状 1606"/>
            <p:cNvSpPr/>
            <p:nvPr/>
          </p:nvSpPr>
          <p:spPr>
            <a:xfrm>
              <a:off x="6824028" y="1928813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7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7" y="4763"/>
                    <a:pt x="6032" y="5398"/>
                    <a:pt x="4763" y="5398"/>
                  </a:cubicBezTo>
                  <a:lnTo>
                    <a:pt x="72707" y="44767"/>
                  </a:lnTo>
                  <a:cubicBezTo>
                    <a:pt x="73978" y="44767"/>
                    <a:pt x="74613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8" name="任意多边形: 形状 1607"/>
            <p:cNvSpPr/>
            <p:nvPr/>
          </p:nvSpPr>
          <p:spPr>
            <a:xfrm>
              <a:off x="6821488" y="1930083"/>
              <a:ext cx="76200" cy="44450"/>
            </a:xfrm>
            <a:custGeom>
              <a:avLst/>
              <a:gdLst>
                <a:gd name="connsiteX0" fmla="*/ 75247 w 76200"/>
                <a:gd name="connsiteY0" fmla="*/ 44132 h 44450"/>
                <a:gd name="connsiteX1" fmla="*/ 7303 w 76200"/>
                <a:gd name="connsiteY1" fmla="*/ 4763 h 44450"/>
                <a:gd name="connsiteX2" fmla="*/ 4763 w 76200"/>
                <a:gd name="connsiteY2" fmla="*/ 6032 h 44450"/>
                <a:gd name="connsiteX3" fmla="*/ 72707 w 76200"/>
                <a:gd name="connsiteY3" fmla="*/ 45402 h 44450"/>
                <a:gd name="connsiteX4" fmla="*/ 7524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2"/>
                  </a:moveTo>
                  <a:lnTo>
                    <a:pt x="7303" y="4763"/>
                  </a:lnTo>
                  <a:cubicBezTo>
                    <a:pt x="6668" y="4763"/>
                    <a:pt x="6032" y="5397"/>
                    <a:pt x="4763" y="6032"/>
                  </a:cubicBezTo>
                  <a:lnTo>
                    <a:pt x="72707" y="45402"/>
                  </a:lnTo>
                  <a:cubicBezTo>
                    <a:pt x="73978" y="44767"/>
                    <a:pt x="74613" y="44132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9" name="任意多边形: 形状 1608"/>
            <p:cNvSpPr/>
            <p:nvPr/>
          </p:nvSpPr>
          <p:spPr>
            <a:xfrm>
              <a:off x="6819582" y="1930717"/>
              <a:ext cx="76200" cy="44450"/>
            </a:xfrm>
            <a:custGeom>
              <a:avLst/>
              <a:gdLst>
                <a:gd name="connsiteX0" fmla="*/ 75248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6033 h 44450"/>
                <a:gd name="connsiteX3" fmla="*/ 72708 w 76200"/>
                <a:gd name="connsiteY3" fmla="*/ 45403 h 44450"/>
                <a:gd name="connsiteX4" fmla="*/ 75248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5398"/>
                    <a:pt x="6033" y="5398"/>
                    <a:pt x="4763" y="6033"/>
                  </a:cubicBezTo>
                  <a:lnTo>
                    <a:pt x="72708" y="45403"/>
                  </a:lnTo>
                  <a:cubicBezTo>
                    <a:pt x="73343" y="45403"/>
                    <a:pt x="74613" y="44768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0" name="任意多边形: 形状 1609"/>
            <p:cNvSpPr/>
            <p:nvPr/>
          </p:nvSpPr>
          <p:spPr>
            <a:xfrm>
              <a:off x="6817043" y="1931988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2 w 76200"/>
                <a:gd name="connsiteY1" fmla="*/ 4763 h 44450"/>
                <a:gd name="connsiteX2" fmla="*/ 4763 w 76200"/>
                <a:gd name="connsiteY2" fmla="*/ 6033 h 44450"/>
                <a:gd name="connsiteX3" fmla="*/ 72707 w 76200"/>
                <a:gd name="connsiteY3" fmla="*/ 45402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5398"/>
                    <a:pt x="5397" y="5398"/>
                    <a:pt x="4763" y="6033"/>
                  </a:cubicBezTo>
                  <a:lnTo>
                    <a:pt x="72707" y="45402"/>
                  </a:lnTo>
                  <a:cubicBezTo>
                    <a:pt x="73342" y="44767"/>
                    <a:pt x="74613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1" name="任意多边形: 形状 1610"/>
            <p:cNvSpPr/>
            <p:nvPr/>
          </p:nvSpPr>
          <p:spPr>
            <a:xfrm>
              <a:off x="6814503" y="1933258"/>
              <a:ext cx="76200" cy="50800"/>
            </a:xfrm>
            <a:custGeom>
              <a:avLst/>
              <a:gdLst>
                <a:gd name="connsiteX0" fmla="*/ 75247 w 76200"/>
                <a:gd name="connsiteY0" fmla="*/ 44132 h 50800"/>
                <a:gd name="connsiteX1" fmla="*/ 7303 w 76200"/>
                <a:gd name="connsiteY1" fmla="*/ 4763 h 50800"/>
                <a:gd name="connsiteX2" fmla="*/ 5397 w 76200"/>
                <a:gd name="connsiteY2" fmla="*/ 6032 h 50800"/>
                <a:gd name="connsiteX3" fmla="*/ 4763 w 76200"/>
                <a:gd name="connsiteY3" fmla="*/ 6667 h 50800"/>
                <a:gd name="connsiteX4" fmla="*/ 72707 w 76200"/>
                <a:gd name="connsiteY4" fmla="*/ 46038 h 50800"/>
                <a:gd name="connsiteX5" fmla="*/ 73342 w 76200"/>
                <a:gd name="connsiteY5" fmla="*/ 45402 h 50800"/>
                <a:gd name="connsiteX6" fmla="*/ 75247 w 76200"/>
                <a:gd name="connsiteY6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50800">
                  <a:moveTo>
                    <a:pt x="75247" y="44132"/>
                  </a:moveTo>
                  <a:lnTo>
                    <a:pt x="7303" y="4763"/>
                  </a:lnTo>
                  <a:cubicBezTo>
                    <a:pt x="6667" y="5397"/>
                    <a:pt x="6032" y="5397"/>
                    <a:pt x="5397" y="6032"/>
                  </a:cubicBezTo>
                  <a:cubicBezTo>
                    <a:pt x="5397" y="6032"/>
                    <a:pt x="4763" y="6032"/>
                    <a:pt x="4763" y="6667"/>
                  </a:cubicBezTo>
                  <a:lnTo>
                    <a:pt x="72707" y="46038"/>
                  </a:lnTo>
                  <a:cubicBezTo>
                    <a:pt x="72707" y="46038"/>
                    <a:pt x="73342" y="46038"/>
                    <a:pt x="73342" y="45402"/>
                  </a:cubicBezTo>
                  <a:cubicBezTo>
                    <a:pt x="73978" y="44767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2" name="任意多边形: 形状 1611"/>
            <p:cNvSpPr/>
            <p:nvPr/>
          </p:nvSpPr>
          <p:spPr>
            <a:xfrm>
              <a:off x="6811963" y="1934527"/>
              <a:ext cx="76200" cy="44450"/>
            </a:xfrm>
            <a:custGeom>
              <a:avLst/>
              <a:gdLst>
                <a:gd name="connsiteX0" fmla="*/ 75247 w 76200"/>
                <a:gd name="connsiteY0" fmla="*/ 44133 h 44450"/>
                <a:gd name="connsiteX1" fmla="*/ 7303 w 76200"/>
                <a:gd name="connsiteY1" fmla="*/ 4763 h 44450"/>
                <a:gd name="connsiteX2" fmla="*/ 4763 w 76200"/>
                <a:gd name="connsiteY2" fmla="*/ 6033 h 44450"/>
                <a:gd name="connsiteX3" fmla="*/ 72707 w 76200"/>
                <a:gd name="connsiteY3" fmla="*/ 45402 h 44450"/>
                <a:gd name="connsiteX4" fmla="*/ 75247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5398"/>
                    <a:pt x="5397" y="6033"/>
                    <a:pt x="4763" y="6033"/>
                  </a:cubicBezTo>
                  <a:lnTo>
                    <a:pt x="72707" y="45402"/>
                  </a:lnTo>
                  <a:cubicBezTo>
                    <a:pt x="73978" y="45402"/>
                    <a:pt x="74613" y="4476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3" name="任意多边形: 形状 1612"/>
            <p:cNvSpPr/>
            <p:nvPr/>
          </p:nvSpPr>
          <p:spPr>
            <a:xfrm>
              <a:off x="6810057" y="1936433"/>
              <a:ext cx="76200" cy="50800"/>
            </a:xfrm>
            <a:custGeom>
              <a:avLst/>
              <a:gdLst>
                <a:gd name="connsiteX0" fmla="*/ 75248 w 76200"/>
                <a:gd name="connsiteY0" fmla="*/ 44132 h 50800"/>
                <a:gd name="connsiteX1" fmla="*/ 7303 w 76200"/>
                <a:gd name="connsiteY1" fmla="*/ 4763 h 50800"/>
                <a:gd name="connsiteX2" fmla="*/ 4763 w 76200"/>
                <a:gd name="connsiteY2" fmla="*/ 6667 h 50800"/>
                <a:gd name="connsiteX3" fmla="*/ 72708 w 76200"/>
                <a:gd name="connsiteY3" fmla="*/ 46038 h 50800"/>
                <a:gd name="connsiteX4" fmla="*/ 7524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8" y="44132"/>
                  </a:moveTo>
                  <a:lnTo>
                    <a:pt x="7303" y="4763"/>
                  </a:lnTo>
                  <a:cubicBezTo>
                    <a:pt x="6668" y="5397"/>
                    <a:pt x="5398" y="6032"/>
                    <a:pt x="4763" y="6667"/>
                  </a:cubicBezTo>
                  <a:lnTo>
                    <a:pt x="72708" y="46038"/>
                  </a:lnTo>
                  <a:cubicBezTo>
                    <a:pt x="73343" y="44767"/>
                    <a:pt x="73978" y="44132"/>
                    <a:pt x="7524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4" name="任意多边形: 形状 1613"/>
            <p:cNvSpPr/>
            <p:nvPr/>
          </p:nvSpPr>
          <p:spPr>
            <a:xfrm>
              <a:off x="6807518" y="1937702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2 w 76200"/>
                <a:gd name="connsiteY1" fmla="*/ 4763 h 50800"/>
                <a:gd name="connsiteX2" fmla="*/ 4763 w 76200"/>
                <a:gd name="connsiteY2" fmla="*/ 6668 h 50800"/>
                <a:gd name="connsiteX3" fmla="*/ 72707 w 76200"/>
                <a:gd name="connsiteY3" fmla="*/ 46038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5398"/>
                    <a:pt x="5397" y="6033"/>
                    <a:pt x="4763" y="6668"/>
                  </a:cubicBezTo>
                  <a:lnTo>
                    <a:pt x="72707" y="46038"/>
                  </a:lnTo>
                  <a:cubicBezTo>
                    <a:pt x="73342" y="45402"/>
                    <a:pt x="73977" y="4476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5" name="任意多边形: 形状 1614"/>
            <p:cNvSpPr/>
            <p:nvPr/>
          </p:nvSpPr>
          <p:spPr>
            <a:xfrm>
              <a:off x="6804978" y="1939608"/>
              <a:ext cx="76200" cy="50800"/>
            </a:xfrm>
            <a:custGeom>
              <a:avLst/>
              <a:gdLst>
                <a:gd name="connsiteX0" fmla="*/ 75247 w 76200"/>
                <a:gd name="connsiteY0" fmla="*/ 44132 h 50800"/>
                <a:gd name="connsiteX1" fmla="*/ 7303 w 76200"/>
                <a:gd name="connsiteY1" fmla="*/ 4763 h 50800"/>
                <a:gd name="connsiteX2" fmla="*/ 4763 w 76200"/>
                <a:gd name="connsiteY2" fmla="*/ 6667 h 50800"/>
                <a:gd name="connsiteX3" fmla="*/ 72707 w 76200"/>
                <a:gd name="connsiteY3" fmla="*/ 46038 h 50800"/>
                <a:gd name="connsiteX4" fmla="*/ 7524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2"/>
                  </a:moveTo>
                  <a:lnTo>
                    <a:pt x="7303" y="4763"/>
                  </a:lnTo>
                  <a:cubicBezTo>
                    <a:pt x="6667" y="5397"/>
                    <a:pt x="5397" y="6032"/>
                    <a:pt x="4763" y="6667"/>
                  </a:cubicBezTo>
                  <a:lnTo>
                    <a:pt x="72707" y="46038"/>
                  </a:lnTo>
                  <a:cubicBezTo>
                    <a:pt x="73342" y="45402"/>
                    <a:pt x="73978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6" name="任意多边形: 形状 1615"/>
            <p:cNvSpPr/>
            <p:nvPr/>
          </p:nvSpPr>
          <p:spPr>
            <a:xfrm>
              <a:off x="6802438" y="1941513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6667 h 50800"/>
                <a:gd name="connsiteX3" fmla="*/ 72707 w 76200"/>
                <a:gd name="connsiteY3" fmla="*/ 46038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5398"/>
                    <a:pt x="5397" y="6033"/>
                    <a:pt x="4763" y="6667"/>
                  </a:cubicBezTo>
                  <a:lnTo>
                    <a:pt x="72707" y="46038"/>
                  </a:lnTo>
                  <a:cubicBezTo>
                    <a:pt x="73343" y="45402"/>
                    <a:pt x="73978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7" name="任意多边形: 形状 1616"/>
            <p:cNvSpPr/>
            <p:nvPr/>
          </p:nvSpPr>
          <p:spPr>
            <a:xfrm>
              <a:off x="6799897" y="1943417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7303 h 50800"/>
                <a:gd name="connsiteX3" fmla="*/ 72708 w 76200"/>
                <a:gd name="connsiteY3" fmla="*/ 46673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5398"/>
                    <a:pt x="5397" y="6033"/>
                    <a:pt x="4763" y="7303"/>
                  </a:cubicBezTo>
                  <a:lnTo>
                    <a:pt x="72708" y="46673"/>
                  </a:lnTo>
                  <a:cubicBezTo>
                    <a:pt x="73343" y="46038"/>
                    <a:pt x="73978" y="4540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8" name="任意多边形: 形状 1617"/>
            <p:cNvSpPr/>
            <p:nvPr/>
          </p:nvSpPr>
          <p:spPr>
            <a:xfrm>
              <a:off x="6796722" y="1945958"/>
              <a:ext cx="76200" cy="50800"/>
            </a:xfrm>
            <a:custGeom>
              <a:avLst/>
              <a:gdLst>
                <a:gd name="connsiteX0" fmla="*/ 75247 w 76200"/>
                <a:gd name="connsiteY0" fmla="*/ 44132 h 50800"/>
                <a:gd name="connsiteX1" fmla="*/ 7303 w 76200"/>
                <a:gd name="connsiteY1" fmla="*/ 4763 h 50800"/>
                <a:gd name="connsiteX2" fmla="*/ 4763 w 76200"/>
                <a:gd name="connsiteY2" fmla="*/ 7302 h 50800"/>
                <a:gd name="connsiteX3" fmla="*/ 72708 w 76200"/>
                <a:gd name="connsiteY3" fmla="*/ 46672 h 50800"/>
                <a:gd name="connsiteX4" fmla="*/ 7524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2"/>
                  </a:moveTo>
                  <a:lnTo>
                    <a:pt x="7303" y="4763"/>
                  </a:lnTo>
                  <a:cubicBezTo>
                    <a:pt x="6668" y="5397"/>
                    <a:pt x="5397" y="6667"/>
                    <a:pt x="4763" y="7302"/>
                  </a:cubicBezTo>
                  <a:lnTo>
                    <a:pt x="72708" y="46672"/>
                  </a:lnTo>
                  <a:cubicBezTo>
                    <a:pt x="73978" y="46038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9" name="任意多边形: 形状 1618"/>
            <p:cNvSpPr/>
            <p:nvPr/>
          </p:nvSpPr>
          <p:spPr>
            <a:xfrm>
              <a:off x="6794182" y="1948498"/>
              <a:ext cx="76200" cy="50800"/>
            </a:xfrm>
            <a:custGeom>
              <a:avLst/>
              <a:gdLst>
                <a:gd name="connsiteX0" fmla="*/ 75248 w 76200"/>
                <a:gd name="connsiteY0" fmla="*/ 44132 h 50800"/>
                <a:gd name="connsiteX1" fmla="*/ 7303 w 76200"/>
                <a:gd name="connsiteY1" fmla="*/ 4763 h 50800"/>
                <a:gd name="connsiteX2" fmla="*/ 4763 w 76200"/>
                <a:gd name="connsiteY2" fmla="*/ 7302 h 50800"/>
                <a:gd name="connsiteX3" fmla="*/ 72708 w 76200"/>
                <a:gd name="connsiteY3" fmla="*/ 46673 h 50800"/>
                <a:gd name="connsiteX4" fmla="*/ 7524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8" y="44132"/>
                  </a:moveTo>
                  <a:lnTo>
                    <a:pt x="7303" y="4763"/>
                  </a:lnTo>
                  <a:cubicBezTo>
                    <a:pt x="6668" y="5398"/>
                    <a:pt x="5398" y="6667"/>
                    <a:pt x="4763" y="7302"/>
                  </a:cubicBezTo>
                  <a:lnTo>
                    <a:pt x="72708" y="46673"/>
                  </a:lnTo>
                  <a:cubicBezTo>
                    <a:pt x="73978" y="45402"/>
                    <a:pt x="74613" y="44767"/>
                    <a:pt x="7524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0" name="任意多边形: 形状 1619"/>
            <p:cNvSpPr/>
            <p:nvPr/>
          </p:nvSpPr>
          <p:spPr>
            <a:xfrm>
              <a:off x="6791643" y="1951038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2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5398"/>
                    <a:pt x="5397" y="6667"/>
                    <a:pt x="4763" y="7302"/>
                  </a:cubicBezTo>
                  <a:lnTo>
                    <a:pt x="72707" y="46673"/>
                  </a:lnTo>
                  <a:cubicBezTo>
                    <a:pt x="73977" y="45402"/>
                    <a:pt x="74613" y="44767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1" name="任意多边形: 形状 1620"/>
            <p:cNvSpPr/>
            <p:nvPr/>
          </p:nvSpPr>
          <p:spPr>
            <a:xfrm>
              <a:off x="6791643" y="1953577"/>
              <a:ext cx="76200" cy="44450"/>
            </a:xfrm>
            <a:custGeom>
              <a:avLst/>
              <a:gdLst>
                <a:gd name="connsiteX0" fmla="*/ 73342 w 76200"/>
                <a:gd name="connsiteY0" fmla="*/ 44133 h 44450"/>
                <a:gd name="connsiteX1" fmla="*/ 5397 w 76200"/>
                <a:gd name="connsiteY1" fmla="*/ 4763 h 44450"/>
                <a:gd name="connsiteX2" fmla="*/ 4763 w 76200"/>
                <a:gd name="connsiteY2" fmla="*/ 5398 h 44450"/>
                <a:gd name="connsiteX3" fmla="*/ 73342 w 76200"/>
                <a:gd name="connsiteY3" fmla="*/ 44133 h 44450"/>
                <a:gd name="connsiteX4" fmla="*/ 73342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3342" y="44133"/>
                  </a:moveTo>
                  <a:lnTo>
                    <a:pt x="5397" y="4763"/>
                  </a:lnTo>
                  <a:cubicBezTo>
                    <a:pt x="5397" y="4763"/>
                    <a:pt x="5397" y="5398"/>
                    <a:pt x="4763" y="5398"/>
                  </a:cubicBezTo>
                  <a:lnTo>
                    <a:pt x="73342" y="44133"/>
                  </a:lnTo>
                  <a:cubicBezTo>
                    <a:pt x="72707" y="44133"/>
                    <a:pt x="72707" y="44133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2" name="任意多边形: 形状 1621"/>
            <p:cNvSpPr/>
            <p:nvPr/>
          </p:nvSpPr>
          <p:spPr>
            <a:xfrm>
              <a:off x="6742113" y="1864677"/>
              <a:ext cx="82550" cy="50800"/>
            </a:xfrm>
            <a:custGeom>
              <a:avLst/>
              <a:gdLst>
                <a:gd name="connsiteX0" fmla="*/ 83503 w 82550"/>
                <a:gd name="connsiteY0" fmla="*/ 49213 h 50800"/>
                <a:gd name="connsiteX1" fmla="*/ 15557 w 82550"/>
                <a:gd name="connsiteY1" fmla="*/ 9843 h 50800"/>
                <a:gd name="connsiteX2" fmla="*/ 4763 w 82550"/>
                <a:gd name="connsiteY2" fmla="*/ 4763 h 50800"/>
                <a:gd name="connsiteX3" fmla="*/ 72707 w 82550"/>
                <a:gd name="connsiteY3" fmla="*/ 44133 h 50800"/>
                <a:gd name="connsiteX4" fmla="*/ 83503 w 82550"/>
                <a:gd name="connsiteY4" fmla="*/ 4921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83503" y="49213"/>
                  </a:moveTo>
                  <a:lnTo>
                    <a:pt x="15557" y="9843"/>
                  </a:lnTo>
                  <a:cubicBezTo>
                    <a:pt x="12382" y="7938"/>
                    <a:pt x="8572" y="6033"/>
                    <a:pt x="4763" y="4763"/>
                  </a:cubicBezTo>
                  <a:lnTo>
                    <a:pt x="72707" y="44133"/>
                  </a:lnTo>
                  <a:cubicBezTo>
                    <a:pt x="76518" y="45402"/>
                    <a:pt x="80328" y="47308"/>
                    <a:pt x="83503" y="4921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3" name="任意多边形: 形状 1622"/>
            <p:cNvSpPr/>
            <p:nvPr/>
          </p:nvSpPr>
          <p:spPr>
            <a:xfrm>
              <a:off x="6732588" y="1862138"/>
              <a:ext cx="82550" cy="50800"/>
            </a:xfrm>
            <a:custGeom>
              <a:avLst/>
              <a:gdLst>
                <a:gd name="connsiteX0" fmla="*/ 82232 w 82550"/>
                <a:gd name="connsiteY0" fmla="*/ 46673 h 50800"/>
                <a:gd name="connsiteX1" fmla="*/ 14288 w 82550"/>
                <a:gd name="connsiteY1" fmla="*/ 7302 h 50800"/>
                <a:gd name="connsiteX2" fmla="*/ 4763 w 82550"/>
                <a:gd name="connsiteY2" fmla="*/ 4763 h 50800"/>
                <a:gd name="connsiteX3" fmla="*/ 72707 w 82550"/>
                <a:gd name="connsiteY3" fmla="*/ 44133 h 50800"/>
                <a:gd name="connsiteX4" fmla="*/ 82232 w 82550"/>
                <a:gd name="connsiteY4" fmla="*/ 4667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82232" y="46673"/>
                  </a:moveTo>
                  <a:lnTo>
                    <a:pt x="14288" y="7302"/>
                  </a:lnTo>
                  <a:cubicBezTo>
                    <a:pt x="11113" y="6033"/>
                    <a:pt x="7938" y="5398"/>
                    <a:pt x="4763" y="4763"/>
                  </a:cubicBezTo>
                  <a:lnTo>
                    <a:pt x="72707" y="44133"/>
                  </a:lnTo>
                  <a:cubicBezTo>
                    <a:pt x="75882" y="44767"/>
                    <a:pt x="79057" y="45402"/>
                    <a:pt x="82232" y="4667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4" name="任意多边形: 形状 1623"/>
            <p:cNvSpPr/>
            <p:nvPr/>
          </p:nvSpPr>
          <p:spPr>
            <a:xfrm>
              <a:off x="6724968" y="1860867"/>
              <a:ext cx="82550" cy="44450"/>
            </a:xfrm>
            <a:custGeom>
              <a:avLst/>
              <a:gdLst>
                <a:gd name="connsiteX0" fmla="*/ 80327 w 82550"/>
                <a:gd name="connsiteY0" fmla="*/ 45403 h 44450"/>
                <a:gd name="connsiteX1" fmla="*/ 12382 w 82550"/>
                <a:gd name="connsiteY1" fmla="*/ 6033 h 44450"/>
                <a:gd name="connsiteX2" fmla="*/ 4763 w 82550"/>
                <a:gd name="connsiteY2" fmla="*/ 4763 h 44450"/>
                <a:gd name="connsiteX3" fmla="*/ 72707 w 82550"/>
                <a:gd name="connsiteY3" fmla="*/ 44133 h 44450"/>
                <a:gd name="connsiteX4" fmla="*/ 80327 w 82550"/>
                <a:gd name="connsiteY4" fmla="*/ 4540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44450">
                  <a:moveTo>
                    <a:pt x="80327" y="45403"/>
                  </a:moveTo>
                  <a:lnTo>
                    <a:pt x="12382" y="6033"/>
                  </a:lnTo>
                  <a:cubicBezTo>
                    <a:pt x="9842" y="5398"/>
                    <a:pt x="7302" y="5398"/>
                    <a:pt x="4763" y="4763"/>
                  </a:cubicBezTo>
                  <a:lnTo>
                    <a:pt x="72707" y="44133"/>
                  </a:lnTo>
                  <a:cubicBezTo>
                    <a:pt x="75247" y="44768"/>
                    <a:pt x="77788" y="44768"/>
                    <a:pt x="80327" y="4540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5" name="任意多边形: 形状 1624"/>
            <p:cNvSpPr/>
            <p:nvPr/>
          </p:nvSpPr>
          <p:spPr>
            <a:xfrm>
              <a:off x="6717982" y="1860233"/>
              <a:ext cx="82550" cy="44450"/>
            </a:xfrm>
            <a:custGeom>
              <a:avLst/>
              <a:gdLst>
                <a:gd name="connsiteX0" fmla="*/ 79693 w 82550"/>
                <a:gd name="connsiteY0" fmla="*/ 44767 h 44450"/>
                <a:gd name="connsiteX1" fmla="*/ 11748 w 82550"/>
                <a:gd name="connsiteY1" fmla="*/ 5397 h 44450"/>
                <a:gd name="connsiteX2" fmla="*/ 4763 w 82550"/>
                <a:gd name="connsiteY2" fmla="*/ 4763 h 44450"/>
                <a:gd name="connsiteX3" fmla="*/ 72708 w 82550"/>
                <a:gd name="connsiteY3" fmla="*/ 44132 h 44450"/>
                <a:gd name="connsiteX4" fmla="*/ 79693 w 82550"/>
                <a:gd name="connsiteY4" fmla="*/ 4476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44450">
                  <a:moveTo>
                    <a:pt x="79693" y="44767"/>
                  </a:moveTo>
                  <a:lnTo>
                    <a:pt x="11748" y="5397"/>
                  </a:lnTo>
                  <a:cubicBezTo>
                    <a:pt x="9208" y="5397"/>
                    <a:pt x="7303" y="4763"/>
                    <a:pt x="4763" y="4763"/>
                  </a:cubicBezTo>
                  <a:lnTo>
                    <a:pt x="72708" y="44132"/>
                  </a:lnTo>
                  <a:cubicBezTo>
                    <a:pt x="75248" y="44767"/>
                    <a:pt x="77153" y="44767"/>
                    <a:pt x="79693" y="4476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6" name="任意多边形: 形状 1625"/>
            <p:cNvSpPr/>
            <p:nvPr/>
          </p:nvSpPr>
          <p:spPr>
            <a:xfrm>
              <a:off x="6711632" y="1860867"/>
              <a:ext cx="82550" cy="44450"/>
            </a:xfrm>
            <a:custGeom>
              <a:avLst/>
              <a:gdLst>
                <a:gd name="connsiteX0" fmla="*/ 79058 w 82550"/>
                <a:gd name="connsiteY0" fmla="*/ 44133 h 44450"/>
                <a:gd name="connsiteX1" fmla="*/ 11113 w 82550"/>
                <a:gd name="connsiteY1" fmla="*/ 4763 h 44450"/>
                <a:gd name="connsiteX2" fmla="*/ 4763 w 82550"/>
                <a:gd name="connsiteY2" fmla="*/ 4763 h 44450"/>
                <a:gd name="connsiteX3" fmla="*/ 72708 w 82550"/>
                <a:gd name="connsiteY3" fmla="*/ 44133 h 44450"/>
                <a:gd name="connsiteX4" fmla="*/ 79058 w 8255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44450">
                  <a:moveTo>
                    <a:pt x="79058" y="44133"/>
                  </a:moveTo>
                  <a:lnTo>
                    <a:pt x="11113" y="4763"/>
                  </a:lnTo>
                  <a:cubicBezTo>
                    <a:pt x="9208" y="4763"/>
                    <a:pt x="6668" y="4763"/>
                    <a:pt x="4763" y="4763"/>
                  </a:cubicBezTo>
                  <a:lnTo>
                    <a:pt x="72708" y="44133"/>
                  </a:lnTo>
                  <a:cubicBezTo>
                    <a:pt x="74613" y="44133"/>
                    <a:pt x="77153" y="44133"/>
                    <a:pt x="7905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7" name="任意多边形: 形状 1626"/>
            <p:cNvSpPr/>
            <p:nvPr/>
          </p:nvSpPr>
          <p:spPr>
            <a:xfrm>
              <a:off x="6705282" y="1860867"/>
              <a:ext cx="82550" cy="44450"/>
            </a:xfrm>
            <a:custGeom>
              <a:avLst/>
              <a:gdLst>
                <a:gd name="connsiteX0" fmla="*/ 79058 w 82550"/>
                <a:gd name="connsiteY0" fmla="*/ 44133 h 44450"/>
                <a:gd name="connsiteX1" fmla="*/ 11113 w 82550"/>
                <a:gd name="connsiteY1" fmla="*/ 4763 h 44450"/>
                <a:gd name="connsiteX2" fmla="*/ 4763 w 82550"/>
                <a:gd name="connsiteY2" fmla="*/ 5398 h 44450"/>
                <a:gd name="connsiteX3" fmla="*/ 72708 w 82550"/>
                <a:gd name="connsiteY3" fmla="*/ 44768 h 44450"/>
                <a:gd name="connsiteX4" fmla="*/ 79058 w 8255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44450">
                  <a:moveTo>
                    <a:pt x="79058" y="44133"/>
                  </a:moveTo>
                  <a:lnTo>
                    <a:pt x="11113" y="4763"/>
                  </a:lnTo>
                  <a:cubicBezTo>
                    <a:pt x="9208" y="4763"/>
                    <a:pt x="7303" y="5398"/>
                    <a:pt x="4763" y="5398"/>
                  </a:cubicBezTo>
                  <a:lnTo>
                    <a:pt x="72708" y="44768"/>
                  </a:lnTo>
                  <a:cubicBezTo>
                    <a:pt x="74613" y="44768"/>
                    <a:pt x="77153" y="44133"/>
                    <a:pt x="7905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8" name="任意多边形: 形状 1627"/>
            <p:cNvSpPr/>
            <p:nvPr/>
          </p:nvSpPr>
          <p:spPr>
            <a:xfrm>
              <a:off x="6699568" y="1861502"/>
              <a:ext cx="82550" cy="44450"/>
            </a:xfrm>
            <a:custGeom>
              <a:avLst/>
              <a:gdLst>
                <a:gd name="connsiteX0" fmla="*/ 78422 w 82550"/>
                <a:gd name="connsiteY0" fmla="*/ 44133 h 44450"/>
                <a:gd name="connsiteX1" fmla="*/ 10477 w 82550"/>
                <a:gd name="connsiteY1" fmla="*/ 4763 h 44450"/>
                <a:gd name="connsiteX2" fmla="*/ 4763 w 82550"/>
                <a:gd name="connsiteY2" fmla="*/ 6033 h 44450"/>
                <a:gd name="connsiteX3" fmla="*/ 72707 w 82550"/>
                <a:gd name="connsiteY3" fmla="*/ 45402 h 44450"/>
                <a:gd name="connsiteX4" fmla="*/ 78422 w 8255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44450">
                  <a:moveTo>
                    <a:pt x="78422" y="44133"/>
                  </a:moveTo>
                  <a:lnTo>
                    <a:pt x="10477" y="4763"/>
                  </a:lnTo>
                  <a:cubicBezTo>
                    <a:pt x="8572" y="4763"/>
                    <a:pt x="6667" y="5398"/>
                    <a:pt x="4763" y="6033"/>
                  </a:cubicBezTo>
                  <a:lnTo>
                    <a:pt x="72707" y="45402"/>
                  </a:lnTo>
                  <a:cubicBezTo>
                    <a:pt x="74613" y="44768"/>
                    <a:pt x="76517" y="44133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9" name="任意多边形: 形状 1628"/>
            <p:cNvSpPr/>
            <p:nvPr/>
          </p:nvSpPr>
          <p:spPr>
            <a:xfrm>
              <a:off x="6693853" y="1862773"/>
              <a:ext cx="82550" cy="44450"/>
            </a:xfrm>
            <a:custGeom>
              <a:avLst/>
              <a:gdLst>
                <a:gd name="connsiteX0" fmla="*/ 78422 w 82550"/>
                <a:gd name="connsiteY0" fmla="*/ 44132 h 44450"/>
                <a:gd name="connsiteX1" fmla="*/ 10478 w 82550"/>
                <a:gd name="connsiteY1" fmla="*/ 4763 h 44450"/>
                <a:gd name="connsiteX2" fmla="*/ 4763 w 82550"/>
                <a:gd name="connsiteY2" fmla="*/ 6032 h 44450"/>
                <a:gd name="connsiteX3" fmla="*/ 72707 w 82550"/>
                <a:gd name="connsiteY3" fmla="*/ 45402 h 44450"/>
                <a:gd name="connsiteX4" fmla="*/ 78422 w 8255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44450">
                  <a:moveTo>
                    <a:pt x="78422" y="44132"/>
                  </a:moveTo>
                  <a:lnTo>
                    <a:pt x="10478" y="4763"/>
                  </a:lnTo>
                  <a:cubicBezTo>
                    <a:pt x="8572" y="5398"/>
                    <a:pt x="6667" y="5398"/>
                    <a:pt x="4763" y="6032"/>
                  </a:cubicBezTo>
                  <a:lnTo>
                    <a:pt x="72707" y="45402"/>
                  </a:lnTo>
                  <a:cubicBezTo>
                    <a:pt x="74613" y="44767"/>
                    <a:pt x="76517" y="44132"/>
                    <a:pt x="7842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0" name="任意多边形: 形状 1629"/>
            <p:cNvSpPr/>
            <p:nvPr/>
          </p:nvSpPr>
          <p:spPr>
            <a:xfrm>
              <a:off x="6687503" y="1864042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6668 h 50800"/>
                <a:gd name="connsiteX3" fmla="*/ 72707 w 82550"/>
                <a:gd name="connsiteY3" fmla="*/ 46038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5398"/>
                    <a:pt x="6667" y="6033"/>
                    <a:pt x="4763" y="6668"/>
                  </a:cubicBezTo>
                  <a:lnTo>
                    <a:pt x="72707" y="46038"/>
                  </a:lnTo>
                  <a:cubicBezTo>
                    <a:pt x="74613" y="44768"/>
                    <a:pt x="76517" y="44133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1" name="任意多边形: 形状 1630"/>
            <p:cNvSpPr/>
            <p:nvPr/>
          </p:nvSpPr>
          <p:spPr>
            <a:xfrm>
              <a:off x="6681788" y="1865313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6667 h 50800"/>
                <a:gd name="connsiteX3" fmla="*/ 72707 w 82550"/>
                <a:gd name="connsiteY3" fmla="*/ 46038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5398"/>
                    <a:pt x="6668" y="6033"/>
                    <a:pt x="4763" y="6667"/>
                  </a:cubicBezTo>
                  <a:lnTo>
                    <a:pt x="72707" y="46038"/>
                  </a:lnTo>
                  <a:cubicBezTo>
                    <a:pt x="75247" y="45402"/>
                    <a:pt x="76518" y="44767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2" name="任意多边形: 形状 1631"/>
            <p:cNvSpPr/>
            <p:nvPr/>
          </p:nvSpPr>
          <p:spPr>
            <a:xfrm>
              <a:off x="6676707" y="1867217"/>
              <a:ext cx="82550" cy="50800"/>
            </a:xfrm>
            <a:custGeom>
              <a:avLst/>
              <a:gdLst>
                <a:gd name="connsiteX0" fmla="*/ 78423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6668 h 50800"/>
                <a:gd name="connsiteX3" fmla="*/ 72708 w 82550"/>
                <a:gd name="connsiteY3" fmla="*/ 46038 h 50800"/>
                <a:gd name="connsiteX4" fmla="*/ 78423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3" y="44133"/>
                  </a:moveTo>
                  <a:lnTo>
                    <a:pt x="10478" y="4763"/>
                  </a:lnTo>
                  <a:cubicBezTo>
                    <a:pt x="8573" y="5398"/>
                    <a:pt x="6668" y="6033"/>
                    <a:pt x="4763" y="6668"/>
                  </a:cubicBezTo>
                  <a:lnTo>
                    <a:pt x="72708" y="46038"/>
                  </a:lnTo>
                  <a:cubicBezTo>
                    <a:pt x="74613" y="45403"/>
                    <a:pt x="76518" y="44768"/>
                    <a:pt x="7842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3" name="任意多边形: 形状 1632"/>
            <p:cNvSpPr/>
            <p:nvPr/>
          </p:nvSpPr>
          <p:spPr>
            <a:xfrm>
              <a:off x="6670993" y="1869123"/>
              <a:ext cx="82550" cy="50800"/>
            </a:xfrm>
            <a:custGeom>
              <a:avLst/>
              <a:gdLst>
                <a:gd name="connsiteX0" fmla="*/ 78422 w 82550"/>
                <a:gd name="connsiteY0" fmla="*/ 44132 h 50800"/>
                <a:gd name="connsiteX1" fmla="*/ 10477 w 82550"/>
                <a:gd name="connsiteY1" fmla="*/ 4763 h 50800"/>
                <a:gd name="connsiteX2" fmla="*/ 4763 w 82550"/>
                <a:gd name="connsiteY2" fmla="*/ 7302 h 50800"/>
                <a:gd name="connsiteX3" fmla="*/ 72707 w 82550"/>
                <a:gd name="connsiteY3" fmla="*/ 46673 h 50800"/>
                <a:gd name="connsiteX4" fmla="*/ 78422 w 8255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2"/>
                  </a:moveTo>
                  <a:lnTo>
                    <a:pt x="10477" y="4763"/>
                  </a:lnTo>
                  <a:cubicBezTo>
                    <a:pt x="8572" y="5398"/>
                    <a:pt x="6667" y="6032"/>
                    <a:pt x="4763" y="7302"/>
                  </a:cubicBezTo>
                  <a:lnTo>
                    <a:pt x="72707" y="46673"/>
                  </a:lnTo>
                  <a:cubicBezTo>
                    <a:pt x="74613" y="46038"/>
                    <a:pt x="76517" y="44767"/>
                    <a:pt x="7842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4" name="任意多边形: 形状 1633"/>
            <p:cNvSpPr/>
            <p:nvPr/>
          </p:nvSpPr>
          <p:spPr>
            <a:xfrm>
              <a:off x="6665278" y="1871663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7302 h 50800"/>
                <a:gd name="connsiteX3" fmla="*/ 72707 w 82550"/>
                <a:gd name="connsiteY3" fmla="*/ 46673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5398"/>
                    <a:pt x="6667" y="6667"/>
                    <a:pt x="4763" y="7302"/>
                  </a:cubicBezTo>
                  <a:lnTo>
                    <a:pt x="72707" y="46673"/>
                  </a:lnTo>
                  <a:cubicBezTo>
                    <a:pt x="74613" y="46038"/>
                    <a:pt x="76517" y="44767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5" name="任意多边形: 形状 1634"/>
            <p:cNvSpPr/>
            <p:nvPr/>
          </p:nvSpPr>
          <p:spPr>
            <a:xfrm>
              <a:off x="6659563" y="1874202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7938 h 50800"/>
                <a:gd name="connsiteX3" fmla="*/ 72707 w 82550"/>
                <a:gd name="connsiteY3" fmla="*/ 47308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5398"/>
                    <a:pt x="6668" y="6668"/>
                    <a:pt x="4763" y="7938"/>
                  </a:cubicBezTo>
                  <a:lnTo>
                    <a:pt x="72707" y="47308"/>
                  </a:lnTo>
                  <a:cubicBezTo>
                    <a:pt x="74613" y="46038"/>
                    <a:pt x="76518" y="45402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6" name="任意多边形: 形状 1635"/>
            <p:cNvSpPr/>
            <p:nvPr/>
          </p:nvSpPr>
          <p:spPr>
            <a:xfrm>
              <a:off x="6655118" y="1877377"/>
              <a:ext cx="76200" cy="50800"/>
            </a:xfrm>
            <a:custGeom>
              <a:avLst/>
              <a:gdLst>
                <a:gd name="connsiteX0" fmla="*/ 77152 w 76200"/>
                <a:gd name="connsiteY0" fmla="*/ 44133 h 50800"/>
                <a:gd name="connsiteX1" fmla="*/ 9207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715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7152" y="44133"/>
                  </a:moveTo>
                  <a:lnTo>
                    <a:pt x="9207" y="4763"/>
                  </a:lnTo>
                  <a:cubicBezTo>
                    <a:pt x="7938" y="5398"/>
                    <a:pt x="6032" y="6668"/>
                    <a:pt x="4763" y="7302"/>
                  </a:cubicBezTo>
                  <a:lnTo>
                    <a:pt x="72707" y="46673"/>
                  </a:lnTo>
                  <a:cubicBezTo>
                    <a:pt x="73977" y="46038"/>
                    <a:pt x="75247" y="44768"/>
                    <a:pt x="7715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7" name="任意多边形: 形状 1636"/>
            <p:cNvSpPr/>
            <p:nvPr/>
          </p:nvSpPr>
          <p:spPr>
            <a:xfrm>
              <a:off x="6653847" y="1879917"/>
              <a:ext cx="76200" cy="44450"/>
            </a:xfrm>
            <a:custGeom>
              <a:avLst/>
              <a:gdLst>
                <a:gd name="connsiteX0" fmla="*/ 73978 w 76200"/>
                <a:gd name="connsiteY0" fmla="*/ 44133 h 44450"/>
                <a:gd name="connsiteX1" fmla="*/ 6033 w 76200"/>
                <a:gd name="connsiteY1" fmla="*/ 4763 h 44450"/>
                <a:gd name="connsiteX2" fmla="*/ 4763 w 76200"/>
                <a:gd name="connsiteY2" fmla="*/ 5398 h 44450"/>
                <a:gd name="connsiteX3" fmla="*/ 72708 w 76200"/>
                <a:gd name="connsiteY3" fmla="*/ 44768 h 44450"/>
                <a:gd name="connsiteX4" fmla="*/ 73978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3978" y="44133"/>
                  </a:moveTo>
                  <a:lnTo>
                    <a:pt x="6033" y="4763"/>
                  </a:lnTo>
                  <a:cubicBezTo>
                    <a:pt x="5397" y="4763"/>
                    <a:pt x="5397" y="5398"/>
                    <a:pt x="4763" y="5398"/>
                  </a:cubicBezTo>
                  <a:lnTo>
                    <a:pt x="72708" y="44768"/>
                  </a:lnTo>
                  <a:cubicBezTo>
                    <a:pt x="72708" y="44768"/>
                    <a:pt x="73343" y="44133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8" name="任意多边形: 形状 1637"/>
            <p:cNvSpPr/>
            <p:nvPr/>
          </p:nvSpPr>
          <p:spPr>
            <a:xfrm>
              <a:off x="6648132" y="1880552"/>
              <a:ext cx="82550" cy="50800"/>
            </a:xfrm>
            <a:custGeom>
              <a:avLst/>
              <a:gdLst>
                <a:gd name="connsiteX0" fmla="*/ 78423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8573 h 50800"/>
                <a:gd name="connsiteX3" fmla="*/ 72708 w 82550"/>
                <a:gd name="connsiteY3" fmla="*/ 47943 h 50800"/>
                <a:gd name="connsiteX4" fmla="*/ 78423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3" y="44133"/>
                  </a:moveTo>
                  <a:lnTo>
                    <a:pt x="10478" y="4763"/>
                  </a:lnTo>
                  <a:cubicBezTo>
                    <a:pt x="8573" y="6033"/>
                    <a:pt x="6668" y="7302"/>
                    <a:pt x="4763" y="8573"/>
                  </a:cubicBezTo>
                  <a:lnTo>
                    <a:pt x="72708" y="47943"/>
                  </a:lnTo>
                  <a:cubicBezTo>
                    <a:pt x="73978" y="46673"/>
                    <a:pt x="75883" y="45402"/>
                    <a:pt x="7842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9" name="任意多边形: 形状 1638"/>
            <p:cNvSpPr/>
            <p:nvPr/>
          </p:nvSpPr>
          <p:spPr>
            <a:xfrm>
              <a:off x="6641782" y="1884363"/>
              <a:ext cx="82550" cy="50800"/>
            </a:xfrm>
            <a:custGeom>
              <a:avLst/>
              <a:gdLst>
                <a:gd name="connsiteX0" fmla="*/ 78423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8573 h 50800"/>
                <a:gd name="connsiteX3" fmla="*/ 72708 w 82550"/>
                <a:gd name="connsiteY3" fmla="*/ 47942 h 50800"/>
                <a:gd name="connsiteX4" fmla="*/ 78423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3" y="44133"/>
                  </a:moveTo>
                  <a:lnTo>
                    <a:pt x="10478" y="4763"/>
                  </a:lnTo>
                  <a:cubicBezTo>
                    <a:pt x="8573" y="6033"/>
                    <a:pt x="6668" y="7302"/>
                    <a:pt x="4763" y="8573"/>
                  </a:cubicBezTo>
                  <a:lnTo>
                    <a:pt x="72708" y="47942"/>
                  </a:lnTo>
                  <a:cubicBezTo>
                    <a:pt x="74613" y="46673"/>
                    <a:pt x="76518" y="45402"/>
                    <a:pt x="7842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0" name="任意多边形: 形状 1639"/>
            <p:cNvSpPr/>
            <p:nvPr/>
          </p:nvSpPr>
          <p:spPr>
            <a:xfrm>
              <a:off x="6635432" y="1888173"/>
              <a:ext cx="82550" cy="50800"/>
            </a:xfrm>
            <a:custGeom>
              <a:avLst/>
              <a:gdLst>
                <a:gd name="connsiteX0" fmla="*/ 79058 w 82550"/>
                <a:gd name="connsiteY0" fmla="*/ 44132 h 50800"/>
                <a:gd name="connsiteX1" fmla="*/ 11113 w 82550"/>
                <a:gd name="connsiteY1" fmla="*/ 4763 h 50800"/>
                <a:gd name="connsiteX2" fmla="*/ 4763 w 82550"/>
                <a:gd name="connsiteY2" fmla="*/ 9207 h 50800"/>
                <a:gd name="connsiteX3" fmla="*/ 72708 w 82550"/>
                <a:gd name="connsiteY3" fmla="*/ 48577 h 50800"/>
                <a:gd name="connsiteX4" fmla="*/ 79058 w 8255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9058" y="44132"/>
                  </a:moveTo>
                  <a:lnTo>
                    <a:pt x="11113" y="4763"/>
                  </a:lnTo>
                  <a:cubicBezTo>
                    <a:pt x="9208" y="6032"/>
                    <a:pt x="7303" y="7302"/>
                    <a:pt x="4763" y="9207"/>
                  </a:cubicBezTo>
                  <a:lnTo>
                    <a:pt x="72708" y="48577"/>
                  </a:lnTo>
                  <a:cubicBezTo>
                    <a:pt x="74613" y="47307"/>
                    <a:pt x="77153" y="45402"/>
                    <a:pt x="7905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1" name="任意多边形: 形状 1640"/>
            <p:cNvSpPr/>
            <p:nvPr/>
          </p:nvSpPr>
          <p:spPr>
            <a:xfrm>
              <a:off x="6629082" y="1892617"/>
              <a:ext cx="82550" cy="50800"/>
            </a:xfrm>
            <a:custGeom>
              <a:avLst/>
              <a:gdLst>
                <a:gd name="connsiteX0" fmla="*/ 79058 w 82550"/>
                <a:gd name="connsiteY0" fmla="*/ 44133 h 50800"/>
                <a:gd name="connsiteX1" fmla="*/ 11113 w 82550"/>
                <a:gd name="connsiteY1" fmla="*/ 4763 h 50800"/>
                <a:gd name="connsiteX2" fmla="*/ 4763 w 82550"/>
                <a:gd name="connsiteY2" fmla="*/ 9208 h 50800"/>
                <a:gd name="connsiteX3" fmla="*/ 72708 w 82550"/>
                <a:gd name="connsiteY3" fmla="*/ 48578 h 50800"/>
                <a:gd name="connsiteX4" fmla="*/ 79058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9058" y="44133"/>
                  </a:moveTo>
                  <a:lnTo>
                    <a:pt x="11113" y="4763"/>
                  </a:lnTo>
                  <a:cubicBezTo>
                    <a:pt x="9208" y="6033"/>
                    <a:pt x="6668" y="7938"/>
                    <a:pt x="4763" y="9208"/>
                  </a:cubicBezTo>
                  <a:lnTo>
                    <a:pt x="72708" y="48578"/>
                  </a:lnTo>
                  <a:cubicBezTo>
                    <a:pt x="75248" y="47308"/>
                    <a:pt x="77153" y="45403"/>
                    <a:pt x="7905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2" name="任意多边形: 形状 1641"/>
            <p:cNvSpPr/>
            <p:nvPr/>
          </p:nvSpPr>
          <p:spPr>
            <a:xfrm>
              <a:off x="6622732" y="1897063"/>
              <a:ext cx="82550" cy="50800"/>
            </a:xfrm>
            <a:custGeom>
              <a:avLst/>
              <a:gdLst>
                <a:gd name="connsiteX0" fmla="*/ 79058 w 82550"/>
                <a:gd name="connsiteY0" fmla="*/ 44133 h 50800"/>
                <a:gd name="connsiteX1" fmla="*/ 11113 w 82550"/>
                <a:gd name="connsiteY1" fmla="*/ 4763 h 50800"/>
                <a:gd name="connsiteX2" fmla="*/ 4763 w 82550"/>
                <a:gd name="connsiteY2" fmla="*/ 9842 h 50800"/>
                <a:gd name="connsiteX3" fmla="*/ 72708 w 82550"/>
                <a:gd name="connsiteY3" fmla="*/ 49213 h 50800"/>
                <a:gd name="connsiteX4" fmla="*/ 79058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9058" y="44133"/>
                  </a:moveTo>
                  <a:lnTo>
                    <a:pt x="11113" y="4763"/>
                  </a:lnTo>
                  <a:cubicBezTo>
                    <a:pt x="9208" y="6667"/>
                    <a:pt x="6668" y="7938"/>
                    <a:pt x="4763" y="9842"/>
                  </a:cubicBezTo>
                  <a:lnTo>
                    <a:pt x="72708" y="49213"/>
                  </a:lnTo>
                  <a:cubicBezTo>
                    <a:pt x="75248" y="47942"/>
                    <a:pt x="77153" y="46038"/>
                    <a:pt x="7905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3" name="任意多边形: 形状 1642"/>
            <p:cNvSpPr/>
            <p:nvPr/>
          </p:nvSpPr>
          <p:spPr>
            <a:xfrm>
              <a:off x="6617018" y="1902142"/>
              <a:ext cx="82550" cy="50800"/>
            </a:xfrm>
            <a:custGeom>
              <a:avLst/>
              <a:gdLst>
                <a:gd name="connsiteX0" fmla="*/ 79057 w 82550"/>
                <a:gd name="connsiteY0" fmla="*/ 44133 h 50800"/>
                <a:gd name="connsiteX1" fmla="*/ 11113 w 82550"/>
                <a:gd name="connsiteY1" fmla="*/ 4763 h 50800"/>
                <a:gd name="connsiteX2" fmla="*/ 4763 w 82550"/>
                <a:gd name="connsiteY2" fmla="*/ 10478 h 50800"/>
                <a:gd name="connsiteX3" fmla="*/ 72707 w 82550"/>
                <a:gd name="connsiteY3" fmla="*/ 49848 h 50800"/>
                <a:gd name="connsiteX4" fmla="*/ 79057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9057" y="44133"/>
                  </a:moveTo>
                  <a:lnTo>
                    <a:pt x="11113" y="4763"/>
                  </a:lnTo>
                  <a:cubicBezTo>
                    <a:pt x="9207" y="6668"/>
                    <a:pt x="6667" y="8573"/>
                    <a:pt x="4763" y="10478"/>
                  </a:cubicBezTo>
                  <a:lnTo>
                    <a:pt x="72707" y="49848"/>
                  </a:lnTo>
                  <a:cubicBezTo>
                    <a:pt x="74613" y="47943"/>
                    <a:pt x="76517" y="46038"/>
                    <a:pt x="7905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4" name="任意多边形: 形状 1643"/>
            <p:cNvSpPr/>
            <p:nvPr/>
          </p:nvSpPr>
          <p:spPr>
            <a:xfrm>
              <a:off x="6610668" y="1907858"/>
              <a:ext cx="82550" cy="50800"/>
            </a:xfrm>
            <a:custGeom>
              <a:avLst/>
              <a:gdLst>
                <a:gd name="connsiteX0" fmla="*/ 79057 w 82550"/>
                <a:gd name="connsiteY0" fmla="*/ 44132 h 50800"/>
                <a:gd name="connsiteX1" fmla="*/ 11113 w 82550"/>
                <a:gd name="connsiteY1" fmla="*/ 4763 h 50800"/>
                <a:gd name="connsiteX2" fmla="*/ 4763 w 82550"/>
                <a:gd name="connsiteY2" fmla="*/ 10477 h 50800"/>
                <a:gd name="connsiteX3" fmla="*/ 72707 w 82550"/>
                <a:gd name="connsiteY3" fmla="*/ 49847 h 50800"/>
                <a:gd name="connsiteX4" fmla="*/ 79057 w 8255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9057" y="44132"/>
                  </a:moveTo>
                  <a:lnTo>
                    <a:pt x="11113" y="4763"/>
                  </a:lnTo>
                  <a:cubicBezTo>
                    <a:pt x="9207" y="6667"/>
                    <a:pt x="7302" y="8572"/>
                    <a:pt x="4763" y="10477"/>
                  </a:cubicBezTo>
                  <a:lnTo>
                    <a:pt x="72707" y="49847"/>
                  </a:lnTo>
                  <a:cubicBezTo>
                    <a:pt x="74613" y="47942"/>
                    <a:pt x="77152" y="46038"/>
                    <a:pt x="7905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5" name="任意多边形: 形状 1644"/>
            <p:cNvSpPr/>
            <p:nvPr/>
          </p:nvSpPr>
          <p:spPr>
            <a:xfrm>
              <a:off x="6604953" y="1913573"/>
              <a:ext cx="82550" cy="50800"/>
            </a:xfrm>
            <a:custGeom>
              <a:avLst/>
              <a:gdLst>
                <a:gd name="connsiteX0" fmla="*/ 78422 w 82550"/>
                <a:gd name="connsiteY0" fmla="*/ 44132 h 50800"/>
                <a:gd name="connsiteX1" fmla="*/ 10478 w 82550"/>
                <a:gd name="connsiteY1" fmla="*/ 4763 h 50800"/>
                <a:gd name="connsiteX2" fmla="*/ 4763 w 82550"/>
                <a:gd name="connsiteY2" fmla="*/ 10477 h 50800"/>
                <a:gd name="connsiteX3" fmla="*/ 72707 w 82550"/>
                <a:gd name="connsiteY3" fmla="*/ 49848 h 50800"/>
                <a:gd name="connsiteX4" fmla="*/ 78422 w 8255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2"/>
                  </a:moveTo>
                  <a:lnTo>
                    <a:pt x="10478" y="4763"/>
                  </a:lnTo>
                  <a:cubicBezTo>
                    <a:pt x="8572" y="6667"/>
                    <a:pt x="6667" y="8573"/>
                    <a:pt x="4763" y="10477"/>
                  </a:cubicBezTo>
                  <a:lnTo>
                    <a:pt x="72707" y="49848"/>
                  </a:lnTo>
                  <a:cubicBezTo>
                    <a:pt x="74613" y="47942"/>
                    <a:pt x="76517" y="46038"/>
                    <a:pt x="7842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6" name="任意多边形: 形状 1645"/>
            <p:cNvSpPr/>
            <p:nvPr/>
          </p:nvSpPr>
          <p:spPr>
            <a:xfrm>
              <a:off x="6599238" y="1919288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10477 h 50800"/>
                <a:gd name="connsiteX3" fmla="*/ 72707 w 82550"/>
                <a:gd name="connsiteY3" fmla="*/ 49848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6667"/>
                    <a:pt x="6668" y="8573"/>
                    <a:pt x="4763" y="10477"/>
                  </a:cubicBezTo>
                  <a:lnTo>
                    <a:pt x="72707" y="49848"/>
                  </a:lnTo>
                  <a:cubicBezTo>
                    <a:pt x="74613" y="47942"/>
                    <a:pt x="76518" y="46038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7" name="任意多边形: 形状 1646"/>
            <p:cNvSpPr/>
            <p:nvPr/>
          </p:nvSpPr>
          <p:spPr>
            <a:xfrm>
              <a:off x="6593522" y="1925002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10477 h 50800"/>
                <a:gd name="connsiteX3" fmla="*/ 72708 w 82550"/>
                <a:gd name="connsiteY3" fmla="*/ 49848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6668"/>
                    <a:pt x="6668" y="8573"/>
                    <a:pt x="4763" y="10477"/>
                  </a:cubicBezTo>
                  <a:lnTo>
                    <a:pt x="72708" y="49848"/>
                  </a:lnTo>
                  <a:cubicBezTo>
                    <a:pt x="74613" y="48577"/>
                    <a:pt x="76518" y="46673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8" name="任意多边形: 形状 1647"/>
            <p:cNvSpPr/>
            <p:nvPr/>
          </p:nvSpPr>
          <p:spPr>
            <a:xfrm>
              <a:off x="6588443" y="1931352"/>
              <a:ext cx="82550" cy="50800"/>
            </a:xfrm>
            <a:custGeom>
              <a:avLst/>
              <a:gdLst>
                <a:gd name="connsiteX0" fmla="*/ 77788 w 82550"/>
                <a:gd name="connsiteY0" fmla="*/ 44133 h 50800"/>
                <a:gd name="connsiteX1" fmla="*/ 9842 w 82550"/>
                <a:gd name="connsiteY1" fmla="*/ 4763 h 50800"/>
                <a:gd name="connsiteX2" fmla="*/ 4763 w 82550"/>
                <a:gd name="connsiteY2" fmla="*/ 11113 h 50800"/>
                <a:gd name="connsiteX3" fmla="*/ 72707 w 82550"/>
                <a:gd name="connsiteY3" fmla="*/ 50483 h 50800"/>
                <a:gd name="connsiteX4" fmla="*/ 77788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7788" y="44133"/>
                  </a:moveTo>
                  <a:lnTo>
                    <a:pt x="9842" y="4763"/>
                  </a:lnTo>
                  <a:cubicBezTo>
                    <a:pt x="7938" y="6668"/>
                    <a:pt x="6032" y="8573"/>
                    <a:pt x="4763" y="11113"/>
                  </a:cubicBezTo>
                  <a:lnTo>
                    <a:pt x="72707" y="50483"/>
                  </a:lnTo>
                  <a:cubicBezTo>
                    <a:pt x="74613" y="47943"/>
                    <a:pt x="76517" y="46038"/>
                    <a:pt x="7778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9" name="任意多边形: 形状 1648"/>
            <p:cNvSpPr/>
            <p:nvPr/>
          </p:nvSpPr>
          <p:spPr>
            <a:xfrm>
              <a:off x="6583363" y="1937702"/>
              <a:ext cx="82550" cy="50800"/>
            </a:xfrm>
            <a:custGeom>
              <a:avLst/>
              <a:gdLst>
                <a:gd name="connsiteX0" fmla="*/ 77788 w 82550"/>
                <a:gd name="connsiteY0" fmla="*/ 44133 h 50800"/>
                <a:gd name="connsiteX1" fmla="*/ 9843 w 82550"/>
                <a:gd name="connsiteY1" fmla="*/ 4763 h 50800"/>
                <a:gd name="connsiteX2" fmla="*/ 4763 w 82550"/>
                <a:gd name="connsiteY2" fmla="*/ 11113 h 50800"/>
                <a:gd name="connsiteX3" fmla="*/ 72707 w 82550"/>
                <a:gd name="connsiteY3" fmla="*/ 50483 h 50800"/>
                <a:gd name="connsiteX4" fmla="*/ 77788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7788" y="44133"/>
                  </a:moveTo>
                  <a:lnTo>
                    <a:pt x="9843" y="4763"/>
                  </a:lnTo>
                  <a:cubicBezTo>
                    <a:pt x="7938" y="6668"/>
                    <a:pt x="6032" y="9208"/>
                    <a:pt x="4763" y="11113"/>
                  </a:cubicBezTo>
                  <a:lnTo>
                    <a:pt x="72707" y="50483"/>
                  </a:lnTo>
                  <a:cubicBezTo>
                    <a:pt x="74613" y="47943"/>
                    <a:pt x="75882" y="46038"/>
                    <a:pt x="7778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0" name="任意多边形: 形状 1649"/>
            <p:cNvSpPr/>
            <p:nvPr/>
          </p:nvSpPr>
          <p:spPr>
            <a:xfrm>
              <a:off x="6577647" y="1944052"/>
              <a:ext cx="82550" cy="50800"/>
            </a:xfrm>
            <a:custGeom>
              <a:avLst/>
              <a:gdLst>
                <a:gd name="connsiteX0" fmla="*/ 78422 w 82550"/>
                <a:gd name="connsiteY0" fmla="*/ 44133 h 50800"/>
                <a:gd name="connsiteX1" fmla="*/ 10478 w 82550"/>
                <a:gd name="connsiteY1" fmla="*/ 4763 h 50800"/>
                <a:gd name="connsiteX2" fmla="*/ 4763 w 82550"/>
                <a:gd name="connsiteY2" fmla="*/ 12383 h 50800"/>
                <a:gd name="connsiteX3" fmla="*/ 72708 w 82550"/>
                <a:gd name="connsiteY3" fmla="*/ 51752 h 50800"/>
                <a:gd name="connsiteX4" fmla="*/ 78422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8422" y="44133"/>
                  </a:moveTo>
                  <a:lnTo>
                    <a:pt x="10478" y="4763"/>
                  </a:lnTo>
                  <a:cubicBezTo>
                    <a:pt x="8572" y="7302"/>
                    <a:pt x="6668" y="9843"/>
                    <a:pt x="4763" y="12383"/>
                  </a:cubicBezTo>
                  <a:lnTo>
                    <a:pt x="72708" y="51752"/>
                  </a:lnTo>
                  <a:cubicBezTo>
                    <a:pt x="74613" y="49213"/>
                    <a:pt x="76518" y="46673"/>
                    <a:pt x="7842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1" name="任意多边形: 形状 1650"/>
            <p:cNvSpPr/>
            <p:nvPr/>
          </p:nvSpPr>
          <p:spPr>
            <a:xfrm>
              <a:off x="6569393" y="1951673"/>
              <a:ext cx="82550" cy="57150"/>
            </a:xfrm>
            <a:custGeom>
              <a:avLst/>
              <a:gdLst>
                <a:gd name="connsiteX0" fmla="*/ 80963 w 82550"/>
                <a:gd name="connsiteY0" fmla="*/ 44132 h 57150"/>
                <a:gd name="connsiteX1" fmla="*/ 13017 w 82550"/>
                <a:gd name="connsiteY1" fmla="*/ 4763 h 57150"/>
                <a:gd name="connsiteX2" fmla="*/ 4763 w 82550"/>
                <a:gd name="connsiteY2" fmla="*/ 16192 h 57150"/>
                <a:gd name="connsiteX3" fmla="*/ 72707 w 82550"/>
                <a:gd name="connsiteY3" fmla="*/ 55563 h 57150"/>
                <a:gd name="connsiteX4" fmla="*/ 80963 w 82550"/>
                <a:gd name="connsiteY4" fmla="*/ 4413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7150">
                  <a:moveTo>
                    <a:pt x="80963" y="44132"/>
                  </a:moveTo>
                  <a:lnTo>
                    <a:pt x="13017" y="4763"/>
                  </a:lnTo>
                  <a:cubicBezTo>
                    <a:pt x="10477" y="8573"/>
                    <a:pt x="7302" y="12382"/>
                    <a:pt x="4763" y="16192"/>
                  </a:cubicBezTo>
                  <a:lnTo>
                    <a:pt x="72707" y="55563"/>
                  </a:lnTo>
                  <a:cubicBezTo>
                    <a:pt x="75247" y="51752"/>
                    <a:pt x="77788" y="47942"/>
                    <a:pt x="8096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2" name="任意多边形: 形状 1651"/>
            <p:cNvSpPr/>
            <p:nvPr/>
          </p:nvSpPr>
          <p:spPr>
            <a:xfrm>
              <a:off x="6558597" y="1963738"/>
              <a:ext cx="82550" cy="63500"/>
            </a:xfrm>
            <a:custGeom>
              <a:avLst/>
              <a:gdLst>
                <a:gd name="connsiteX0" fmla="*/ 83503 w 82550"/>
                <a:gd name="connsiteY0" fmla="*/ 44133 h 63500"/>
                <a:gd name="connsiteX1" fmla="*/ 15558 w 82550"/>
                <a:gd name="connsiteY1" fmla="*/ 4763 h 63500"/>
                <a:gd name="connsiteX2" fmla="*/ 4763 w 82550"/>
                <a:gd name="connsiteY2" fmla="*/ 21908 h 63500"/>
                <a:gd name="connsiteX3" fmla="*/ 72708 w 82550"/>
                <a:gd name="connsiteY3" fmla="*/ 61277 h 63500"/>
                <a:gd name="connsiteX4" fmla="*/ 83503 w 82550"/>
                <a:gd name="connsiteY4" fmla="*/ 44133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63500">
                  <a:moveTo>
                    <a:pt x="83503" y="44133"/>
                  </a:moveTo>
                  <a:lnTo>
                    <a:pt x="15558" y="4763"/>
                  </a:lnTo>
                  <a:cubicBezTo>
                    <a:pt x="11747" y="10477"/>
                    <a:pt x="7938" y="16192"/>
                    <a:pt x="4763" y="21908"/>
                  </a:cubicBezTo>
                  <a:lnTo>
                    <a:pt x="72708" y="61277"/>
                  </a:lnTo>
                  <a:cubicBezTo>
                    <a:pt x="75883" y="54927"/>
                    <a:pt x="79693" y="49213"/>
                    <a:pt x="8350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3" name="任意多边形: 形状 1652"/>
            <p:cNvSpPr/>
            <p:nvPr/>
          </p:nvSpPr>
          <p:spPr>
            <a:xfrm>
              <a:off x="6552247" y="1980883"/>
              <a:ext cx="82550" cy="57150"/>
            </a:xfrm>
            <a:custGeom>
              <a:avLst/>
              <a:gdLst>
                <a:gd name="connsiteX0" fmla="*/ 79058 w 82550"/>
                <a:gd name="connsiteY0" fmla="*/ 44132 h 57150"/>
                <a:gd name="connsiteX1" fmla="*/ 11113 w 82550"/>
                <a:gd name="connsiteY1" fmla="*/ 4763 h 57150"/>
                <a:gd name="connsiteX2" fmla="*/ 4763 w 82550"/>
                <a:gd name="connsiteY2" fmla="*/ 16192 h 57150"/>
                <a:gd name="connsiteX3" fmla="*/ 72708 w 82550"/>
                <a:gd name="connsiteY3" fmla="*/ 55563 h 57150"/>
                <a:gd name="connsiteX4" fmla="*/ 79058 w 82550"/>
                <a:gd name="connsiteY4" fmla="*/ 4413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7150">
                  <a:moveTo>
                    <a:pt x="79058" y="44132"/>
                  </a:moveTo>
                  <a:lnTo>
                    <a:pt x="11113" y="4763"/>
                  </a:lnTo>
                  <a:cubicBezTo>
                    <a:pt x="9208" y="8572"/>
                    <a:pt x="6668" y="12382"/>
                    <a:pt x="4763" y="16192"/>
                  </a:cubicBezTo>
                  <a:lnTo>
                    <a:pt x="72708" y="55563"/>
                  </a:lnTo>
                  <a:cubicBezTo>
                    <a:pt x="74613" y="51752"/>
                    <a:pt x="76518" y="47942"/>
                    <a:pt x="7905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4" name="任意多边形: 形状 1653"/>
            <p:cNvSpPr/>
            <p:nvPr/>
          </p:nvSpPr>
          <p:spPr>
            <a:xfrm>
              <a:off x="6547168" y="1992313"/>
              <a:ext cx="76200" cy="57150"/>
            </a:xfrm>
            <a:custGeom>
              <a:avLst/>
              <a:gdLst>
                <a:gd name="connsiteX0" fmla="*/ 77152 w 76200"/>
                <a:gd name="connsiteY0" fmla="*/ 44133 h 57150"/>
                <a:gd name="connsiteX1" fmla="*/ 9207 w 76200"/>
                <a:gd name="connsiteY1" fmla="*/ 4763 h 57150"/>
                <a:gd name="connsiteX2" fmla="*/ 4763 w 76200"/>
                <a:gd name="connsiteY2" fmla="*/ 13017 h 57150"/>
                <a:gd name="connsiteX3" fmla="*/ 72707 w 76200"/>
                <a:gd name="connsiteY3" fmla="*/ 52388 h 57150"/>
                <a:gd name="connsiteX4" fmla="*/ 77152 w 76200"/>
                <a:gd name="connsiteY4" fmla="*/ 4413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7150">
                  <a:moveTo>
                    <a:pt x="77152" y="44133"/>
                  </a:moveTo>
                  <a:lnTo>
                    <a:pt x="9207" y="4763"/>
                  </a:lnTo>
                  <a:cubicBezTo>
                    <a:pt x="7938" y="7302"/>
                    <a:pt x="6667" y="9842"/>
                    <a:pt x="4763" y="13017"/>
                  </a:cubicBezTo>
                  <a:lnTo>
                    <a:pt x="72707" y="52388"/>
                  </a:lnTo>
                  <a:cubicBezTo>
                    <a:pt x="74613" y="49213"/>
                    <a:pt x="75882" y="46673"/>
                    <a:pt x="7715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5" name="任意多边形: 形状 1654"/>
            <p:cNvSpPr/>
            <p:nvPr/>
          </p:nvSpPr>
          <p:spPr>
            <a:xfrm>
              <a:off x="6544628" y="1999933"/>
              <a:ext cx="76200" cy="50800"/>
            </a:xfrm>
            <a:custGeom>
              <a:avLst/>
              <a:gdLst>
                <a:gd name="connsiteX0" fmla="*/ 75882 w 76200"/>
                <a:gd name="connsiteY0" fmla="*/ 44132 h 50800"/>
                <a:gd name="connsiteX1" fmla="*/ 7938 w 76200"/>
                <a:gd name="connsiteY1" fmla="*/ 4763 h 50800"/>
                <a:gd name="connsiteX2" fmla="*/ 4763 w 76200"/>
                <a:gd name="connsiteY2" fmla="*/ 11747 h 50800"/>
                <a:gd name="connsiteX3" fmla="*/ 72707 w 76200"/>
                <a:gd name="connsiteY3" fmla="*/ 51117 h 50800"/>
                <a:gd name="connsiteX4" fmla="*/ 75882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2" y="44132"/>
                  </a:moveTo>
                  <a:lnTo>
                    <a:pt x="7938" y="4763"/>
                  </a:lnTo>
                  <a:cubicBezTo>
                    <a:pt x="6667" y="6667"/>
                    <a:pt x="6032" y="9207"/>
                    <a:pt x="4763" y="11747"/>
                  </a:cubicBezTo>
                  <a:lnTo>
                    <a:pt x="72707" y="51117"/>
                  </a:lnTo>
                  <a:cubicBezTo>
                    <a:pt x="73342" y="48577"/>
                    <a:pt x="74613" y="46672"/>
                    <a:pt x="7588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6" name="任意多边形: 形状 1655"/>
            <p:cNvSpPr/>
            <p:nvPr/>
          </p:nvSpPr>
          <p:spPr>
            <a:xfrm>
              <a:off x="6541453" y="2006917"/>
              <a:ext cx="76200" cy="50800"/>
            </a:xfrm>
            <a:custGeom>
              <a:avLst/>
              <a:gdLst>
                <a:gd name="connsiteX0" fmla="*/ 75882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11113 h 50800"/>
                <a:gd name="connsiteX3" fmla="*/ 72707 w 76200"/>
                <a:gd name="connsiteY3" fmla="*/ 50483 h 50800"/>
                <a:gd name="connsiteX4" fmla="*/ 7588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2" y="44133"/>
                  </a:moveTo>
                  <a:lnTo>
                    <a:pt x="7938" y="4763"/>
                  </a:lnTo>
                  <a:cubicBezTo>
                    <a:pt x="6667" y="6668"/>
                    <a:pt x="6032" y="9208"/>
                    <a:pt x="4763" y="11113"/>
                  </a:cubicBezTo>
                  <a:lnTo>
                    <a:pt x="72707" y="50483"/>
                  </a:lnTo>
                  <a:cubicBezTo>
                    <a:pt x="73978" y="48578"/>
                    <a:pt x="74613" y="46038"/>
                    <a:pt x="7588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7" name="任意多边形: 形状 1656"/>
            <p:cNvSpPr/>
            <p:nvPr/>
          </p:nvSpPr>
          <p:spPr>
            <a:xfrm>
              <a:off x="6538913" y="2013267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11113 h 50800"/>
                <a:gd name="connsiteX3" fmla="*/ 72707 w 76200"/>
                <a:gd name="connsiteY3" fmla="*/ 50483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6668"/>
                    <a:pt x="5397" y="9208"/>
                    <a:pt x="4763" y="11113"/>
                  </a:cubicBezTo>
                  <a:lnTo>
                    <a:pt x="72707" y="50483"/>
                  </a:lnTo>
                  <a:cubicBezTo>
                    <a:pt x="73343" y="48578"/>
                    <a:pt x="74613" y="4603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8" name="任意多边形: 形状 1657"/>
            <p:cNvSpPr/>
            <p:nvPr/>
          </p:nvSpPr>
          <p:spPr>
            <a:xfrm>
              <a:off x="6536372" y="2019617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11113 h 50800"/>
                <a:gd name="connsiteX3" fmla="*/ 72708 w 76200"/>
                <a:gd name="connsiteY3" fmla="*/ 50483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3" y="4763"/>
                  </a:lnTo>
                  <a:cubicBezTo>
                    <a:pt x="6668" y="6668"/>
                    <a:pt x="5397" y="9208"/>
                    <a:pt x="4763" y="11113"/>
                  </a:cubicBezTo>
                  <a:lnTo>
                    <a:pt x="72708" y="50483"/>
                  </a:lnTo>
                  <a:cubicBezTo>
                    <a:pt x="73343" y="47943"/>
                    <a:pt x="74613" y="4603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9" name="任意多边形: 形状 1658"/>
            <p:cNvSpPr/>
            <p:nvPr/>
          </p:nvSpPr>
          <p:spPr>
            <a:xfrm>
              <a:off x="6533832" y="2025967"/>
              <a:ext cx="76200" cy="50800"/>
            </a:xfrm>
            <a:custGeom>
              <a:avLst/>
              <a:gdLst>
                <a:gd name="connsiteX0" fmla="*/ 75248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11113 h 50800"/>
                <a:gd name="connsiteX3" fmla="*/ 72708 w 76200"/>
                <a:gd name="connsiteY3" fmla="*/ 50483 h 50800"/>
                <a:gd name="connsiteX4" fmla="*/ 7524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8" y="44133"/>
                  </a:moveTo>
                  <a:lnTo>
                    <a:pt x="7303" y="4763"/>
                  </a:lnTo>
                  <a:cubicBezTo>
                    <a:pt x="6668" y="6668"/>
                    <a:pt x="5398" y="9208"/>
                    <a:pt x="4763" y="11113"/>
                  </a:cubicBezTo>
                  <a:lnTo>
                    <a:pt x="72708" y="50483"/>
                  </a:lnTo>
                  <a:cubicBezTo>
                    <a:pt x="73343" y="47943"/>
                    <a:pt x="74613" y="46038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0" name="任意多边形: 形状 1659"/>
            <p:cNvSpPr/>
            <p:nvPr/>
          </p:nvSpPr>
          <p:spPr>
            <a:xfrm>
              <a:off x="6531293" y="2032317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2 w 76200"/>
                <a:gd name="connsiteY1" fmla="*/ 4763 h 50800"/>
                <a:gd name="connsiteX2" fmla="*/ 4763 w 76200"/>
                <a:gd name="connsiteY2" fmla="*/ 11113 h 50800"/>
                <a:gd name="connsiteX3" fmla="*/ 72707 w 76200"/>
                <a:gd name="connsiteY3" fmla="*/ 50483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6668"/>
                    <a:pt x="6032" y="9208"/>
                    <a:pt x="4763" y="11113"/>
                  </a:cubicBezTo>
                  <a:lnTo>
                    <a:pt x="72707" y="50483"/>
                  </a:lnTo>
                  <a:cubicBezTo>
                    <a:pt x="73977" y="48578"/>
                    <a:pt x="74613" y="46038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1" name="任意多边形: 形状 1660"/>
            <p:cNvSpPr/>
            <p:nvPr/>
          </p:nvSpPr>
          <p:spPr>
            <a:xfrm>
              <a:off x="6530022" y="2038667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8 w 76200"/>
                <a:gd name="connsiteY1" fmla="*/ 4763 h 50800"/>
                <a:gd name="connsiteX2" fmla="*/ 4763 w 76200"/>
                <a:gd name="connsiteY2" fmla="*/ 11748 h 50800"/>
                <a:gd name="connsiteX3" fmla="*/ 72708 w 76200"/>
                <a:gd name="connsiteY3" fmla="*/ 51118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8" y="4763"/>
                  </a:lnTo>
                  <a:cubicBezTo>
                    <a:pt x="6033" y="7303"/>
                    <a:pt x="5397" y="9208"/>
                    <a:pt x="4763" y="11748"/>
                  </a:cubicBezTo>
                  <a:lnTo>
                    <a:pt x="72708" y="51118"/>
                  </a:lnTo>
                  <a:cubicBezTo>
                    <a:pt x="72708" y="48578"/>
                    <a:pt x="73343" y="46673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2" name="任意多边形: 形状 1661"/>
            <p:cNvSpPr/>
            <p:nvPr/>
          </p:nvSpPr>
          <p:spPr>
            <a:xfrm>
              <a:off x="6527482" y="2045652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8 w 76200"/>
                <a:gd name="connsiteY1" fmla="*/ 4763 h 50800"/>
                <a:gd name="connsiteX2" fmla="*/ 4763 w 76200"/>
                <a:gd name="connsiteY2" fmla="*/ 11748 h 50800"/>
                <a:gd name="connsiteX3" fmla="*/ 72708 w 76200"/>
                <a:gd name="connsiteY3" fmla="*/ 51118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8" y="4763"/>
                  </a:lnTo>
                  <a:cubicBezTo>
                    <a:pt x="6033" y="7302"/>
                    <a:pt x="5398" y="9208"/>
                    <a:pt x="4763" y="11748"/>
                  </a:cubicBezTo>
                  <a:lnTo>
                    <a:pt x="72708" y="51118"/>
                  </a:lnTo>
                  <a:cubicBezTo>
                    <a:pt x="73343" y="48577"/>
                    <a:pt x="73978" y="46038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3" name="任意多边形: 形状 1662"/>
            <p:cNvSpPr/>
            <p:nvPr/>
          </p:nvSpPr>
          <p:spPr>
            <a:xfrm>
              <a:off x="6525578" y="2052638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7 w 76200"/>
                <a:gd name="connsiteY1" fmla="*/ 4763 h 50800"/>
                <a:gd name="connsiteX2" fmla="*/ 4763 w 76200"/>
                <a:gd name="connsiteY2" fmla="*/ 11748 h 50800"/>
                <a:gd name="connsiteX3" fmla="*/ 72707 w 76200"/>
                <a:gd name="connsiteY3" fmla="*/ 51117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7" y="4763"/>
                  </a:lnTo>
                  <a:cubicBezTo>
                    <a:pt x="6032" y="7302"/>
                    <a:pt x="5397" y="9208"/>
                    <a:pt x="4763" y="11748"/>
                  </a:cubicBezTo>
                  <a:lnTo>
                    <a:pt x="72707" y="51117"/>
                  </a:lnTo>
                  <a:cubicBezTo>
                    <a:pt x="73342" y="48577"/>
                    <a:pt x="73978" y="46038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4" name="任意多边形: 形状 1663"/>
            <p:cNvSpPr/>
            <p:nvPr/>
          </p:nvSpPr>
          <p:spPr>
            <a:xfrm>
              <a:off x="6524307" y="2058988"/>
              <a:ext cx="76200" cy="50800"/>
            </a:xfrm>
            <a:custGeom>
              <a:avLst/>
              <a:gdLst>
                <a:gd name="connsiteX0" fmla="*/ 73978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397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3"/>
                  </a:moveTo>
                  <a:lnTo>
                    <a:pt x="6033" y="4763"/>
                  </a:lnTo>
                  <a:cubicBezTo>
                    <a:pt x="5398" y="6033"/>
                    <a:pt x="5398" y="7938"/>
                    <a:pt x="4763" y="9208"/>
                  </a:cubicBezTo>
                  <a:lnTo>
                    <a:pt x="72708" y="48577"/>
                  </a:lnTo>
                  <a:cubicBezTo>
                    <a:pt x="73343" y="47308"/>
                    <a:pt x="73978" y="46038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5" name="任意多边形: 形状 1664"/>
            <p:cNvSpPr/>
            <p:nvPr/>
          </p:nvSpPr>
          <p:spPr>
            <a:xfrm>
              <a:off x="6397308" y="2219008"/>
              <a:ext cx="76200" cy="50800"/>
            </a:xfrm>
            <a:custGeom>
              <a:avLst/>
              <a:gdLst>
                <a:gd name="connsiteX0" fmla="*/ 75247 w 76200"/>
                <a:gd name="connsiteY0" fmla="*/ 44132 h 50800"/>
                <a:gd name="connsiteX1" fmla="*/ 7302 w 76200"/>
                <a:gd name="connsiteY1" fmla="*/ 4763 h 50800"/>
                <a:gd name="connsiteX2" fmla="*/ 4763 w 76200"/>
                <a:gd name="connsiteY2" fmla="*/ 6667 h 50800"/>
                <a:gd name="connsiteX3" fmla="*/ 72708 w 76200"/>
                <a:gd name="connsiteY3" fmla="*/ 46038 h 50800"/>
                <a:gd name="connsiteX4" fmla="*/ 7524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2"/>
                  </a:moveTo>
                  <a:lnTo>
                    <a:pt x="7302" y="4763"/>
                  </a:lnTo>
                  <a:cubicBezTo>
                    <a:pt x="6667" y="5397"/>
                    <a:pt x="6033" y="6032"/>
                    <a:pt x="4763" y="6667"/>
                  </a:cubicBezTo>
                  <a:lnTo>
                    <a:pt x="72708" y="46038"/>
                  </a:lnTo>
                  <a:cubicBezTo>
                    <a:pt x="73977" y="45402"/>
                    <a:pt x="74613" y="44767"/>
                    <a:pt x="7524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6" name="任意多边形: 形状 1665"/>
            <p:cNvSpPr/>
            <p:nvPr/>
          </p:nvSpPr>
          <p:spPr>
            <a:xfrm>
              <a:off x="6393497" y="2220913"/>
              <a:ext cx="76200" cy="50800"/>
            </a:xfrm>
            <a:custGeom>
              <a:avLst/>
              <a:gdLst>
                <a:gd name="connsiteX0" fmla="*/ 77153 w 76200"/>
                <a:gd name="connsiteY0" fmla="*/ 44133 h 50800"/>
                <a:gd name="connsiteX1" fmla="*/ 9208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715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7153" y="44133"/>
                  </a:moveTo>
                  <a:lnTo>
                    <a:pt x="9208" y="4763"/>
                  </a:lnTo>
                  <a:cubicBezTo>
                    <a:pt x="7938" y="6033"/>
                    <a:pt x="6668" y="7302"/>
                    <a:pt x="4763" y="8573"/>
                  </a:cubicBezTo>
                  <a:lnTo>
                    <a:pt x="72708" y="47942"/>
                  </a:lnTo>
                  <a:cubicBezTo>
                    <a:pt x="73978" y="46038"/>
                    <a:pt x="75248" y="45402"/>
                    <a:pt x="7715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7" name="任意多边形: 形状 1666"/>
            <p:cNvSpPr/>
            <p:nvPr/>
          </p:nvSpPr>
          <p:spPr>
            <a:xfrm>
              <a:off x="6389688" y="2224088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2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2" y="4763"/>
                  </a:lnTo>
                  <a:cubicBezTo>
                    <a:pt x="7303" y="6033"/>
                    <a:pt x="6033" y="7302"/>
                    <a:pt x="4763" y="8573"/>
                  </a:cubicBezTo>
                  <a:lnTo>
                    <a:pt x="72708" y="47942"/>
                  </a:lnTo>
                  <a:cubicBezTo>
                    <a:pt x="73978" y="46673"/>
                    <a:pt x="75247" y="45402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8" name="任意多边形: 形状 1667"/>
            <p:cNvSpPr/>
            <p:nvPr/>
          </p:nvSpPr>
          <p:spPr>
            <a:xfrm>
              <a:off x="6385878" y="2227898"/>
              <a:ext cx="76200" cy="50800"/>
            </a:xfrm>
            <a:custGeom>
              <a:avLst/>
              <a:gdLst>
                <a:gd name="connsiteX0" fmla="*/ 76517 w 76200"/>
                <a:gd name="connsiteY0" fmla="*/ 44132 h 50800"/>
                <a:gd name="connsiteX1" fmla="*/ 8572 w 76200"/>
                <a:gd name="connsiteY1" fmla="*/ 4763 h 50800"/>
                <a:gd name="connsiteX2" fmla="*/ 4763 w 76200"/>
                <a:gd name="connsiteY2" fmla="*/ 8573 h 50800"/>
                <a:gd name="connsiteX3" fmla="*/ 72707 w 76200"/>
                <a:gd name="connsiteY3" fmla="*/ 47942 h 50800"/>
                <a:gd name="connsiteX4" fmla="*/ 7651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2"/>
                  </a:moveTo>
                  <a:lnTo>
                    <a:pt x="8572" y="4763"/>
                  </a:lnTo>
                  <a:cubicBezTo>
                    <a:pt x="7302" y="6032"/>
                    <a:pt x="6032" y="7302"/>
                    <a:pt x="4763" y="8573"/>
                  </a:cubicBezTo>
                  <a:lnTo>
                    <a:pt x="72707" y="47942"/>
                  </a:lnTo>
                  <a:cubicBezTo>
                    <a:pt x="73342" y="46673"/>
                    <a:pt x="74613" y="45402"/>
                    <a:pt x="7651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9" name="任意多边形: 形状 1668"/>
            <p:cNvSpPr/>
            <p:nvPr/>
          </p:nvSpPr>
          <p:spPr>
            <a:xfrm>
              <a:off x="6381433" y="2232342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2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2" y="4763"/>
                  </a:lnTo>
                  <a:cubicBezTo>
                    <a:pt x="7302" y="6033"/>
                    <a:pt x="6033" y="7303"/>
                    <a:pt x="4763" y="8573"/>
                  </a:cubicBezTo>
                  <a:lnTo>
                    <a:pt x="72708" y="47943"/>
                  </a:lnTo>
                  <a:cubicBezTo>
                    <a:pt x="73977" y="46673"/>
                    <a:pt x="75247" y="45403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0" name="任意多边形: 形状 1669"/>
            <p:cNvSpPr/>
            <p:nvPr/>
          </p:nvSpPr>
          <p:spPr>
            <a:xfrm>
              <a:off x="6377622" y="2236152"/>
              <a:ext cx="76200" cy="50800"/>
            </a:xfrm>
            <a:custGeom>
              <a:avLst/>
              <a:gdLst>
                <a:gd name="connsiteX0" fmla="*/ 76518 w 76200"/>
                <a:gd name="connsiteY0" fmla="*/ 44133 h 50800"/>
                <a:gd name="connsiteX1" fmla="*/ 857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651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8" y="44133"/>
                  </a:moveTo>
                  <a:lnTo>
                    <a:pt x="8573" y="4763"/>
                  </a:lnTo>
                  <a:cubicBezTo>
                    <a:pt x="7303" y="6033"/>
                    <a:pt x="6033" y="7302"/>
                    <a:pt x="4763" y="8573"/>
                  </a:cubicBezTo>
                  <a:lnTo>
                    <a:pt x="72708" y="47943"/>
                  </a:lnTo>
                  <a:cubicBezTo>
                    <a:pt x="74613" y="46673"/>
                    <a:pt x="75248" y="45402"/>
                    <a:pt x="7651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1" name="任意多边形: 形状 1670"/>
            <p:cNvSpPr/>
            <p:nvPr/>
          </p:nvSpPr>
          <p:spPr>
            <a:xfrm>
              <a:off x="6374447" y="2239963"/>
              <a:ext cx="76200" cy="50800"/>
            </a:xfrm>
            <a:custGeom>
              <a:avLst/>
              <a:gdLst>
                <a:gd name="connsiteX0" fmla="*/ 76518 w 76200"/>
                <a:gd name="connsiteY0" fmla="*/ 44133 h 50800"/>
                <a:gd name="connsiteX1" fmla="*/ 8573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651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8" y="44133"/>
                  </a:moveTo>
                  <a:lnTo>
                    <a:pt x="8573" y="4763"/>
                  </a:lnTo>
                  <a:cubicBezTo>
                    <a:pt x="7303" y="6033"/>
                    <a:pt x="6033" y="7302"/>
                    <a:pt x="4763" y="9208"/>
                  </a:cubicBezTo>
                  <a:lnTo>
                    <a:pt x="72708" y="48577"/>
                  </a:lnTo>
                  <a:cubicBezTo>
                    <a:pt x="73978" y="46673"/>
                    <a:pt x="75248" y="45402"/>
                    <a:pt x="7651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2" name="任意多边形: 形状 1671"/>
            <p:cNvSpPr/>
            <p:nvPr/>
          </p:nvSpPr>
          <p:spPr>
            <a:xfrm>
              <a:off x="6370638" y="2244408"/>
              <a:ext cx="76200" cy="50800"/>
            </a:xfrm>
            <a:custGeom>
              <a:avLst/>
              <a:gdLst>
                <a:gd name="connsiteX0" fmla="*/ 76517 w 76200"/>
                <a:gd name="connsiteY0" fmla="*/ 44132 h 50800"/>
                <a:gd name="connsiteX1" fmla="*/ 8572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651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2"/>
                  </a:moveTo>
                  <a:lnTo>
                    <a:pt x="8572" y="4763"/>
                  </a:lnTo>
                  <a:cubicBezTo>
                    <a:pt x="7303" y="6032"/>
                    <a:pt x="6033" y="7938"/>
                    <a:pt x="4763" y="9207"/>
                  </a:cubicBezTo>
                  <a:lnTo>
                    <a:pt x="72708" y="48577"/>
                  </a:lnTo>
                  <a:cubicBezTo>
                    <a:pt x="73978" y="46672"/>
                    <a:pt x="75247" y="45402"/>
                    <a:pt x="7651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3" name="任意多边形: 形状 1672"/>
            <p:cNvSpPr/>
            <p:nvPr/>
          </p:nvSpPr>
          <p:spPr>
            <a:xfrm>
              <a:off x="6366828" y="2248852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2 w 76200"/>
                <a:gd name="connsiteY1" fmla="*/ 4763 h 50800"/>
                <a:gd name="connsiteX2" fmla="*/ 4763 w 76200"/>
                <a:gd name="connsiteY2" fmla="*/ 9843 h 50800"/>
                <a:gd name="connsiteX3" fmla="*/ 72707 w 76200"/>
                <a:gd name="connsiteY3" fmla="*/ 49213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2" y="4763"/>
                  </a:lnTo>
                  <a:cubicBezTo>
                    <a:pt x="7302" y="6668"/>
                    <a:pt x="6032" y="7938"/>
                    <a:pt x="4763" y="9843"/>
                  </a:cubicBezTo>
                  <a:lnTo>
                    <a:pt x="72707" y="49213"/>
                  </a:lnTo>
                  <a:cubicBezTo>
                    <a:pt x="73977" y="47308"/>
                    <a:pt x="75247" y="45402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4" name="任意多边形: 形状 1673"/>
            <p:cNvSpPr/>
            <p:nvPr/>
          </p:nvSpPr>
          <p:spPr>
            <a:xfrm>
              <a:off x="6361747" y="2253933"/>
              <a:ext cx="82550" cy="50800"/>
            </a:xfrm>
            <a:custGeom>
              <a:avLst/>
              <a:gdLst>
                <a:gd name="connsiteX0" fmla="*/ 77788 w 82550"/>
                <a:gd name="connsiteY0" fmla="*/ 44132 h 50800"/>
                <a:gd name="connsiteX1" fmla="*/ 9843 w 82550"/>
                <a:gd name="connsiteY1" fmla="*/ 4763 h 50800"/>
                <a:gd name="connsiteX2" fmla="*/ 4763 w 82550"/>
                <a:gd name="connsiteY2" fmla="*/ 12382 h 50800"/>
                <a:gd name="connsiteX3" fmla="*/ 72708 w 82550"/>
                <a:gd name="connsiteY3" fmla="*/ 51752 h 50800"/>
                <a:gd name="connsiteX4" fmla="*/ 77788 w 8255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7788" y="44132"/>
                  </a:moveTo>
                  <a:lnTo>
                    <a:pt x="9843" y="4763"/>
                  </a:lnTo>
                  <a:cubicBezTo>
                    <a:pt x="7938" y="7302"/>
                    <a:pt x="6033" y="9842"/>
                    <a:pt x="4763" y="12382"/>
                  </a:cubicBezTo>
                  <a:lnTo>
                    <a:pt x="72708" y="51752"/>
                  </a:lnTo>
                  <a:cubicBezTo>
                    <a:pt x="74613" y="48577"/>
                    <a:pt x="76518" y="46038"/>
                    <a:pt x="7778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5" name="任意多边形: 形状 1674"/>
            <p:cNvSpPr/>
            <p:nvPr/>
          </p:nvSpPr>
          <p:spPr>
            <a:xfrm>
              <a:off x="6354128" y="2260917"/>
              <a:ext cx="82550" cy="57150"/>
            </a:xfrm>
            <a:custGeom>
              <a:avLst/>
              <a:gdLst>
                <a:gd name="connsiteX0" fmla="*/ 80327 w 82550"/>
                <a:gd name="connsiteY0" fmla="*/ 44133 h 57150"/>
                <a:gd name="connsiteX1" fmla="*/ 12382 w 82550"/>
                <a:gd name="connsiteY1" fmla="*/ 4763 h 57150"/>
                <a:gd name="connsiteX2" fmla="*/ 4763 w 82550"/>
                <a:gd name="connsiteY2" fmla="*/ 16193 h 57150"/>
                <a:gd name="connsiteX3" fmla="*/ 72707 w 82550"/>
                <a:gd name="connsiteY3" fmla="*/ 55563 h 57150"/>
                <a:gd name="connsiteX4" fmla="*/ 80327 w 82550"/>
                <a:gd name="connsiteY4" fmla="*/ 4413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7150">
                  <a:moveTo>
                    <a:pt x="80327" y="44133"/>
                  </a:moveTo>
                  <a:lnTo>
                    <a:pt x="12382" y="4763"/>
                  </a:lnTo>
                  <a:cubicBezTo>
                    <a:pt x="9842" y="8573"/>
                    <a:pt x="7302" y="12383"/>
                    <a:pt x="4763" y="16193"/>
                  </a:cubicBezTo>
                  <a:lnTo>
                    <a:pt x="72707" y="55563"/>
                  </a:lnTo>
                  <a:cubicBezTo>
                    <a:pt x="75247" y="51753"/>
                    <a:pt x="77788" y="47943"/>
                    <a:pt x="8032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6" name="任意多边形: 形状 1675"/>
            <p:cNvSpPr/>
            <p:nvPr/>
          </p:nvSpPr>
          <p:spPr>
            <a:xfrm>
              <a:off x="6349683" y="2272983"/>
              <a:ext cx="76200" cy="57150"/>
            </a:xfrm>
            <a:custGeom>
              <a:avLst/>
              <a:gdLst>
                <a:gd name="connsiteX0" fmla="*/ 77152 w 76200"/>
                <a:gd name="connsiteY0" fmla="*/ 44132 h 57150"/>
                <a:gd name="connsiteX1" fmla="*/ 9208 w 76200"/>
                <a:gd name="connsiteY1" fmla="*/ 4763 h 57150"/>
                <a:gd name="connsiteX2" fmla="*/ 4763 w 76200"/>
                <a:gd name="connsiteY2" fmla="*/ 13017 h 57150"/>
                <a:gd name="connsiteX3" fmla="*/ 72708 w 76200"/>
                <a:gd name="connsiteY3" fmla="*/ 52388 h 57150"/>
                <a:gd name="connsiteX4" fmla="*/ 77152 w 76200"/>
                <a:gd name="connsiteY4" fmla="*/ 4413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7150">
                  <a:moveTo>
                    <a:pt x="77152" y="44132"/>
                  </a:moveTo>
                  <a:lnTo>
                    <a:pt x="9208" y="4763"/>
                  </a:lnTo>
                  <a:cubicBezTo>
                    <a:pt x="7938" y="7302"/>
                    <a:pt x="6033" y="9842"/>
                    <a:pt x="4763" y="13017"/>
                  </a:cubicBezTo>
                  <a:lnTo>
                    <a:pt x="72708" y="52388"/>
                  </a:lnTo>
                  <a:cubicBezTo>
                    <a:pt x="74613" y="49213"/>
                    <a:pt x="75883" y="46672"/>
                    <a:pt x="7715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7" name="任意多边形: 形状 1676"/>
            <p:cNvSpPr/>
            <p:nvPr/>
          </p:nvSpPr>
          <p:spPr>
            <a:xfrm>
              <a:off x="6347142" y="2280602"/>
              <a:ext cx="76200" cy="50800"/>
            </a:xfrm>
            <a:custGeom>
              <a:avLst/>
              <a:gdLst>
                <a:gd name="connsiteX0" fmla="*/ 75248 w 76200"/>
                <a:gd name="connsiteY0" fmla="*/ 44133 h 50800"/>
                <a:gd name="connsiteX1" fmla="*/ 7303 w 76200"/>
                <a:gd name="connsiteY1" fmla="*/ 4763 h 50800"/>
                <a:gd name="connsiteX2" fmla="*/ 4763 w 76200"/>
                <a:gd name="connsiteY2" fmla="*/ 9843 h 50800"/>
                <a:gd name="connsiteX3" fmla="*/ 72708 w 76200"/>
                <a:gd name="connsiteY3" fmla="*/ 49213 h 50800"/>
                <a:gd name="connsiteX4" fmla="*/ 7524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8" y="44133"/>
                  </a:moveTo>
                  <a:lnTo>
                    <a:pt x="7303" y="4763"/>
                  </a:lnTo>
                  <a:cubicBezTo>
                    <a:pt x="6667" y="6668"/>
                    <a:pt x="5398" y="8573"/>
                    <a:pt x="4763" y="9843"/>
                  </a:cubicBezTo>
                  <a:lnTo>
                    <a:pt x="72708" y="49213"/>
                  </a:lnTo>
                  <a:cubicBezTo>
                    <a:pt x="73342" y="47943"/>
                    <a:pt x="74613" y="46038"/>
                    <a:pt x="7524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8" name="任意多边形: 形状 1677"/>
            <p:cNvSpPr/>
            <p:nvPr/>
          </p:nvSpPr>
          <p:spPr>
            <a:xfrm>
              <a:off x="6344603" y="2286317"/>
              <a:ext cx="76200" cy="50800"/>
            </a:xfrm>
            <a:custGeom>
              <a:avLst/>
              <a:gdLst>
                <a:gd name="connsiteX0" fmla="*/ 75247 w 76200"/>
                <a:gd name="connsiteY0" fmla="*/ 44133 h 50800"/>
                <a:gd name="connsiteX1" fmla="*/ 7302 w 76200"/>
                <a:gd name="connsiteY1" fmla="*/ 4763 h 50800"/>
                <a:gd name="connsiteX2" fmla="*/ 4763 w 76200"/>
                <a:gd name="connsiteY2" fmla="*/ 9208 h 50800"/>
                <a:gd name="connsiteX3" fmla="*/ 72707 w 76200"/>
                <a:gd name="connsiteY3" fmla="*/ 48578 h 50800"/>
                <a:gd name="connsiteX4" fmla="*/ 7524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247" y="44133"/>
                  </a:moveTo>
                  <a:lnTo>
                    <a:pt x="7302" y="4763"/>
                  </a:lnTo>
                  <a:cubicBezTo>
                    <a:pt x="6667" y="6033"/>
                    <a:pt x="6032" y="7938"/>
                    <a:pt x="4763" y="9208"/>
                  </a:cubicBezTo>
                  <a:lnTo>
                    <a:pt x="72707" y="48578"/>
                  </a:lnTo>
                  <a:cubicBezTo>
                    <a:pt x="73977" y="47308"/>
                    <a:pt x="74613" y="45403"/>
                    <a:pt x="7524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9" name="任意多边形: 形状 1678"/>
            <p:cNvSpPr/>
            <p:nvPr/>
          </p:nvSpPr>
          <p:spPr>
            <a:xfrm>
              <a:off x="6342697" y="2290763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8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8" y="4763"/>
                  </a:lnTo>
                  <a:cubicBezTo>
                    <a:pt x="6033" y="6033"/>
                    <a:pt x="5398" y="7302"/>
                    <a:pt x="4763" y="9208"/>
                  </a:cubicBezTo>
                  <a:lnTo>
                    <a:pt x="72708" y="48577"/>
                  </a:lnTo>
                  <a:cubicBezTo>
                    <a:pt x="73343" y="47308"/>
                    <a:pt x="73978" y="45402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0" name="任意多边形: 形状 1679"/>
            <p:cNvSpPr/>
            <p:nvPr/>
          </p:nvSpPr>
          <p:spPr>
            <a:xfrm>
              <a:off x="6340792" y="2295208"/>
              <a:ext cx="76200" cy="50800"/>
            </a:xfrm>
            <a:custGeom>
              <a:avLst/>
              <a:gdLst>
                <a:gd name="connsiteX0" fmla="*/ 74613 w 76200"/>
                <a:gd name="connsiteY0" fmla="*/ 44132 h 50800"/>
                <a:gd name="connsiteX1" fmla="*/ 6667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461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2"/>
                  </a:moveTo>
                  <a:lnTo>
                    <a:pt x="6667" y="4763"/>
                  </a:lnTo>
                  <a:cubicBezTo>
                    <a:pt x="6033" y="6032"/>
                    <a:pt x="5398" y="7302"/>
                    <a:pt x="4763" y="9207"/>
                  </a:cubicBezTo>
                  <a:lnTo>
                    <a:pt x="72708" y="48577"/>
                  </a:lnTo>
                  <a:cubicBezTo>
                    <a:pt x="73978" y="46672"/>
                    <a:pt x="73978" y="45402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1" name="任意多边形: 形状 1680"/>
            <p:cNvSpPr/>
            <p:nvPr/>
          </p:nvSpPr>
          <p:spPr>
            <a:xfrm>
              <a:off x="6339522" y="2299017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8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8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8" y="4763"/>
                  </a:lnTo>
                  <a:cubicBezTo>
                    <a:pt x="6033" y="6033"/>
                    <a:pt x="5398" y="7303"/>
                    <a:pt x="4763" y="9208"/>
                  </a:cubicBezTo>
                  <a:lnTo>
                    <a:pt x="72708" y="48578"/>
                  </a:lnTo>
                  <a:cubicBezTo>
                    <a:pt x="73343" y="47308"/>
                    <a:pt x="73978" y="46038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2" name="任意多边形: 形状 1681"/>
            <p:cNvSpPr/>
            <p:nvPr/>
          </p:nvSpPr>
          <p:spPr>
            <a:xfrm>
              <a:off x="6337617" y="2303463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7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7" y="4763"/>
                  </a:lnTo>
                  <a:cubicBezTo>
                    <a:pt x="6033" y="6033"/>
                    <a:pt x="5398" y="7302"/>
                    <a:pt x="4763" y="9208"/>
                  </a:cubicBezTo>
                  <a:lnTo>
                    <a:pt x="72708" y="48577"/>
                  </a:lnTo>
                  <a:cubicBezTo>
                    <a:pt x="73342" y="46673"/>
                    <a:pt x="73978" y="45402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3" name="任意多边形: 形状 1682"/>
            <p:cNvSpPr/>
            <p:nvPr/>
          </p:nvSpPr>
          <p:spPr>
            <a:xfrm>
              <a:off x="6336347" y="2307908"/>
              <a:ext cx="76200" cy="50800"/>
            </a:xfrm>
            <a:custGeom>
              <a:avLst/>
              <a:gdLst>
                <a:gd name="connsiteX0" fmla="*/ 73978 w 76200"/>
                <a:gd name="connsiteY0" fmla="*/ 44132 h 50800"/>
                <a:gd name="connsiteX1" fmla="*/ 6033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397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2"/>
                  </a:moveTo>
                  <a:lnTo>
                    <a:pt x="6033" y="4763"/>
                  </a:lnTo>
                  <a:cubicBezTo>
                    <a:pt x="5398" y="6032"/>
                    <a:pt x="4763" y="7938"/>
                    <a:pt x="4763" y="9207"/>
                  </a:cubicBezTo>
                  <a:lnTo>
                    <a:pt x="72708" y="48577"/>
                  </a:lnTo>
                  <a:cubicBezTo>
                    <a:pt x="73343" y="46672"/>
                    <a:pt x="73978" y="45402"/>
                    <a:pt x="7397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4" name="任意多边形: 形状 1683"/>
            <p:cNvSpPr/>
            <p:nvPr/>
          </p:nvSpPr>
          <p:spPr>
            <a:xfrm>
              <a:off x="6335078" y="2312352"/>
              <a:ext cx="76200" cy="50800"/>
            </a:xfrm>
            <a:custGeom>
              <a:avLst/>
              <a:gdLst>
                <a:gd name="connsiteX0" fmla="*/ 73977 w 76200"/>
                <a:gd name="connsiteY0" fmla="*/ 44133 h 50800"/>
                <a:gd name="connsiteX1" fmla="*/ 6032 w 76200"/>
                <a:gd name="connsiteY1" fmla="*/ 4763 h 50800"/>
                <a:gd name="connsiteX2" fmla="*/ 4763 w 76200"/>
                <a:gd name="connsiteY2" fmla="*/ 9208 h 50800"/>
                <a:gd name="connsiteX3" fmla="*/ 72707 w 76200"/>
                <a:gd name="connsiteY3" fmla="*/ 48577 h 50800"/>
                <a:gd name="connsiteX4" fmla="*/ 7397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7" y="44133"/>
                  </a:moveTo>
                  <a:lnTo>
                    <a:pt x="6032" y="4763"/>
                  </a:lnTo>
                  <a:cubicBezTo>
                    <a:pt x="5397" y="6033"/>
                    <a:pt x="4763" y="7938"/>
                    <a:pt x="4763" y="9208"/>
                  </a:cubicBezTo>
                  <a:lnTo>
                    <a:pt x="72707" y="48577"/>
                  </a:lnTo>
                  <a:cubicBezTo>
                    <a:pt x="72707" y="46673"/>
                    <a:pt x="73342" y="45402"/>
                    <a:pt x="7397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5" name="任意多边形: 形状 1684"/>
            <p:cNvSpPr/>
            <p:nvPr/>
          </p:nvSpPr>
          <p:spPr>
            <a:xfrm>
              <a:off x="6333808" y="2316798"/>
              <a:ext cx="76200" cy="50800"/>
            </a:xfrm>
            <a:custGeom>
              <a:avLst/>
              <a:gdLst>
                <a:gd name="connsiteX0" fmla="*/ 73977 w 76200"/>
                <a:gd name="connsiteY0" fmla="*/ 44132 h 50800"/>
                <a:gd name="connsiteX1" fmla="*/ 6033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3977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7" y="44132"/>
                  </a:moveTo>
                  <a:lnTo>
                    <a:pt x="6033" y="4763"/>
                  </a:lnTo>
                  <a:cubicBezTo>
                    <a:pt x="5397" y="6032"/>
                    <a:pt x="5397" y="7938"/>
                    <a:pt x="4763" y="9207"/>
                  </a:cubicBezTo>
                  <a:lnTo>
                    <a:pt x="72708" y="48577"/>
                  </a:lnTo>
                  <a:cubicBezTo>
                    <a:pt x="72708" y="47307"/>
                    <a:pt x="73342" y="45402"/>
                    <a:pt x="7397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6" name="任意多边形: 形状 1685"/>
            <p:cNvSpPr/>
            <p:nvPr/>
          </p:nvSpPr>
          <p:spPr>
            <a:xfrm>
              <a:off x="6332538" y="2321242"/>
              <a:ext cx="76200" cy="50800"/>
            </a:xfrm>
            <a:custGeom>
              <a:avLst/>
              <a:gdLst>
                <a:gd name="connsiteX0" fmla="*/ 73978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8 h 50800"/>
                <a:gd name="connsiteX4" fmla="*/ 7397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3"/>
                  </a:moveTo>
                  <a:lnTo>
                    <a:pt x="6033" y="4763"/>
                  </a:lnTo>
                  <a:cubicBezTo>
                    <a:pt x="5397" y="6033"/>
                    <a:pt x="5397" y="7938"/>
                    <a:pt x="4763" y="9208"/>
                  </a:cubicBezTo>
                  <a:lnTo>
                    <a:pt x="72708" y="48578"/>
                  </a:lnTo>
                  <a:cubicBezTo>
                    <a:pt x="72708" y="47308"/>
                    <a:pt x="73342" y="45403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7" name="任意多边形: 形状 1686"/>
            <p:cNvSpPr/>
            <p:nvPr/>
          </p:nvSpPr>
          <p:spPr>
            <a:xfrm>
              <a:off x="6331267" y="2325688"/>
              <a:ext cx="76200" cy="50800"/>
            </a:xfrm>
            <a:custGeom>
              <a:avLst/>
              <a:gdLst>
                <a:gd name="connsiteX0" fmla="*/ 73978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397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3"/>
                  </a:moveTo>
                  <a:lnTo>
                    <a:pt x="6033" y="4763"/>
                  </a:lnTo>
                  <a:cubicBezTo>
                    <a:pt x="5398" y="6033"/>
                    <a:pt x="5398" y="7938"/>
                    <a:pt x="4763" y="9208"/>
                  </a:cubicBezTo>
                  <a:lnTo>
                    <a:pt x="72708" y="48577"/>
                  </a:lnTo>
                  <a:cubicBezTo>
                    <a:pt x="73342" y="47308"/>
                    <a:pt x="73342" y="46038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8" name="任意多边形: 形状 1687"/>
            <p:cNvSpPr/>
            <p:nvPr/>
          </p:nvSpPr>
          <p:spPr>
            <a:xfrm>
              <a:off x="6330633" y="2330133"/>
              <a:ext cx="76200" cy="50800"/>
            </a:xfrm>
            <a:custGeom>
              <a:avLst/>
              <a:gdLst>
                <a:gd name="connsiteX0" fmla="*/ 73342 w 76200"/>
                <a:gd name="connsiteY0" fmla="*/ 44132 h 50800"/>
                <a:gd name="connsiteX1" fmla="*/ 5397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3342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2"/>
                  </a:moveTo>
                  <a:lnTo>
                    <a:pt x="5397" y="4763"/>
                  </a:lnTo>
                  <a:cubicBezTo>
                    <a:pt x="4763" y="6032"/>
                    <a:pt x="4763" y="7938"/>
                    <a:pt x="4763" y="9207"/>
                  </a:cubicBezTo>
                  <a:lnTo>
                    <a:pt x="72708" y="48577"/>
                  </a:lnTo>
                  <a:cubicBezTo>
                    <a:pt x="72708" y="47307"/>
                    <a:pt x="73342" y="46038"/>
                    <a:pt x="7334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9" name="任意多边形: 形状 1688"/>
            <p:cNvSpPr/>
            <p:nvPr/>
          </p:nvSpPr>
          <p:spPr>
            <a:xfrm>
              <a:off x="6329997" y="2334577"/>
              <a:ext cx="76200" cy="50800"/>
            </a:xfrm>
            <a:custGeom>
              <a:avLst/>
              <a:gdLst>
                <a:gd name="connsiteX0" fmla="*/ 73343 w 76200"/>
                <a:gd name="connsiteY0" fmla="*/ 44133 h 50800"/>
                <a:gd name="connsiteX1" fmla="*/ 5398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334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3" y="44133"/>
                  </a:moveTo>
                  <a:lnTo>
                    <a:pt x="5398" y="4763"/>
                  </a:lnTo>
                  <a:cubicBezTo>
                    <a:pt x="5398" y="6033"/>
                    <a:pt x="4763" y="7938"/>
                    <a:pt x="4763" y="9208"/>
                  </a:cubicBezTo>
                  <a:lnTo>
                    <a:pt x="72708" y="48577"/>
                  </a:lnTo>
                  <a:cubicBezTo>
                    <a:pt x="72708" y="47308"/>
                    <a:pt x="72708" y="46038"/>
                    <a:pt x="7334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0" name="任意多边形: 形状 1689"/>
            <p:cNvSpPr/>
            <p:nvPr/>
          </p:nvSpPr>
          <p:spPr>
            <a:xfrm>
              <a:off x="6328728" y="2339023"/>
              <a:ext cx="76200" cy="50800"/>
            </a:xfrm>
            <a:custGeom>
              <a:avLst/>
              <a:gdLst>
                <a:gd name="connsiteX0" fmla="*/ 73342 w 76200"/>
                <a:gd name="connsiteY0" fmla="*/ 44132 h 50800"/>
                <a:gd name="connsiteX1" fmla="*/ 5397 w 76200"/>
                <a:gd name="connsiteY1" fmla="*/ 4763 h 50800"/>
                <a:gd name="connsiteX2" fmla="*/ 4763 w 76200"/>
                <a:gd name="connsiteY2" fmla="*/ 9207 h 50800"/>
                <a:gd name="connsiteX3" fmla="*/ 72707 w 76200"/>
                <a:gd name="connsiteY3" fmla="*/ 48577 h 50800"/>
                <a:gd name="connsiteX4" fmla="*/ 73342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2"/>
                  </a:moveTo>
                  <a:lnTo>
                    <a:pt x="5397" y="4763"/>
                  </a:lnTo>
                  <a:cubicBezTo>
                    <a:pt x="5397" y="6032"/>
                    <a:pt x="4763" y="7302"/>
                    <a:pt x="4763" y="9207"/>
                  </a:cubicBezTo>
                  <a:lnTo>
                    <a:pt x="72707" y="48577"/>
                  </a:lnTo>
                  <a:cubicBezTo>
                    <a:pt x="73342" y="47307"/>
                    <a:pt x="73342" y="45402"/>
                    <a:pt x="7334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1" name="任意多边形: 形状 1690"/>
            <p:cNvSpPr/>
            <p:nvPr/>
          </p:nvSpPr>
          <p:spPr>
            <a:xfrm>
              <a:off x="6328092" y="2343467"/>
              <a:ext cx="76200" cy="50800"/>
            </a:xfrm>
            <a:custGeom>
              <a:avLst/>
              <a:gdLst>
                <a:gd name="connsiteX0" fmla="*/ 73342 w 76200"/>
                <a:gd name="connsiteY0" fmla="*/ 44133 h 50800"/>
                <a:gd name="connsiteX1" fmla="*/ 5398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8 h 50800"/>
                <a:gd name="connsiteX4" fmla="*/ 7334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3"/>
                  </a:moveTo>
                  <a:lnTo>
                    <a:pt x="5398" y="4763"/>
                  </a:lnTo>
                  <a:cubicBezTo>
                    <a:pt x="5398" y="6033"/>
                    <a:pt x="4763" y="7303"/>
                    <a:pt x="4763" y="9208"/>
                  </a:cubicBezTo>
                  <a:lnTo>
                    <a:pt x="72708" y="48578"/>
                  </a:lnTo>
                  <a:cubicBezTo>
                    <a:pt x="73342" y="46673"/>
                    <a:pt x="73342" y="45403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2" name="任意多边形: 形状 1691"/>
            <p:cNvSpPr/>
            <p:nvPr/>
          </p:nvSpPr>
          <p:spPr>
            <a:xfrm>
              <a:off x="6328092" y="2347277"/>
              <a:ext cx="76200" cy="50800"/>
            </a:xfrm>
            <a:custGeom>
              <a:avLst/>
              <a:gdLst>
                <a:gd name="connsiteX0" fmla="*/ 73342 w 76200"/>
                <a:gd name="connsiteY0" fmla="*/ 44133 h 50800"/>
                <a:gd name="connsiteX1" fmla="*/ 5398 w 76200"/>
                <a:gd name="connsiteY1" fmla="*/ 4763 h 50800"/>
                <a:gd name="connsiteX2" fmla="*/ 4763 w 76200"/>
                <a:gd name="connsiteY2" fmla="*/ 9208 h 50800"/>
                <a:gd name="connsiteX3" fmla="*/ 72708 w 76200"/>
                <a:gd name="connsiteY3" fmla="*/ 48577 h 50800"/>
                <a:gd name="connsiteX4" fmla="*/ 7334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3"/>
                  </a:moveTo>
                  <a:lnTo>
                    <a:pt x="5398" y="4763"/>
                  </a:lnTo>
                  <a:cubicBezTo>
                    <a:pt x="5398" y="6033"/>
                    <a:pt x="5398" y="7302"/>
                    <a:pt x="4763" y="9208"/>
                  </a:cubicBezTo>
                  <a:lnTo>
                    <a:pt x="72708" y="48577"/>
                  </a:lnTo>
                  <a:cubicBezTo>
                    <a:pt x="72708" y="47308"/>
                    <a:pt x="73342" y="46038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3" name="任意多边形: 形状 1692"/>
            <p:cNvSpPr/>
            <p:nvPr/>
          </p:nvSpPr>
          <p:spPr>
            <a:xfrm>
              <a:off x="6328092" y="2351723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7302"/>
                    <a:pt x="4763" y="8573"/>
                  </a:cubicBezTo>
                  <a:lnTo>
                    <a:pt x="72708" y="47942"/>
                  </a:lnTo>
                  <a:cubicBezTo>
                    <a:pt x="72708" y="46673"/>
                    <a:pt x="72708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4" name="任意多边形: 形状 1693"/>
            <p:cNvSpPr/>
            <p:nvPr/>
          </p:nvSpPr>
          <p:spPr>
            <a:xfrm>
              <a:off x="6328092" y="2356167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4763 w 76200"/>
                <a:gd name="connsiteY2" fmla="*/ 8573 h 50800"/>
                <a:gd name="connsiteX3" fmla="*/ 4763 w 76200"/>
                <a:gd name="connsiteY3" fmla="*/ 8573 h 50800"/>
                <a:gd name="connsiteX4" fmla="*/ 72708 w 76200"/>
                <a:gd name="connsiteY4" fmla="*/ 47943 h 50800"/>
                <a:gd name="connsiteX5" fmla="*/ 72708 w 76200"/>
                <a:gd name="connsiteY5" fmla="*/ 47943 h 50800"/>
                <a:gd name="connsiteX6" fmla="*/ 72708 w 76200"/>
                <a:gd name="connsiteY6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4763" y="6033"/>
                    <a:pt x="4763" y="7303"/>
                    <a:pt x="4763" y="8573"/>
                  </a:cubicBezTo>
                  <a:cubicBezTo>
                    <a:pt x="4763" y="8573"/>
                    <a:pt x="4763" y="8573"/>
                    <a:pt x="4763" y="8573"/>
                  </a:cubicBezTo>
                  <a:lnTo>
                    <a:pt x="72708" y="47943"/>
                  </a:lnTo>
                  <a:cubicBezTo>
                    <a:pt x="72708" y="47943"/>
                    <a:pt x="72708" y="47943"/>
                    <a:pt x="72708" y="47943"/>
                  </a:cubicBezTo>
                  <a:cubicBezTo>
                    <a:pt x="72708" y="46673"/>
                    <a:pt x="72708" y="45403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5" name="任意多边形: 形状 1694"/>
            <p:cNvSpPr/>
            <p:nvPr/>
          </p:nvSpPr>
          <p:spPr>
            <a:xfrm>
              <a:off x="6328092" y="2359977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270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4763" y="6033"/>
                    <a:pt x="4763" y="7302"/>
                    <a:pt x="4763" y="8573"/>
                  </a:cubicBezTo>
                  <a:lnTo>
                    <a:pt x="72708" y="47943"/>
                  </a:lnTo>
                  <a:cubicBezTo>
                    <a:pt x="72708" y="46673"/>
                    <a:pt x="72708" y="45402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6" name="任意多边形: 形状 1695"/>
            <p:cNvSpPr/>
            <p:nvPr/>
          </p:nvSpPr>
          <p:spPr>
            <a:xfrm>
              <a:off x="6328092" y="2363788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270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4763" y="6033"/>
                    <a:pt x="4763" y="7302"/>
                    <a:pt x="4763" y="8573"/>
                  </a:cubicBezTo>
                  <a:lnTo>
                    <a:pt x="72708" y="47942"/>
                  </a:lnTo>
                  <a:cubicBezTo>
                    <a:pt x="72708" y="47308"/>
                    <a:pt x="72708" y="46038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7" name="任意多边形: 形状 1696"/>
            <p:cNvSpPr/>
            <p:nvPr/>
          </p:nvSpPr>
          <p:spPr>
            <a:xfrm>
              <a:off x="6328092" y="2368233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5398 w 76200"/>
                <a:gd name="connsiteY2" fmla="*/ 8572 h 50800"/>
                <a:gd name="connsiteX3" fmla="*/ 73342 w 76200"/>
                <a:gd name="connsiteY3" fmla="*/ 47942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7302"/>
                    <a:pt x="5398" y="8572"/>
                  </a:cubicBezTo>
                  <a:lnTo>
                    <a:pt x="73342" y="47942"/>
                  </a:lnTo>
                  <a:cubicBezTo>
                    <a:pt x="73342" y="46672"/>
                    <a:pt x="73342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8" name="任意多边形: 形状 1697"/>
            <p:cNvSpPr/>
            <p:nvPr/>
          </p:nvSpPr>
          <p:spPr>
            <a:xfrm>
              <a:off x="6328728" y="2372042"/>
              <a:ext cx="76200" cy="50800"/>
            </a:xfrm>
            <a:custGeom>
              <a:avLst/>
              <a:gdLst>
                <a:gd name="connsiteX0" fmla="*/ 72707 w 76200"/>
                <a:gd name="connsiteY0" fmla="*/ 44133 h 50800"/>
                <a:gd name="connsiteX1" fmla="*/ 4763 w 76200"/>
                <a:gd name="connsiteY1" fmla="*/ 4763 h 50800"/>
                <a:gd name="connsiteX2" fmla="*/ 5397 w 76200"/>
                <a:gd name="connsiteY2" fmla="*/ 8573 h 50800"/>
                <a:gd name="connsiteX3" fmla="*/ 73342 w 76200"/>
                <a:gd name="connsiteY3" fmla="*/ 47943 h 50800"/>
                <a:gd name="connsiteX4" fmla="*/ 7270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7" y="44133"/>
                  </a:moveTo>
                  <a:lnTo>
                    <a:pt x="4763" y="4763"/>
                  </a:lnTo>
                  <a:cubicBezTo>
                    <a:pt x="4763" y="6033"/>
                    <a:pt x="5397" y="7303"/>
                    <a:pt x="5397" y="8573"/>
                  </a:cubicBezTo>
                  <a:lnTo>
                    <a:pt x="73342" y="47943"/>
                  </a:lnTo>
                  <a:cubicBezTo>
                    <a:pt x="73342" y="47308"/>
                    <a:pt x="72707" y="45403"/>
                    <a:pt x="7270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9" name="任意多边形: 形状 1698"/>
            <p:cNvSpPr/>
            <p:nvPr/>
          </p:nvSpPr>
          <p:spPr>
            <a:xfrm>
              <a:off x="6329363" y="2376488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5397 w 76200"/>
                <a:gd name="connsiteY2" fmla="*/ 8573 h 50800"/>
                <a:gd name="connsiteX3" fmla="*/ 73342 w 76200"/>
                <a:gd name="connsiteY3" fmla="*/ 47942 h 50800"/>
                <a:gd name="connsiteX4" fmla="*/ 7270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4763" y="6033"/>
                    <a:pt x="5397" y="7302"/>
                    <a:pt x="5397" y="8573"/>
                  </a:cubicBezTo>
                  <a:lnTo>
                    <a:pt x="73342" y="47942"/>
                  </a:lnTo>
                  <a:cubicBezTo>
                    <a:pt x="73342" y="46673"/>
                    <a:pt x="72708" y="45402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0" name="任意多边形: 形状 1699"/>
            <p:cNvSpPr/>
            <p:nvPr/>
          </p:nvSpPr>
          <p:spPr>
            <a:xfrm>
              <a:off x="6329997" y="2380298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6033 w 76200"/>
                <a:gd name="connsiteY2" fmla="*/ 9207 h 50800"/>
                <a:gd name="connsiteX3" fmla="*/ 73978 w 76200"/>
                <a:gd name="connsiteY3" fmla="*/ 48577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5398" y="6032"/>
                    <a:pt x="5398" y="7938"/>
                    <a:pt x="6033" y="9207"/>
                  </a:cubicBezTo>
                  <a:lnTo>
                    <a:pt x="73978" y="48577"/>
                  </a:lnTo>
                  <a:cubicBezTo>
                    <a:pt x="73343" y="47307"/>
                    <a:pt x="73343" y="46038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1" name="任意多边形: 形状 1700"/>
            <p:cNvSpPr/>
            <p:nvPr/>
          </p:nvSpPr>
          <p:spPr>
            <a:xfrm>
              <a:off x="6331267" y="2384742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6033 w 76200"/>
                <a:gd name="connsiteY2" fmla="*/ 9208 h 50800"/>
                <a:gd name="connsiteX3" fmla="*/ 73978 w 76200"/>
                <a:gd name="connsiteY3" fmla="*/ 48578 h 50800"/>
                <a:gd name="connsiteX4" fmla="*/ 7270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5398" y="6033"/>
                    <a:pt x="6033" y="7938"/>
                    <a:pt x="6033" y="9208"/>
                  </a:cubicBezTo>
                  <a:lnTo>
                    <a:pt x="73978" y="48578"/>
                  </a:lnTo>
                  <a:cubicBezTo>
                    <a:pt x="73978" y="47308"/>
                    <a:pt x="73342" y="46038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2" name="任意多边形: 形状 1701"/>
            <p:cNvSpPr/>
            <p:nvPr/>
          </p:nvSpPr>
          <p:spPr>
            <a:xfrm>
              <a:off x="6332538" y="2389188"/>
              <a:ext cx="76200" cy="50800"/>
            </a:xfrm>
            <a:custGeom>
              <a:avLst/>
              <a:gdLst>
                <a:gd name="connsiteX0" fmla="*/ 73342 w 76200"/>
                <a:gd name="connsiteY0" fmla="*/ 44133 h 50800"/>
                <a:gd name="connsiteX1" fmla="*/ 4763 w 76200"/>
                <a:gd name="connsiteY1" fmla="*/ 4763 h 50800"/>
                <a:gd name="connsiteX2" fmla="*/ 6667 w 76200"/>
                <a:gd name="connsiteY2" fmla="*/ 9842 h 50800"/>
                <a:gd name="connsiteX3" fmla="*/ 74613 w 76200"/>
                <a:gd name="connsiteY3" fmla="*/ 49213 h 50800"/>
                <a:gd name="connsiteX4" fmla="*/ 7334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3"/>
                  </a:moveTo>
                  <a:lnTo>
                    <a:pt x="4763" y="4763"/>
                  </a:lnTo>
                  <a:cubicBezTo>
                    <a:pt x="5397" y="6667"/>
                    <a:pt x="6033" y="7938"/>
                    <a:pt x="6667" y="9842"/>
                  </a:cubicBezTo>
                  <a:lnTo>
                    <a:pt x="74613" y="49213"/>
                  </a:lnTo>
                  <a:cubicBezTo>
                    <a:pt x="74613" y="47942"/>
                    <a:pt x="73978" y="46038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3" name="任意多边形: 形状 1702"/>
            <p:cNvSpPr/>
            <p:nvPr/>
          </p:nvSpPr>
          <p:spPr>
            <a:xfrm>
              <a:off x="6335078" y="2394267"/>
              <a:ext cx="76200" cy="50800"/>
            </a:xfrm>
            <a:custGeom>
              <a:avLst/>
              <a:gdLst>
                <a:gd name="connsiteX0" fmla="*/ 72707 w 76200"/>
                <a:gd name="connsiteY0" fmla="*/ 44133 h 50800"/>
                <a:gd name="connsiteX1" fmla="*/ 4763 w 76200"/>
                <a:gd name="connsiteY1" fmla="*/ 4763 h 50800"/>
                <a:gd name="connsiteX2" fmla="*/ 7938 w 76200"/>
                <a:gd name="connsiteY2" fmla="*/ 10478 h 50800"/>
                <a:gd name="connsiteX3" fmla="*/ 75882 w 76200"/>
                <a:gd name="connsiteY3" fmla="*/ 49848 h 50800"/>
                <a:gd name="connsiteX4" fmla="*/ 7270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7" y="44133"/>
                  </a:moveTo>
                  <a:lnTo>
                    <a:pt x="4763" y="4763"/>
                  </a:lnTo>
                  <a:cubicBezTo>
                    <a:pt x="6032" y="6668"/>
                    <a:pt x="6667" y="8573"/>
                    <a:pt x="7938" y="10478"/>
                  </a:cubicBezTo>
                  <a:lnTo>
                    <a:pt x="75882" y="49848"/>
                  </a:lnTo>
                  <a:cubicBezTo>
                    <a:pt x="74613" y="48578"/>
                    <a:pt x="73342" y="46038"/>
                    <a:pt x="7270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4" name="任意多边形: 形状 1703"/>
            <p:cNvSpPr/>
            <p:nvPr/>
          </p:nvSpPr>
          <p:spPr>
            <a:xfrm>
              <a:off x="6338253" y="2399983"/>
              <a:ext cx="88900" cy="63500"/>
            </a:xfrm>
            <a:custGeom>
              <a:avLst/>
              <a:gdLst>
                <a:gd name="connsiteX0" fmla="*/ 72707 w 88900"/>
                <a:gd name="connsiteY0" fmla="*/ 44132 h 63500"/>
                <a:gd name="connsiteX1" fmla="*/ 4763 w 88900"/>
                <a:gd name="connsiteY1" fmla="*/ 4763 h 63500"/>
                <a:gd name="connsiteX2" fmla="*/ 20002 w 88900"/>
                <a:gd name="connsiteY2" fmla="*/ 19367 h 63500"/>
                <a:gd name="connsiteX3" fmla="*/ 87947 w 88900"/>
                <a:gd name="connsiteY3" fmla="*/ 58738 h 63500"/>
                <a:gd name="connsiteX4" fmla="*/ 72707 w 88900"/>
                <a:gd name="connsiteY4" fmla="*/ 44132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900" h="63500">
                  <a:moveTo>
                    <a:pt x="72707" y="44132"/>
                  </a:moveTo>
                  <a:lnTo>
                    <a:pt x="4763" y="4763"/>
                  </a:lnTo>
                  <a:cubicBezTo>
                    <a:pt x="8572" y="11113"/>
                    <a:pt x="14288" y="16192"/>
                    <a:pt x="20002" y="19367"/>
                  </a:cubicBezTo>
                  <a:lnTo>
                    <a:pt x="87947" y="58738"/>
                  </a:lnTo>
                  <a:cubicBezTo>
                    <a:pt x="81597" y="55563"/>
                    <a:pt x="76517" y="50482"/>
                    <a:pt x="7270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5" name="任意多边形: 形状 1704"/>
            <p:cNvSpPr/>
            <p:nvPr/>
          </p:nvSpPr>
          <p:spPr>
            <a:xfrm>
              <a:off x="6522403" y="2063433"/>
              <a:ext cx="76200" cy="44450"/>
            </a:xfrm>
            <a:custGeom>
              <a:avLst/>
              <a:gdLst>
                <a:gd name="connsiteX0" fmla="*/ 74613 w 76200"/>
                <a:gd name="connsiteY0" fmla="*/ 44767 h 44450"/>
                <a:gd name="connsiteX1" fmla="*/ 6667 w 76200"/>
                <a:gd name="connsiteY1" fmla="*/ 5397 h 44450"/>
                <a:gd name="connsiteX2" fmla="*/ 4763 w 76200"/>
                <a:gd name="connsiteY2" fmla="*/ 4763 h 44450"/>
                <a:gd name="connsiteX3" fmla="*/ 72707 w 76200"/>
                <a:gd name="connsiteY3" fmla="*/ 44132 h 44450"/>
                <a:gd name="connsiteX4" fmla="*/ 74613 w 76200"/>
                <a:gd name="connsiteY4" fmla="*/ 4476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4613" y="44767"/>
                  </a:moveTo>
                  <a:lnTo>
                    <a:pt x="6667" y="5397"/>
                  </a:lnTo>
                  <a:cubicBezTo>
                    <a:pt x="6032" y="5397"/>
                    <a:pt x="5397" y="4763"/>
                    <a:pt x="4763" y="4763"/>
                  </a:cubicBezTo>
                  <a:lnTo>
                    <a:pt x="72707" y="44132"/>
                  </a:lnTo>
                  <a:cubicBezTo>
                    <a:pt x="73342" y="44132"/>
                    <a:pt x="73978" y="44132"/>
                    <a:pt x="74613" y="4476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6" name="任意多边形: 形状 1705"/>
            <p:cNvSpPr/>
            <p:nvPr/>
          </p:nvSpPr>
          <p:spPr>
            <a:xfrm>
              <a:off x="6517957" y="2062798"/>
              <a:ext cx="76200" cy="44450"/>
            </a:xfrm>
            <a:custGeom>
              <a:avLst/>
              <a:gdLst>
                <a:gd name="connsiteX0" fmla="*/ 77153 w 76200"/>
                <a:gd name="connsiteY0" fmla="*/ 44767 h 44450"/>
                <a:gd name="connsiteX1" fmla="*/ 9208 w 76200"/>
                <a:gd name="connsiteY1" fmla="*/ 5398 h 44450"/>
                <a:gd name="connsiteX2" fmla="*/ 4763 w 76200"/>
                <a:gd name="connsiteY2" fmla="*/ 4763 h 44450"/>
                <a:gd name="connsiteX3" fmla="*/ 72708 w 76200"/>
                <a:gd name="connsiteY3" fmla="*/ 44132 h 44450"/>
                <a:gd name="connsiteX4" fmla="*/ 77153 w 76200"/>
                <a:gd name="connsiteY4" fmla="*/ 44767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7153" y="44767"/>
                  </a:moveTo>
                  <a:lnTo>
                    <a:pt x="9208" y="5398"/>
                  </a:lnTo>
                  <a:cubicBezTo>
                    <a:pt x="7938" y="5398"/>
                    <a:pt x="6033" y="4763"/>
                    <a:pt x="4763" y="4763"/>
                  </a:cubicBezTo>
                  <a:lnTo>
                    <a:pt x="72708" y="44132"/>
                  </a:lnTo>
                  <a:cubicBezTo>
                    <a:pt x="73978" y="44132"/>
                    <a:pt x="75883" y="44767"/>
                    <a:pt x="77153" y="44767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7" name="任意多边形: 形状 1706"/>
            <p:cNvSpPr/>
            <p:nvPr/>
          </p:nvSpPr>
          <p:spPr>
            <a:xfrm>
              <a:off x="6514147" y="2062798"/>
              <a:ext cx="76200" cy="44450"/>
            </a:xfrm>
            <a:custGeom>
              <a:avLst/>
              <a:gdLst>
                <a:gd name="connsiteX0" fmla="*/ 76518 w 76200"/>
                <a:gd name="connsiteY0" fmla="*/ 44132 h 44450"/>
                <a:gd name="connsiteX1" fmla="*/ 8572 w 76200"/>
                <a:gd name="connsiteY1" fmla="*/ 4763 h 44450"/>
                <a:gd name="connsiteX2" fmla="*/ 4763 w 76200"/>
                <a:gd name="connsiteY2" fmla="*/ 4763 h 44450"/>
                <a:gd name="connsiteX3" fmla="*/ 72708 w 76200"/>
                <a:gd name="connsiteY3" fmla="*/ 44132 h 44450"/>
                <a:gd name="connsiteX4" fmla="*/ 76518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6518" y="44132"/>
                  </a:moveTo>
                  <a:lnTo>
                    <a:pt x="8572" y="4763"/>
                  </a:lnTo>
                  <a:cubicBezTo>
                    <a:pt x="7303" y="4763"/>
                    <a:pt x="6033" y="4763"/>
                    <a:pt x="4763" y="4763"/>
                  </a:cubicBezTo>
                  <a:lnTo>
                    <a:pt x="72708" y="44132"/>
                  </a:lnTo>
                  <a:cubicBezTo>
                    <a:pt x="73978" y="44132"/>
                    <a:pt x="75247" y="44132"/>
                    <a:pt x="7651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8" name="任意多边形: 形状 1707"/>
            <p:cNvSpPr/>
            <p:nvPr/>
          </p:nvSpPr>
          <p:spPr>
            <a:xfrm>
              <a:off x="6510338" y="2062798"/>
              <a:ext cx="76200" cy="44450"/>
            </a:xfrm>
            <a:custGeom>
              <a:avLst/>
              <a:gdLst>
                <a:gd name="connsiteX0" fmla="*/ 76518 w 76200"/>
                <a:gd name="connsiteY0" fmla="*/ 44132 h 44450"/>
                <a:gd name="connsiteX1" fmla="*/ 8572 w 76200"/>
                <a:gd name="connsiteY1" fmla="*/ 4763 h 44450"/>
                <a:gd name="connsiteX2" fmla="*/ 4763 w 76200"/>
                <a:gd name="connsiteY2" fmla="*/ 4763 h 44450"/>
                <a:gd name="connsiteX3" fmla="*/ 72707 w 76200"/>
                <a:gd name="connsiteY3" fmla="*/ 44132 h 44450"/>
                <a:gd name="connsiteX4" fmla="*/ 76518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6518" y="44132"/>
                  </a:moveTo>
                  <a:lnTo>
                    <a:pt x="8572" y="4763"/>
                  </a:lnTo>
                  <a:cubicBezTo>
                    <a:pt x="7303" y="4763"/>
                    <a:pt x="6032" y="4763"/>
                    <a:pt x="4763" y="4763"/>
                  </a:cubicBezTo>
                  <a:lnTo>
                    <a:pt x="72707" y="44132"/>
                  </a:lnTo>
                  <a:cubicBezTo>
                    <a:pt x="73978" y="44132"/>
                    <a:pt x="75247" y="44132"/>
                    <a:pt x="7651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9" name="任意多边形: 形状 1708"/>
            <p:cNvSpPr/>
            <p:nvPr/>
          </p:nvSpPr>
          <p:spPr>
            <a:xfrm>
              <a:off x="6506528" y="2062798"/>
              <a:ext cx="76200" cy="44450"/>
            </a:xfrm>
            <a:custGeom>
              <a:avLst/>
              <a:gdLst>
                <a:gd name="connsiteX0" fmla="*/ 76517 w 76200"/>
                <a:gd name="connsiteY0" fmla="*/ 44132 h 44450"/>
                <a:gd name="connsiteX1" fmla="*/ 8572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7 h 44450"/>
                <a:gd name="connsiteX4" fmla="*/ 76517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6517" y="44132"/>
                  </a:moveTo>
                  <a:lnTo>
                    <a:pt x="8572" y="4763"/>
                  </a:lnTo>
                  <a:cubicBezTo>
                    <a:pt x="7303" y="4763"/>
                    <a:pt x="6032" y="4763"/>
                    <a:pt x="4763" y="5398"/>
                  </a:cubicBezTo>
                  <a:lnTo>
                    <a:pt x="72707" y="44767"/>
                  </a:lnTo>
                  <a:cubicBezTo>
                    <a:pt x="73978" y="44132"/>
                    <a:pt x="75247" y="44132"/>
                    <a:pt x="76517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0" name="任意多边形: 形状 1709"/>
            <p:cNvSpPr/>
            <p:nvPr/>
          </p:nvSpPr>
          <p:spPr>
            <a:xfrm>
              <a:off x="6503353" y="2062798"/>
              <a:ext cx="76200" cy="44450"/>
            </a:xfrm>
            <a:custGeom>
              <a:avLst/>
              <a:gdLst>
                <a:gd name="connsiteX0" fmla="*/ 75882 w 76200"/>
                <a:gd name="connsiteY0" fmla="*/ 44132 h 44450"/>
                <a:gd name="connsiteX1" fmla="*/ 7938 w 76200"/>
                <a:gd name="connsiteY1" fmla="*/ 4763 h 44450"/>
                <a:gd name="connsiteX2" fmla="*/ 4763 w 76200"/>
                <a:gd name="connsiteY2" fmla="*/ 5398 h 44450"/>
                <a:gd name="connsiteX3" fmla="*/ 72707 w 76200"/>
                <a:gd name="connsiteY3" fmla="*/ 44767 h 44450"/>
                <a:gd name="connsiteX4" fmla="*/ 75882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2" y="44132"/>
                  </a:moveTo>
                  <a:lnTo>
                    <a:pt x="7938" y="4763"/>
                  </a:lnTo>
                  <a:cubicBezTo>
                    <a:pt x="6667" y="4763"/>
                    <a:pt x="5397" y="5398"/>
                    <a:pt x="4763" y="5398"/>
                  </a:cubicBezTo>
                  <a:lnTo>
                    <a:pt x="72707" y="44767"/>
                  </a:lnTo>
                  <a:cubicBezTo>
                    <a:pt x="73342" y="44767"/>
                    <a:pt x="74613" y="44767"/>
                    <a:pt x="7588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1" name="任意多边形: 形状 1710"/>
            <p:cNvSpPr/>
            <p:nvPr/>
          </p:nvSpPr>
          <p:spPr>
            <a:xfrm>
              <a:off x="6499543" y="2063433"/>
              <a:ext cx="76200" cy="44450"/>
            </a:xfrm>
            <a:custGeom>
              <a:avLst/>
              <a:gdLst>
                <a:gd name="connsiteX0" fmla="*/ 75882 w 76200"/>
                <a:gd name="connsiteY0" fmla="*/ 44132 h 44450"/>
                <a:gd name="connsiteX1" fmla="*/ 7938 w 76200"/>
                <a:gd name="connsiteY1" fmla="*/ 4763 h 44450"/>
                <a:gd name="connsiteX2" fmla="*/ 4763 w 76200"/>
                <a:gd name="connsiteY2" fmla="*/ 5397 h 44450"/>
                <a:gd name="connsiteX3" fmla="*/ 72707 w 76200"/>
                <a:gd name="connsiteY3" fmla="*/ 44767 h 44450"/>
                <a:gd name="connsiteX4" fmla="*/ 75882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2" y="44132"/>
                  </a:moveTo>
                  <a:lnTo>
                    <a:pt x="7938" y="4763"/>
                  </a:lnTo>
                  <a:cubicBezTo>
                    <a:pt x="6667" y="4763"/>
                    <a:pt x="6032" y="5397"/>
                    <a:pt x="4763" y="5397"/>
                  </a:cubicBezTo>
                  <a:lnTo>
                    <a:pt x="72707" y="44767"/>
                  </a:lnTo>
                  <a:cubicBezTo>
                    <a:pt x="73977" y="44767"/>
                    <a:pt x="75247" y="44767"/>
                    <a:pt x="7588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2" name="任意多边形: 形状 1711"/>
            <p:cNvSpPr/>
            <p:nvPr/>
          </p:nvSpPr>
          <p:spPr>
            <a:xfrm>
              <a:off x="6496367" y="2064702"/>
              <a:ext cx="76200" cy="44450"/>
            </a:xfrm>
            <a:custGeom>
              <a:avLst/>
              <a:gdLst>
                <a:gd name="connsiteX0" fmla="*/ 75883 w 76200"/>
                <a:gd name="connsiteY0" fmla="*/ 44133 h 44450"/>
                <a:gd name="connsiteX1" fmla="*/ 7938 w 76200"/>
                <a:gd name="connsiteY1" fmla="*/ 4763 h 44450"/>
                <a:gd name="connsiteX2" fmla="*/ 4763 w 76200"/>
                <a:gd name="connsiteY2" fmla="*/ 5398 h 44450"/>
                <a:gd name="connsiteX3" fmla="*/ 72708 w 76200"/>
                <a:gd name="connsiteY3" fmla="*/ 44768 h 44450"/>
                <a:gd name="connsiteX4" fmla="*/ 75883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4763"/>
                    <a:pt x="6033" y="5398"/>
                    <a:pt x="4763" y="5398"/>
                  </a:cubicBezTo>
                  <a:lnTo>
                    <a:pt x="72708" y="44768"/>
                  </a:lnTo>
                  <a:cubicBezTo>
                    <a:pt x="73977" y="44133"/>
                    <a:pt x="74613" y="44133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3" name="任意多边形: 形状 1712"/>
            <p:cNvSpPr/>
            <p:nvPr/>
          </p:nvSpPr>
          <p:spPr>
            <a:xfrm>
              <a:off x="6493192" y="2065338"/>
              <a:ext cx="76200" cy="44450"/>
            </a:xfrm>
            <a:custGeom>
              <a:avLst/>
              <a:gdLst>
                <a:gd name="connsiteX0" fmla="*/ 75883 w 76200"/>
                <a:gd name="connsiteY0" fmla="*/ 44133 h 44450"/>
                <a:gd name="connsiteX1" fmla="*/ 7938 w 76200"/>
                <a:gd name="connsiteY1" fmla="*/ 4763 h 44450"/>
                <a:gd name="connsiteX2" fmla="*/ 4763 w 76200"/>
                <a:gd name="connsiteY2" fmla="*/ 6033 h 44450"/>
                <a:gd name="connsiteX3" fmla="*/ 72708 w 76200"/>
                <a:gd name="connsiteY3" fmla="*/ 45402 h 44450"/>
                <a:gd name="connsiteX4" fmla="*/ 75883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5398"/>
                    <a:pt x="6033" y="5398"/>
                    <a:pt x="4763" y="6033"/>
                  </a:cubicBezTo>
                  <a:lnTo>
                    <a:pt x="72708" y="45402"/>
                  </a:lnTo>
                  <a:cubicBezTo>
                    <a:pt x="73977" y="44767"/>
                    <a:pt x="74613" y="44133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4" name="任意多边形: 形状 1713"/>
            <p:cNvSpPr/>
            <p:nvPr/>
          </p:nvSpPr>
          <p:spPr>
            <a:xfrm>
              <a:off x="6490017" y="2066608"/>
              <a:ext cx="76200" cy="44450"/>
            </a:xfrm>
            <a:custGeom>
              <a:avLst/>
              <a:gdLst>
                <a:gd name="connsiteX0" fmla="*/ 75883 w 76200"/>
                <a:gd name="connsiteY0" fmla="*/ 44132 h 44450"/>
                <a:gd name="connsiteX1" fmla="*/ 7938 w 76200"/>
                <a:gd name="connsiteY1" fmla="*/ 4763 h 44450"/>
                <a:gd name="connsiteX2" fmla="*/ 4763 w 76200"/>
                <a:gd name="connsiteY2" fmla="*/ 6032 h 44450"/>
                <a:gd name="connsiteX3" fmla="*/ 72708 w 76200"/>
                <a:gd name="connsiteY3" fmla="*/ 45402 h 44450"/>
                <a:gd name="connsiteX4" fmla="*/ 7588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132"/>
                  </a:moveTo>
                  <a:lnTo>
                    <a:pt x="7938" y="4763"/>
                  </a:lnTo>
                  <a:cubicBezTo>
                    <a:pt x="6667" y="5397"/>
                    <a:pt x="6033" y="5397"/>
                    <a:pt x="4763" y="6032"/>
                  </a:cubicBezTo>
                  <a:lnTo>
                    <a:pt x="72708" y="45402"/>
                  </a:lnTo>
                  <a:cubicBezTo>
                    <a:pt x="73977" y="44767"/>
                    <a:pt x="74613" y="44132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5" name="任意多边形: 形状 1714"/>
            <p:cNvSpPr/>
            <p:nvPr/>
          </p:nvSpPr>
          <p:spPr>
            <a:xfrm>
              <a:off x="6486842" y="2067877"/>
              <a:ext cx="76200" cy="44450"/>
            </a:xfrm>
            <a:custGeom>
              <a:avLst/>
              <a:gdLst>
                <a:gd name="connsiteX0" fmla="*/ 75883 w 76200"/>
                <a:gd name="connsiteY0" fmla="*/ 44133 h 44450"/>
                <a:gd name="connsiteX1" fmla="*/ 7938 w 76200"/>
                <a:gd name="connsiteY1" fmla="*/ 4763 h 44450"/>
                <a:gd name="connsiteX2" fmla="*/ 4763 w 76200"/>
                <a:gd name="connsiteY2" fmla="*/ 6033 h 44450"/>
                <a:gd name="connsiteX3" fmla="*/ 72708 w 76200"/>
                <a:gd name="connsiteY3" fmla="*/ 45402 h 44450"/>
                <a:gd name="connsiteX4" fmla="*/ 75883 w 76200"/>
                <a:gd name="connsiteY4" fmla="*/ 4413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5398"/>
                    <a:pt x="6033" y="5398"/>
                    <a:pt x="4763" y="6033"/>
                  </a:cubicBezTo>
                  <a:lnTo>
                    <a:pt x="72708" y="45402"/>
                  </a:lnTo>
                  <a:cubicBezTo>
                    <a:pt x="73342" y="44768"/>
                    <a:pt x="74613" y="44133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6" name="任意多边形: 形状 1715"/>
            <p:cNvSpPr/>
            <p:nvPr/>
          </p:nvSpPr>
          <p:spPr>
            <a:xfrm>
              <a:off x="6483667" y="2069148"/>
              <a:ext cx="76200" cy="44450"/>
            </a:xfrm>
            <a:custGeom>
              <a:avLst/>
              <a:gdLst>
                <a:gd name="connsiteX0" fmla="*/ 75883 w 76200"/>
                <a:gd name="connsiteY0" fmla="*/ 44132 h 44450"/>
                <a:gd name="connsiteX1" fmla="*/ 7938 w 76200"/>
                <a:gd name="connsiteY1" fmla="*/ 4763 h 44450"/>
                <a:gd name="connsiteX2" fmla="*/ 4763 w 76200"/>
                <a:gd name="connsiteY2" fmla="*/ 6032 h 44450"/>
                <a:gd name="connsiteX3" fmla="*/ 72708 w 76200"/>
                <a:gd name="connsiteY3" fmla="*/ 45402 h 44450"/>
                <a:gd name="connsiteX4" fmla="*/ 75883 w 76200"/>
                <a:gd name="connsiteY4" fmla="*/ 4413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44450">
                  <a:moveTo>
                    <a:pt x="75883" y="44132"/>
                  </a:moveTo>
                  <a:lnTo>
                    <a:pt x="7938" y="4763"/>
                  </a:lnTo>
                  <a:cubicBezTo>
                    <a:pt x="6667" y="5398"/>
                    <a:pt x="6033" y="6032"/>
                    <a:pt x="4763" y="6032"/>
                  </a:cubicBezTo>
                  <a:lnTo>
                    <a:pt x="72708" y="45402"/>
                  </a:lnTo>
                  <a:cubicBezTo>
                    <a:pt x="73342" y="44767"/>
                    <a:pt x="74613" y="44132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7" name="任意多边形: 形状 1716"/>
            <p:cNvSpPr/>
            <p:nvPr/>
          </p:nvSpPr>
          <p:spPr>
            <a:xfrm>
              <a:off x="6480492" y="2070417"/>
              <a:ext cx="76200" cy="50800"/>
            </a:xfrm>
            <a:custGeom>
              <a:avLst/>
              <a:gdLst>
                <a:gd name="connsiteX0" fmla="*/ 75883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6668 h 50800"/>
                <a:gd name="connsiteX3" fmla="*/ 72708 w 76200"/>
                <a:gd name="connsiteY3" fmla="*/ 46038 h 50800"/>
                <a:gd name="connsiteX4" fmla="*/ 7588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5398"/>
                    <a:pt x="6033" y="6033"/>
                    <a:pt x="4763" y="6668"/>
                  </a:cubicBezTo>
                  <a:lnTo>
                    <a:pt x="72708" y="46038"/>
                  </a:lnTo>
                  <a:cubicBezTo>
                    <a:pt x="73342" y="45403"/>
                    <a:pt x="74613" y="44768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8" name="任意多边形: 形状 1717"/>
            <p:cNvSpPr/>
            <p:nvPr/>
          </p:nvSpPr>
          <p:spPr>
            <a:xfrm>
              <a:off x="6476683" y="2072323"/>
              <a:ext cx="76200" cy="50800"/>
            </a:xfrm>
            <a:custGeom>
              <a:avLst/>
              <a:gdLst>
                <a:gd name="connsiteX0" fmla="*/ 75883 w 76200"/>
                <a:gd name="connsiteY0" fmla="*/ 44132 h 50800"/>
                <a:gd name="connsiteX1" fmla="*/ 7938 w 76200"/>
                <a:gd name="connsiteY1" fmla="*/ 4763 h 50800"/>
                <a:gd name="connsiteX2" fmla="*/ 5397 w 76200"/>
                <a:gd name="connsiteY2" fmla="*/ 6032 h 50800"/>
                <a:gd name="connsiteX3" fmla="*/ 4763 w 76200"/>
                <a:gd name="connsiteY3" fmla="*/ 6667 h 50800"/>
                <a:gd name="connsiteX4" fmla="*/ 72708 w 76200"/>
                <a:gd name="connsiteY4" fmla="*/ 46038 h 50800"/>
                <a:gd name="connsiteX5" fmla="*/ 73342 w 76200"/>
                <a:gd name="connsiteY5" fmla="*/ 45402 h 50800"/>
                <a:gd name="connsiteX6" fmla="*/ 75883 w 76200"/>
                <a:gd name="connsiteY6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50800">
                  <a:moveTo>
                    <a:pt x="75883" y="44132"/>
                  </a:moveTo>
                  <a:lnTo>
                    <a:pt x="7938" y="4763"/>
                  </a:lnTo>
                  <a:cubicBezTo>
                    <a:pt x="7302" y="5398"/>
                    <a:pt x="6033" y="5398"/>
                    <a:pt x="5397" y="6032"/>
                  </a:cubicBezTo>
                  <a:cubicBezTo>
                    <a:pt x="5397" y="6032"/>
                    <a:pt x="4763" y="6032"/>
                    <a:pt x="4763" y="6667"/>
                  </a:cubicBezTo>
                  <a:lnTo>
                    <a:pt x="72708" y="46038"/>
                  </a:lnTo>
                  <a:cubicBezTo>
                    <a:pt x="72708" y="46038"/>
                    <a:pt x="73342" y="46038"/>
                    <a:pt x="73342" y="45402"/>
                  </a:cubicBezTo>
                  <a:cubicBezTo>
                    <a:pt x="74612" y="44767"/>
                    <a:pt x="75248" y="44767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9" name="任意多边形: 形状 1718"/>
            <p:cNvSpPr/>
            <p:nvPr/>
          </p:nvSpPr>
          <p:spPr>
            <a:xfrm>
              <a:off x="6473508" y="2074227"/>
              <a:ext cx="76200" cy="50800"/>
            </a:xfrm>
            <a:custGeom>
              <a:avLst/>
              <a:gdLst>
                <a:gd name="connsiteX0" fmla="*/ 75883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6668 h 50800"/>
                <a:gd name="connsiteX3" fmla="*/ 72708 w 76200"/>
                <a:gd name="connsiteY3" fmla="*/ 46038 h 50800"/>
                <a:gd name="connsiteX4" fmla="*/ 7588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5398"/>
                    <a:pt x="5397" y="6033"/>
                    <a:pt x="4763" y="6668"/>
                  </a:cubicBezTo>
                  <a:lnTo>
                    <a:pt x="72708" y="46038"/>
                  </a:lnTo>
                  <a:cubicBezTo>
                    <a:pt x="73977" y="45402"/>
                    <a:pt x="74612" y="44768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0" name="任意多边形: 形状 1719"/>
            <p:cNvSpPr/>
            <p:nvPr/>
          </p:nvSpPr>
          <p:spPr>
            <a:xfrm>
              <a:off x="6470333" y="2076133"/>
              <a:ext cx="76200" cy="50800"/>
            </a:xfrm>
            <a:custGeom>
              <a:avLst/>
              <a:gdLst>
                <a:gd name="connsiteX0" fmla="*/ 75883 w 76200"/>
                <a:gd name="connsiteY0" fmla="*/ 44132 h 50800"/>
                <a:gd name="connsiteX1" fmla="*/ 7938 w 76200"/>
                <a:gd name="connsiteY1" fmla="*/ 4763 h 50800"/>
                <a:gd name="connsiteX2" fmla="*/ 4763 w 76200"/>
                <a:gd name="connsiteY2" fmla="*/ 7302 h 50800"/>
                <a:gd name="connsiteX3" fmla="*/ 72708 w 76200"/>
                <a:gd name="connsiteY3" fmla="*/ 46672 h 50800"/>
                <a:gd name="connsiteX4" fmla="*/ 7588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2"/>
                  </a:moveTo>
                  <a:lnTo>
                    <a:pt x="7938" y="4763"/>
                  </a:lnTo>
                  <a:cubicBezTo>
                    <a:pt x="6667" y="5397"/>
                    <a:pt x="5397" y="6032"/>
                    <a:pt x="4763" y="7302"/>
                  </a:cubicBezTo>
                  <a:lnTo>
                    <a:pt x="72708" y="46672"/>
                  </a:lnTo>
                  <a:cubicBezTo>
                    <a:pt x="73342" y="45402"/>
                    <a:pt x="74612" y="44767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1" name="任意多边形: 形状 1720"/>
            <p:cNvSpPr/>
            <p:nvPr/>
          </p:nvSpPr>
          <p:spPr>
            <a:xfrm>
              <a:off x="6465888" y="2078673"/>
              <a:ext cx="76200" cy="50800"/>
            </a:xfrm>
            <a:custGeom>
              <a:avLst/>
              <a:gdLst>
                <a:gd name="connsiteX0" fmla="*/ 76518 w 76200"/>
                <a:gd name="connsiteY0" fmla="*/ 44132 h 50800"/>
                <a:gd name="connsiteX1" fmla="*/ 8572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651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8" y="44132"/>
                  </a:moveTo>
                  <a:lnTo>
                    <a:pt x="8572" y="4763"/>
                  </a:lnTo>
                  <a:cubicBezTo>
                    <a:pt x="7303" y="5398"/>
                    <a:pt x="6033" y="6667"/>
                    <a:pt x="4763" y="7302"/>
                  </a:cubicBezTo>
                  <a:lnTo>
                    <a:pt x="72707" y="46673"/>
                  </a:lnTo>
                  <a:cubicBezTo>
                    <a:pt x="74613" y="45402"/>
                    <a:pt x="75247" y="44767"/>
                    <a:pt x="7651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2" name="任意多边形: 形状 1721"/>
            <p:cNvSpPr/>
            <p:nvPr/>
          </p:nvSpPr>
          <p:spPr>
            <a:xfrm>
              <a:off x="6462713" y="2081213"/>
              <a:ext cx="76200" cy="50800"/>
            </a:xfrm>
            <a:custGeom>
              <a:avLst/>
              <a:gdLst>
                <a:gd name="connsiteX0" fmla="*/ 76518 w 76200"/>
                <a:gd name="connsiteY0" fmla="*/ 44133 h 50800"/>
                <a:gd name="connsiteX1" fmla="*/ 8572 w 76200"/>
                <a:gd name="connsiteY1" fmla="*/ 4763 h 50800"/>
                <a:gd name="connsiteX2" fmla="*/ 4763 w 76200"/>
                <a:gd name="connsiteY2" fmla="*/ 7302 h 50800"/>
                <a:gd name="connsiteX3" fmla="*/ 72707 w 76200"/>
                <a:gd name="connsiteY3" fmla="*/ 46673 h 50800"/>
                <a:gd name="connsiteX4" fmla="*/ 7651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8" y="44133"/>
                  </a:moveTo>
                  <a:lnTo>
                    <a:pt x="8572" y="4763"/>
                  </a:lnTo>
                  <a:cubicBezTo>
                    <a:pt x="7303" y="5398"/>
                    <a:pt x="6033" y="6667"/>
                    <a:pt x="4763" y="7302"/>
                  </a:cubicBezTo>
                  <a:lnTo>
                    <a:pt x="72707" y="46673"/>
                  </a:lnTo>
                  <a:cubicBezTo>
                    <a:pt x="73978" y="45402"/>
                    <a:pt x="75247" y="44767"/>
                    <a:pt x="7651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3" name="任意多边形: 形状 1722"/>
            <p:cNvSpPr/>
            <p:nvPr/>
          </p:nvSpPr>
          <p:spPr>
            <a:xfrm>
              <a:off x="6458903" y="2083752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2 w 76200"/>
                <a:gd name="connsiteY1" fmla="*/ 4763 h 50800"/>
                <a:gd name="connsiteX2" fmla="*/ 4763 w 76200"/>
                <a:gd name="connsiteY2" fmla="*/ 7938 h 50800"/>
                <a:gd name="connsiteX3" fmla="*/ 72707 w 76200"/>
                <a:gd name="connsiteY3" fmla="*/ 47308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2" y="4763"/>
                  </a:lnTo>
                  <a:cubicBezTo>
                    <a:pt x="7302" y="6033"/>
                    <a:pt x="6032" y="6668"/>
                    <a:pt x="4763" y="7938"/>
                  </a:cubicBezTo>
                  <a:lnTo>
                    <a:pt x="72707" y="47308"/>
                  </a:lnTo>
                  <a:cubicBezTo>
                    <a:pt x="73978" y="46038"/>
                    <a:pt x="75247" y="44768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4" name="任意多边形: 形状 1723"/>
            <p:cNvSpPr/>
            <p:nvPr/>
          </p:nvSpPr>
          <p:spPr>
            <a:xfrm>
              <a:off x="6455092" y="2086927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3 w 76200"/>
                <a:gd name="connsiteY1" fmla="*/ 4763 h 50800"/>
                <a:gd name="connsiteX2" fmla="*/ 4763 w 76200"/>
                <a:gd name="connsiteY2" fmla="*/ 7938 h 50800"/>
                <a:gd name="connsiteX3" fmla="*/ 72708 w 76200"/>
                <a:gd name="connsiteY3" fmla="*/ 47308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3" y="4763"/>
                  </a:lnTo>
                  <a:cubicBezTo>
                    <a:pt x="7303" y="6033"/>
                    <a:pt x="6033" y="6668"/>
                    <a:pt x="4763" y="7938"/>
                  </a:cubicBezTo>
                  <a:lnTo>
                    <a:pt x="72708" y="47308"/>
                  </a:lnTo>
                  <a:cubicBezTo>
                    <a:pt x="74613" y="46038"/>
                    <a:pt x="75248" y="44768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5" name="任意多边形: 形状 1724"/>
            <p:cNvSpPr/>
            <p:nvPr/>
          </p:nvSpPr>
          <p:spPr>
            <a:xfrm>
              <a:off x="6451917" y="2090102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3 w 76200"/>
                <a:gd name="connsiteY1" fmla="*/ 4763 h 50800"/>
                <a:gd name="connsiteX2" fmla="*/ 4763 w 76200"/>
                <a:gd name="connsiteY2" fmla="*/ 7938 h 50800"/>
                <a:gd name="connsiteX3" fmla="*/ 72708 w 76200"/>
                <a:gd name="connsiteY3" fmla="*/ 47308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3" y="4763"/>
                  </a:lnTo>
                  <a:cubicBezTo>
                    <a:pt x="7303" y="6033"/>
                    <a:pt x="6033" y="6668"/>
                    <a:pt x="4763" y="7938"/>
                  </a:cubicBezTo>
                  <a:lnTo>
                    <a:pt x="72708" y="47308"/>
                  </a:lnTo>
                  <a:cubicBezTo>
                    <a:pt x="73977" y="46038"/>
                    <a:pt x="75248" y="44768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6" name="任意多边形: 形状 1725"/>
            <p:cNvSpPr/>
            <p:nvPr/>
          </p:nvSpPr>
          <p:spPr>
            <a:xfrm>
              <a:off x="6448742" y="2093277"/>
              <a:ext cx="76200" cy="50800"/>
            </a:xfrm>
            <a:custGeom>
              <a:avLst/>
              <a:gdLst>
                <a:gd name="connsiteX0" fmla="*/ 75883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7938 h 50800"/>
                <a:gd name="connsiteX3" fmla="*/ 72708 w 76200"/>
                <a:gd name="connsiteY3" fmla="*/ 47308 h 50800"/>
                <a:gd name="connsiteX4" fmla="*/ 7588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6033"/>
                    <a:pt x="5398" y="7302"/>
                    <a:pt x="4763" y="7938"/>
                  </a:cubicBezTo>
                  <a:lnTo>
                    <a:pt x="72708" y="47308"/>
                  </a:lnTo>
                  <a:cubicBezTo>
                    <a:pt x="73977" y="46038"/>
                    <a:pt x="74613" y="44768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7" name="任意多边形: 形状 1726"/>
            <p:cNvSpPr/>
            <p:nvPr/>
          </p:nvSpPr>
          <p:spPr>
            <a:xfrm>
              <a:off x="6445567" y="2096452"/>
              <a:ext cx="76200" cy="50800"/>
            </a:xfrm>
            <a:custGeom>
              <a:avLst/>
              <a:gdLst>
                <a:gd name="connsiteX0" fmla="*/ 75883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7938 h 50800"/>
                <a:gd name="connsiteX3" fmla="*/ 72708 w 76200"/>
                <a:gd name="connsiteY3" fmla="*/ 47308 h 50800"/>
                <a:gd name="connsiteX4" fmla="*/ 7588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6033"/>
                    <a:pt x="6033" y="7302"/>
                    <a:pt x="4763" y="7938"/>
                  </a:cubicBezTo>
                  <a:lnTo>
                    <a:pt x="72708" y="47308"/>
                  </a:lnTo>
                  <a:cubicBezTo>
                    <a:pt x="73342" y="46673"/>
                    <a:pt x="74613" y="45402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8" name="任意多边形: 形状 1727"/>
            <p:cNvSpPr/>
            <p:nvPr/>
          </p:nvSpPr>
          <p:spPr>
            <a:xfrm>
              <a:off x="6442392" y="2099627"/>
              <a:ext cx="76200" cy="50800"/>
            </a:xfrm>
            <a:custGeom>
              <a:avLst/>
              <a:gdLst>
                <a:gd name="connsiteX0" fmla="*/ 75883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7938 h 50800"/>
                <a:gd name="connsiteX3" fmla="*/ 72708 w 76200"/>
                <a:gd name="connsiteY3" fmla="*/ 47308 h 50800"/>
                <a:gd name="connsiteX4" fmla="*/ 7588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6033"/>
                    <a:pt x="6033" y="7302"/>
                    <a:pt x="4763" y="7938"/>
                  </a:cubicBezTo>
                  <a:lnTo>
                    <a:pt x="72708" y="47308"/>
                  </a:lnTo>
                  <a:cubicBezTo>
                    <a:pt x="73342" y="46673"/>
                    <a:pt x="74613" y="45402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9" name="任意多边形: 形状 1728"/>
            <p:cNvSpPr/>
            <p:nvPr/>
          </p:nvSpPr>
          <p:spPr>
            <a:xfrm>
              <a:off x="6439217" y="2103438"/>
              <a:ext cx="76200" cy="50800"/>
            </a:xfrm>
            <a:custGeom>
              <a:avLst/>
              <a:gdLst>
                <a:gd name="connsiteX0" fmla="*/ 75883 w 76200"/>
                <a:gd name="connsiteY0" fmla="*/ 44133 h 50800"/>
                <a:gd name="connsiteX1" fmla="*/ 7938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588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3"/>
                  </a:moveTo>
                  <a:lnTo>
                    <a:pt x="7938" y="4763"/>
                  </a:lnTo>
                  <a:cubicBezTo>
                    <a:pt x="6667" y="6033"/>
                    <a:pt x="6033" y="7302"/>
                    <a:pt x="4763" y="8573"/>
                  </a:cubicBezTo>
                  <a:lnTo>
                    <a:pt x="72708" y="47942"/>
                  </a:lnTo>
                  <a:cubicBezTo>
                    <a:pt x="73342" y="46673"/>
                    <a:pt x="74613" y="45402"/>
                    <a:pt x="7588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0" name="任意多边形: 形状 1729"/>
            <p:cNvSpPr/>
            <p:nvPr/>
          </p:nvSpPr>
          <p:spPr>
            <a:xfrm>
              <a:off x="6436042" y="2107248"/>
              <a:ext cx="76200" cy="50800"/>
            </a:xfrm>
            <a:custGeom>
              <a:avLst/>
              <a:gdLst>
                <a:gd name="connsiteX0" fmla="*/ 75883 w 76200"/>
                <a:gd name="connsiteY0" fmla="*/ 44132 h 50800"/>
                <a:gd name="connsiteX1" fmla="*/ 7938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588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2"/>
                  </a:moveTo>
                  <a:lnTo>
                    <a:pt x="7938" y="4763"/>
                  </a:lnTo>
                  <a:cubicBezTo>
                    <a:pt x="6667" y="6032"/>
                    <a:pt x="6033" y="7302"/>
                    <a:pt x="4763" y="8573"/>
                  </a:cubicBezTo>
                  <a:lnTo>
                    <a:pt x="72708" y="47942"/>
                  </a:lnTo>
                  <a:cubicBezTo>
                    <a:pt x="73977" y="46038"/>
                    <a:pt x="74613" y="44767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1" name="任意多边形: 形状 1730"/>
            <p:cNvSpPr/>
            <p:nvPr/>
          </p:nvSpPr>
          <p:spPr>
            <a:xfrm>
              <a:off x="6432867" y="2110423"/>
              <a:ext cx="76200" cy="50800"/>
            </a:xfrm>
            <a:custGeom>
              <a:avLst/>
              <a:gdLst>
                <a:gd name="connsiteX0" fmla="*/ 75883 w 76200"/>
                <a:gd name="connsiteY0" fmla="*/ 44132 h 50800"/>
                <a:gd name="connsiteX1" fmla="*/ 7938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588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5883" y="44132"/>
                  </a:moveTo>
                  <a:lnTo>
                    <a:pt x="7938" y="4763"/>
                  </a:lnTo>
                  <a:cubicBezTo>
                    <a:pt x="6667" y="6032"/>
                    <a:pt x="5398" y="7938"/>
                    <a:pt x="4763" y="9207"/>
                  </a:cubicBezTo>
                  <a:lnTo>
                    <a:pt x="72708" y="48577"/>
                  </a:lnTo>
                  <a:cubicBezTo>
                    <a:pt x="73342" y="47307"/>
                    <a:pt x="74613" y="46038"/>
                    <a:pt x="7588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2" name="任意多边形: 形状 1731"/>
            <p:cNvSpPr/>
            <p:nvPr/>
          </p:nvSpPr>
          <p:spPr>
            <a:xfrm>
              <a:off x="6427788" y="2115502"/>
              <a:ext cx="82550" cy="50800"/>
            </a:xfrm>
            <a:custGeom>
              <a:avLst/>
              <a:gdLst>
                <a:gd name="connsiteX0" fmla="*/ 77788 w 82550"/>
                <a:gd name="connsiteY0" fmla="*/ 44133 h 50800"/>
                <a:gd name="connsiteX1" fmla="*/ 9842 w 82550"/>
                <a:gd name="connsiteY1" fmla="*/ 4763 h 50800"/>
                <a:gd name="connsiteX2" fmla="*/ 4763 w 82550"/>
                <a:gd name="connsiteY2" fmla="*/ 11748 h 50800"/>
                <a:gd name="connsiteX3" fmla="*/ 72708 w 82550"/>
                <a:gd name="connsiteY3" fmla="*/ 51118 h 50800"/>
                <a:gd name="connsiteX4" fmla="*/ 77788 w 8255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0800">
                  <a:moveTo>
                    <a:pt x="77788" y="44133"/>
                  </a:moveTo>
                  <a:lnTo>
                    <a:pt x="9842" y="4763"/>
                  </a:lnTo>
                  <a:cubicBezTo>
                    <a:pt x="7938" y="7302"/>
                    <a:pt x="6667" y="9208"/>
                    <a:pt x="4763" y="11748"/>
                  </a:cubicBezTo>
                  <a:lnTo>
                    <a:pt x="72708" y="51118"/>
                  </a:lnTo>
                  <a:cubicBezTo>
                    <a:pt x="73978" y="48577"/>
                    <a:pt x="75882" y="46038"/>
                    <a:pt x="7778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3" name="任意多边形: 形状 1732"/>
            <p:cNvSpPr/>
            <p:nvPr/>
          </p:nvSpPr>
          <p:spPr>
            <a:xfrm>
              <a:off x="6421438" y="2121852"/>
              <a:ext cx="82550" cy="57150"/>
            </a:xfrm>
            <a:custGeom>
              <a:avLst/>
              <a:gdLst>
                <a:gd name="connsiteX0" fmla="*/ 79058 w 82550"/>
                <a:gd name="connsiteY0" fmla="*/ 44133 h 57150"/>
                <a:gd name="connsiteX1" fmla="*/ 11113 w 82550"/>
                <a:gd name="connsiteY1" fmla="*/ 4763 h 57150"/>
                <a:gd name="connsiteX2" fmla="*/ 4763 w 82550"/>
                <a:gd name="connsiteY2" fmla="*/ 14923 h 57150"/>
                <a:gd name="connsiteX3" fmla="*/ 72708 w 82550"/>
                <a:gd name="connsiteY3" fmla="*/ 54293 h 57150"/>
                <a:gd name="connsiteX4" fmla="*/ 79058 w 82550"/>
                <a:gd name="connsiteY4" fmla="*/ 4413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550" h="57150">
                  <a:moveTo>
                    <a:pt x="79058" y="44133"/>
                  </a:moveTo>
                  <a:lnTo>
                    <a:pt x="11113" y="4763"/>
                  </a:lnTo>
                  <a:cubicBezTo>
                    <a:pt x="9208" y="7938"/>
                    <a:pt x="6667" y="11113"/>
                    <a:pt x="4763" y="14923"/>
                  </a:cubicBezTo>
                  <a:lnTo>
                    <a:pt x="72708" y="54293"/>
                  </a:lnTo>
                  <a:cubicBezTo>
                    <a:pt x="74613" y="51118"/>
                    <a:pt x="77153" y="47943"/>
                    <a:pt x="7905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4" name="任意多边形: 形状 1733"/>
            <p:cNvSpPr/>
            <p:nvPr/>
          </p:nvSpPr>
          <p:spPr>
            <a:xfrm>
              <a:off x="6417628" y="2132013"/>
              <a:ext cx="76200" cy="50800"/>
            </a:xfrm>
            <a:custGeom>
              <a:avLst/>
              <a:gdLst>
                <a:gd name="connsiteX0" fmla="*/ 76517 w 76200"/>
                <a:gd name="connsiteY0" fmla="*/ 44133 h 50800"/>
                <a:gd name="connsiteX1" fmla="*/ 8572 w 76200"/>
                <a:gd name="connsiteY1" fmla="*/ 4763 h 50800"/>
                <a:gd name="connsiteX2" fmla="*/ 4763 w 76200"/>
                <a:gd name="connsiteY2" fmla="*/ 11748 h 50800"/>
                <a:gd name="connsiteX3" fmla="*/ 72707 w 76200"/>
                <a:gd name="connsiteY3" fmla="*/ 51117 h 50800"/>
                <a:gd name="connsiteX4" fmla="*/ 7651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6517" y="44133"/>
                  </a:moveTo>
                  <a:lnTo>
                    <a:pt x="8572" y="4763"/>
                  </a:lnTo>
                  <a:cubicBezTo>
                    <a:pt x="7302" y="6667"/>
                    <a:pt x="6032" y="9208"/>
                    <a:pt x="4763" y="11748"/>
                  </a:cubicBezTo>
                  <a:lnTo>
                    <a:pt x="72707" y="51117"/>
                  </a:lnTo>
                  <a:cubicBezTo>
                    <a:pt x="73977" y="48577"/>
                    <a:pt x="75247" y="46673"/>
                    <a:pt x="7651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5" name="任意多边形: 形状 1734"/>
            <p:cNvSpPr/>
            <p:nvPr/>
          </p:nvSpPr>
          <p:spPr>
            <a:xfrm>
              <a:off x="6415722" y="2138998"/>
              <a:ext cx="76200" cy="50800"/>
            </a:xfrm>
            <a:custGeom>
              <a:avLst/>
              <a:gdLst>
                <a:gd name="connsiteX0" fmla="*/ 74613 w 76200"/>
                <a:gd name="connsiteY0" fmla="*/ 44132 h 50800"/>
                <a:gd name="connsiteX1" fmla="*/ 6668 w 76200"/>
                <a:gd name="connsiteY1" fmla="*/ 4763 h 50800"/>
                <a:gd name="connsiteX2" fmla="*/ 4763 w 76200"/>
                <a:gd name="connsiteY2" fmla="*/ 9207 h 50800"/>
                <a:gd name="connsiteX3" fmla="*/ 72708 w 76200"/>
                <a:gd name="connsiteY3" fmla="*/ 48577 h 50800"/>
                <a:gd name="connsiteX4" fmla="*/ 7461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2"/>
                  </a:moveTo>
                  <a:lnTo>
                    <a:pt x="6668" y="4763"/>
                  </a:lnTo>
                  <a:cubicBezTo>
                    <a:pt x="6033" y="6032"/>
                    <a:pt x="5398" y="7302"/>
                    <a:pt x="4763" y="9207"/>
                  </a:cubicBezTo>
                  <a:lnTo>
                    <a:pt x="72708" y="48577"/>
                  </a:lnTo>
                  <a:cubicBezTo>
                    <a:pt x="73343" y="46673"/>
                    <a:pt x="73978" y="45402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6" name="任意多边形: 形状 1735"/>
            <p:cNvSpPr/>
            <p:nvPr/>
          </p:nvSpPr>
          <p:spPr>
            <a:xfrm>
              <a:off x="6413817" y="2142808"/>
              <a:ext cx="76200" cy="50800"/>
            </a:xfrm>
            <a:custGeom>
              <a:avLst/>
              <a:gdLst>
                <a:gd name="connsiteX0" fmla="*/ 74613 w 76200"/>
                <a:gd name="connsiteY0" fmla="*/ 44132 h 50800"/>
                <a:gd name="connsiteX1" fmla="*/ 6667 w 76200"/>
                <a:gd name="connsiteY1" fmla="*/ 4763 h 50800"/>
                <a:gd name="connsiteX2" fmla="*/ 4763 w 76200"/>
                <a:gd name="connsiteY2" fmla="*/ 8572 h 50800"/>
                <a:gd name="connsiteX3" fmla="*/ 72708 w 76200"/>
                <a:gd name="connsiteY3" fmla="*/ 47942 h 50800"/>
                <a:gd name="connsiteX4" fmla="*/ 74613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2"/>
                  </a:moveTo>
                  <a:lnTo>
                    <a:pt x="6667" y="4763"/>
                  </a:lnTo>
                  <a:cubicBezTo>
                    <a:pt x="6033" y="6032"/>
                    <a:pt x="5398" y="7302"/>
                    <a:pt x="4763" y="8572"/>
                  </a:cubicBezTo>
                  <a:lnTo>
                    <a:pt x="72708" y="47942"/>
                  </a:lnTo>
                  <a:cubicBezTo>
                    <a:pt x="73342" y="47307"/>
                    <a:pt x="73978" y="45402"/>
                    <a:pt x="74613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7" name="任意多边形: 形状 1736"/>
            <p:cNvSpPr/>
            <p:nvPr/>
          </p:nvSpPr>
          <p:spPr>
            <a:xfrm>
              <a:off x="6411913" y="2147252"/>
              <a:ext cx="76200" cy="50800"/>
            </a:xfrm>
            <a:custGeom>
              <a:avLst/>
              <a:gdLst>
                <a:gd name="connsiteX0" fmla="*/ 74613 w 76200"/>
                <a:gd name="connsiteY0" fmla="*/ 44133 h 50800"/>
                <a:gd name="connsiteX1" fmla="*/ 6667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461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4613" y="44133"/>
                  </a:moveTo>
                  <a:lnTo>
                    <a:pt x="6667" y="4763"/>
                  </a:lnTo>
                  <a:cubicBezTo>
                    <a:pt x="6033" y="6033"/>
                    <a:pt x="5397" y="7302"/>
                    <a:pt x="4763" y="8573"/>
                  </a:cubicBezTo>
                  <a:lnTo>
                    <a:pt x="72708" y="47943"/>
                  </a:lnTo>
                  <a:cubicBezTo>
                    <a:pt x="73342" y="46673"/>
                    <a:pt x="73978" y="45402"/>
                    <a:pt x="7461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8" name="任意多边形: 形状 1737"/>
            <p:cNvSpPr/>
            <p:nvPr/>
          </p:nvSpPr>
          <p:spPr>
            <a:xfrm>
              <a:off x="6410642" y="2150427"/>
              <a:ext cx="76200" cy="50800"/>
            </a:xfrm>
            <a:custGeom>
              <a:avLst/>
              <a:gdLst>
                <a:gd name="connsiteX0" fmla="*/ 73978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397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3"/>
                  </a:moveTo>
                  <a:lnTo>
                    <a:pt x="6033" y="4763"/>
                  </a:lnTo>
                  <a:cubicBezTo>
                    <a:pt x="5398" y="6033"/>
                    <a:pt x="4763" y="7302"/>
                    <a:pt x="4763" y="8573"/>
                  </a:cubicBezTo>
                  <a:lnTo>
                    <a:pt x="72708" y="47943"/>
                  </a:lnTo>
                  <a:cubicBezTo>
                    <a:pt x="72708" y="46673"/>
                    <a:pt x="73342" y="45402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9" name="任意多边形: 形状 1738"/>
            <p:cNvSpPr/>
            <p:nvPr/>
          </p:nvSpPr>
          <p:spPr>
            <a:xfrm>
              <a:off x="6409372" y="2154238"/>
              <a:ext cx="76200" cy="50800"/>
            </a:xfrm>
            <a:custGeom>
              <a:avLst/>
              <a:gdLst>
                <a:gd name="connsiteX0" fmla="*/ 73978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397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3"/>
                  </a:moveTo>
                  <a:lnTo>
                    <a:pt x="6033" y="4763"/>
                  </a:lnTo>
                  <a:cubicBezTo>
                    <a:pt x="5398" y="6033"/>
                    <a:pt x="4763" y="7302"/>
                    <a:pt x="4763" y="8573"/>
                  </a:cubicBezTo>
                  <a:lnTo>
                    <a:pt x="72708" y="47942"/>
                  </a:lnTo>
                  <a:cubicBezTo>
                    <a:pt x="72708" y="46673"/>
                    <a:pt x="73343" y="45402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0" name="任意多边形: 形状 1739"/>
            <p:cNvSpPr/>
            <p:nvPr/>
          </p:nvSpPr>
          <p:spPr>
            <a:xfrm>
              <a:off x="6407467" y="2158048"/>
              <a:ext cx="76200" cy="50800"/>
            </a:xfrm>
            <a:custGeom>
              <a:avLst/>
              <a:gdLst>
                <a:gd name="connsiteX0" fmla="*/ 73978 w 76200"/>
                <a:gd name="connsiteY0" fmla="*/ 44132 h 50800"/>
                <a:gd name="connsiteX1" fmla="*/ 603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397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2"/>
                  </a:moveTo>
                  <a:lnTo>
                    <a:pt x="6033" y="4763"/>
                  </a:lnTo>
                  <a:cubicBezTo>
                    <a:pt x="5398" y="6032"/>
                    <a:pt x="5398" y="7302"/>
                    <a:pt x="4763" y="8573"/>
                  </a:cubicBezTo>
                  <a:lnTo>
                    <a:pt x="72708" y="47942"/>
                  </a:lnTo>
                  <a:cubicBezTo>
                    <a:pt x="73342" y="46673"/>
                    <a:pt x="73978" y="45402"/>
                    <a:pt x="7397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1" name="任意多边形: 形状 1740"/>
            <p:cNvSpPr/>
            <p:nvPr/>
          </p:nvSpPr>
          <p:spPr>
            <a:xfrm>
              <a:off x="6406197" y="2161858"/>
              <a:ext cx="76200" cy="50800"/>
            </a:xfrm>
            <a:custGeom>
              <a:avLst/>
              <a:gdLst>
                <a:gd name="connsiteX0" fmla="*/ 73978 w 76200"/>
                <a:gd name="connsiteY0" fmla="*/ 44132 h 50800"/>
                <a:gd name="connsiteX1" fmla="*/ 6033 w 76200"/>
                <a:gd name="connsiteY1" fmla="*/ 4763 h 50800"/>
                <a:gd name="connsiteX2" fmla="*/ 4763 w 76200"/>
                <a:gd name="connsiteY2" fmla="*/ 8572 h 50800"/>
                <a:gd name="connsiteX3" fmla="*/ 72708 w 76200"/>
                <a:gd name="connsiteY3" fmla="*/ 47942 h 50800"/>
                <a:gd name="connsiteX4" fmla="*/ 7397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2"/>
                  </a:moveTo>
                  <a:lnTo>
                    <a:pt x="6033" y="4763"/>
                  </a:lnTo>
                  <a:cubicBezTo>
                    <a:pt x="5398" y="6032"/>
                    <a:pt x="5398" y="7302"/>
                    <a:pt x="4763" y="8572"/>
                  </a:cubicBezTo>
                  <a:lnTo>
                    <a:pt x="72708" y="47942"/>
                  </a:lnTo>
                  <a:cubicBezTo>
                    <a:pt x="73343" y="46672"/>
                    <a:pt x="73343" y="45402"/>
                    <a:pt x="7397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2" name="任意多边形: 形状 1741"/>
            <p:cNvSpPr/>
            <p:nvPr/>
          </p:nvSpPr>
          <p:spPr>
            <a:xfrm>
              <a:off x="6404928" y="2165667"/>
              <a:ext cx="76200" cy="50800"/>
            </a:xfrm>
            <a:custGeom>
              <a:avLst/>
              <a:gdLst>
                <a:gd name="connsiteX0" fmla="*/ 73977 w 76200"/>
                <a:gd name="connsiteY0" fmla="*/ 44133 h 50800"/>
                <a:gd name="connsiteX1" fmla="*/ 6032 w 76200"/>
                <a:gd name="connsiteY1" fmla="*/ 4763 h 50800"/>
                <a:gd name="connsiteX2" fmla="*/ 4763 w 76200"/>
                <a:gd name="connsiteY2" fmla="*/ 8573 h 50800"/>
                <a:gd name="connsiteX3" fmla="*/ 72707 w 76200"/>
                <a:gd name="connsiteY3" fmla="*/ 47943 h 50800"/>
                <a:gd name="connsiteX4" fmla="*/ 7397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7" y="44133"/>
                  </a:moveTo>
                  <a:lnTo>
                    <a:pt x="6032" y="4763"/>
                  </a:lnTo>
                  <a:cubicBezTo>
                    <a:pt x="5397" y="6033"/>
                    <a:pt x="5397" y="7303"/>
                    <a:pt x="4763" y="8573"/>
                  </a:cubicBezTo>
                  <a:lnTo>
                    <a:pt x="72707" y="47943"/>
                  </a:lnTo>
                  <a:cubicBezTo>
                    <a:pt x="73342" y="46673"/>
                    <a:pt x="73342" y="45403"/>
                    <a:pt x="7397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3" name="任意多边形: 形状 1742"/>
            <p:cNvSpPr/>
            <p:nvPr/>
          </p:nvSpPr>
          <p:spPr>
            <a:xfrm>
              <a:off x="6403658" y="2169477"/>
              <a:ext cx="76200" cy="50800"/>
            </a:xfrm>
            <a:custGeom>
              <a:avLst/>
              <a:gdLst>
                <a:gd name="connsiteX0" fmla="*/ 73977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3977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7" y="44133"/>
                  </a:moveTo>
                  <a:lnTo>
                    <a:pt x="6033" y="4763"/>
                  </a:lnTo>
                  <a:cubicBezTo>
                    <a:pt x="5397" y="6033"/>
                    <a:pt x="5397" y="7302"/>
                    <a:pt x="4763" y="8573"/>
                  </a:cubicBezTo>
                  <a:lnTo>
                    <a:pt x="72708" y="47943"/>
                  </a:lnTo>
                  <a:cubicBezTo>
                    <a:pt x="73342" y="46673"/>
                    <a:pt x="73977" y="45402"/>
                    <a:pt x="73977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4" name="任意多边形: 形状 1743"/>
            <p:cNvSpPr/>
            <p:nvPr/>
          </p:nvSpPr>
          <p:spPr>
            <a:xfrm>
              <a:off x="6402388" y="2173288"/>
              <a:ext cx="76200" cy="50800"/>
            </a:xfrm>
            <a:custGeom>
              <a:avLst/>
              <a:gdLst>
                <a:gd name="connsiteX0" fmla="*/ 73978 w 76200"/>
                <a:gd name="connsiteY0" fmla="*/ 44133 h 50800"/>
                <a:gd name="connsiteX1" fmla="*/ 603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397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978" y="44133"/>
                  </a:moveTo>
                  <a:lnTo>
                    <a:pt x="6033" y="4763"/>
                  </a:lnTo>
                  <a:cubicBezTo>
                    <a:pt x="5397" y="6033"/>
                    <a:pt x="5397" y="7302"/>
                    <a:pt x="4763" y="8573"/>
                  </a:cubicBezTo>
                  <a:lnTo>
                    <a:pt x="72708" y="47942"/>
                  </a:lnTo>
                  <a:cubicBezTo>
                    <a:pt x="73342" y="46673"/>
                    <a:pt x="73978" y="45402"/>
                    <a:pt x="7397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5" name="任意多边形: 形状 1744"/>
            <p:cNvSpPr/>
            <p:nvPr/>
          </p:nvSpPr>
          <p:spPr>
            <a:xfrm>
              <a:off x="6402388" y="2177098"/>
              <a:ext cx="76200" cy="50800"/>
            </a:xfrm>
            <a:custGeom>
              <a:avLst/>
              <a:gdLst>
                <a:gd name="connsiteX0" fmla="*/ 73342 w 76200"/>
                <a:gd name="connsiteY0" fmla="*/ 44132 h 50800"/>
                <a:gd name="connsiteX1" fmla="*/ 5397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3342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2"/>
                  </a:moveTo>
                  <a:lnTo>
                    <a:pt x="5397" y="4763"/>
                  </a:lnTo>
                  <a:cubicBezTo>
                    <a:pt x="4763" y="6032"/>
                    <a:pt x="4763" y="7302"/>
                    <a:pt x="4763" y="8573"/>
                  </a:cubicBezTo>
                  <a:lnTo>
                    <a:pt x="72708" y="47942"/>
                  </a:lnTo>
                  <a:cubicBezTo>
                    <a:pt x="72708" y="46673"/>
                    <a:pt x="72708" y="45402"/>
                    <a:pt x="7334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6" name="任意多边形: 形状 1745"/>
            <p:cNvSpPr/>
            <p:nvPr/>
          </p:nvSpPr>
          <p:spPr>
            <a:xfrm>
              <a:off x="6401117" y="2180908"/>
              <a:ext cx="76200" cy="50800"/>
            </a:xfrm>
            <a:custGeom>
              <a:avLst/>
              <a:gdLst>
                <a:gd name="connsiteX0" fmla="*/ 73342 w 76200"/>
                <a:gd name="connsiteY0" fmla="*/ 44132 h 50800"/>
                <a:gd name="connsiteX1" fmla="*/ 5398 w 76200"/>
                <a:gd name="connsiteY1" fmla="*/ 4763 h 50800"/>
                <a:gd name="connsiteX2" fmla="*/ 4763 w 76200"/>
                <a:gd name="connsiteY2" fmla="*/ 8572 h 50800"/>
                <a:gd name="connsiteX3" fmla="*/ 72708 w 76200"/>
                <a:gd name="connsiteY3" fmla="*/ 47942 h 50800"/>
                <a:gd name="connsiteX4" fmla="*/ 73342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2"/>
                  </a:moveTo>
                  <a:lnTo>
                    <a:pt x="5398" y="4763"/>
                  </a:lnTo>
                  <a:cubicBezTo>
                    <a:pt x="5398" y="6032"/>
                    <a:pt x="4763" y="7302"/>
                    <a:pt x="4763" y="8572"/>
                  </a:cubicBezTo>
                  <a:lnTo>
                    <a:pt x="72708" y="47942"/>
                  </a:lnTo>
                  <a:cubicBezTo>
                    <a:pt x="72708" y="46672"/>
                    <a:pt x="73342" y="45402"/>
                    <a:pt x="73342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7" name="任意多边形: 形状 1746"/>
            <p:cNvSpPr/>
            <p:nvPr/>
          </p:nvSpPr>
          <p:spPr>
            <a:xfrm>
              <a:off x="6400483" y="2184717"/>
              <a:ext cx="76200" cy="50800"/>
            </a:xfrm>
            <a:custGeom>
              <a:avLst/>
              <a:gdLst>
                <a:gd name="connsiteX0" fmla="*/ 73342 w 76200"/>
                <a:gd name="connsiteY0" fmla="*/ 44133 h 50800"/>
                <a:gd name="connsiteX1" fmla="*/ 5397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334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3"/>
                  </a:moveTo>
                  <a:lnTo>
                    <a:pt x="5397" y="4763"/>
                  </a:lnTo>
                  <a:cubicBezTo>
                    <a:pt x="5397" y="6033"/>
                    <a:pt x="4763" y="7303"/>
                    <a:pt x="4763" y="8573"/>
                  </a:cubicBezTo>
                  <a:lnTo>
                    <a:pt x="72708" y="47943"/>
                  </a:lnTo>
                  <a:cubicBezTo>
                    <a:pt x="72708" y="46673"/>
                    <a:pt x="73342" y="45403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8" name="任意多边形: 形状 1747"/>
            <p:cNvSpPr/>
            <p:nvPr/>
          </p:nvSpPr>
          <p:spPr>
            <a:xfrm>
              <a:off x="6399847" y="2188527"/>
              <a:ext cx="76200" cy="50800"/>
            </a:xfrm>
            <a:custGeom>
              <a:avLst/>
              <a:gdLst>
                <a:gd name="connsiteX0" fmla="*/ 73343 w 76200"/>
                <a:gd name="connsiteY0" fmla="*/ 44133 h 50800"/>
                <a:gd name="connsiteX1" fmla="*/ 5398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3 h 50800"/>
                <a:gd name="connsiteX4" fmla="*/ 73343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3" y="44133"/>
                  </a:moveTo>
                  <a:lnTo>
                    <a:pt x="5398" y="4763"/>
                  </a:lnTo>
                  <a:cubicBezTo>
                    <a:pt x="5398" y="6033"/>
                    <a:pt x="4763" y="7302"/>
                    <a:pt x="4763" y="8573"/>
                  </a:cubicBezTo>
                  <a:lnTo>
                    <a:pt x="72708" y="47943"/>
                  </a:lnTo>
                  <a:cubicBezTo>
                    <a:pt x="72708" y="46673"/>
                    <a:pt x="73343" y="45402"/>
                    <a:pt x="73343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9" name="任意多边形: 形状 1748"/>
            <p:cNvSpPr/>
            <p:nvPr/>
          </p:nvSpPr>
          <p:spPr>
            <a:xfrm>
              <a:off x="6399213" y="2192338"/>
              <a:ext cx="76200" cy="50800"/>
            </a:xfrm>
            <a:custGeom>
              <a:avLst/>
              <a:gdLst>
                <a:gd name="connsiteX0" fmla="*/ 73342 w 76200"/>
                <a:gd name="connsiteY0" fmla="*/ 44133 h 50800"/>
                <a:gd name="connsiteX1" fmla="*/ 5397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3342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3342" y="44133"/>
                  </a:moveTo>
                  <a:lnTo>
                    <a:pt x="5397" y="4763"/>
                  </a:lnTo>
                  <a:cubicBezTo>
                    <a:pt x="5397" y="6033"/>
                    <a:pt x="5397" y="7302"/>
                    <a:pt x="4763" y="8573"/>
                  </a:cubicBezTo>
                  <a:lnTo>
                    <a:pt x="72708" y="47942"/>
                  </a:lnTo>
                  <a:cubicBezTo>
                    <a:pt x="73342" y="46673"/>
                    <a:pt x="73342" y="45402"/>
                    <a:pt x="73342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0" name="任意多边形: 形状 1749"/>
            <p:cNvSpPr/>
            <p:nvPr/>
          </p:nvSpPr>
          <p:spPr>
            <a:xfrm>
              <a:off x="6399847" y="2196148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7302"/>
                    <a:pt x="4763" y="8573"/>
                  </a:cubicBezTo>
                  <a:lnTo>
                    <a:pt x="72708" y="47942"/>
                  </a:lnTo>
                  <a:cubicBezTo>
                    <a:pt x="72073" y="46673"/>
                    <a:pt x="72073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1" name="任意多边形: 形状 1750"/>
            <p:cNvSpPr/>
            <p:nvPr/>
          </p:nvSpPr>
          <p:spPr>
            <a:xfrm>
              <a:off x="6399213" y="2199323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4763 w 76200"/>
                <a:gd name="connsiteY2" fmla="*/ 8573 h 50800"/>
                <a:gd name="connsiteX3" fmla="*/ 72708 w 76200"/>
                <a:gd name="connsiteY3" fmla="*/ 47942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7302"/>
                    <a:pt x="4763" y="8573"/>
                  </a:cubicBezTo>
                  <a:lnTo>
                    <a:pt x="72708" y="47942"/>
                  </a:lnTo>
                  <a:cubicBezTo>
                    <a:pt x="72708" y="46673"/>
                    <a:pt x="72708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2" name="任意多边形: 形状 1751"/>
            <p:cNvSpPr/>
            <p:nvPr/>
          </p:nvSpPr>
          <p:spPr>
            <a:xfrm>
              <a:off x="6399213" y="2203133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4763 w 76200"/>
                <a:gd name="connsiteY2" fmla="*/ 7938 h 50800"/>
                <a:gd name="connsiteX3" fmla="*/ 4763 w 76200"/>
                <a:gd name="connsiteY3" fmla="*/ 7938 h 50800"/>
                <a:gd name="connsiteX4" fmla="*/ 72708 w 76200"/>
                <a:gd name="connsiteY4" fmla="*/ 47307 h 50800"/>
                <a:gd name="connsiteX5" fmla="*/ 72708 w 76200"/>
                <a:gd name="connsiteY5" fmla="*/ 47307 h 50800"/>
                <a:gd name="connsiteX6" fmla="*/ 72708 w 76200"/>
                <a:gd name="connsiteY6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6667"/>
                    <a:pt x="4763" y="7938"/>
                  </a:cubicBezTo>
                  <a:cubicBezTo>
                    <a:pt x="4763" y="7938"/>
                    <a:pt x="4763" y="7938"/>
                    <a:pt x="4763" y="7938"/>
                  </a:cubicBezTo>
                  <a:lnTo>
                    <a:pt x="72708" y="47307"/>
                  </a:lnTo>
                  <a:cubicBezTo>
                    <a:pt x="72708" y="47307"/>
                    <a:pt x="72708" y="47307"/>
                    <a:pt x="72708" y="47307"/>
                  </a:cubicBezTo>
                  <a:cubicBezTo>
                    <a:pt x="72708" y="46672"/>
                    <a:pt x="72708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3" name="任意多边形: 形状 1752"/>
            <p:cNvSpPr/>
            <p:nvPr/>
          </p:nvSpPr>
          <p:spPr>
            <a:xfrm>
              <a:off x="6399213" y="2206942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4763 w 76200"/>
                <a:gd name="connsiteY2" fmla="*/ 7303 h 50800"/>
                <a:gd name="connsiteX3" fmla="*/ 72708 w 76200"/>
                <a:gd name="connsiteY3" fmla="*/ 46673 h 50800"/>
                <a:gd name="connsiteX4" fmla="*/ 7270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4763" y="6033"/>
                    <a:pt x="4763" y="6668"/>
                    <a:pt x="4763" y="7303"/>
                  </a:cubicBezTo>
                  <a:lnTo>
                    <a:pt x="72708" y="46673"/>
                  </a:lnTo>
                  <a:cubicBezTo>
                    <a:pt x="72708" y="46038"/>
                    <a:pt x="72708" y="44768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4" name="任意多边形: 形状 1753"/>
            <p:cNvSpPr/>
            <p:nvPr/>
          </p:nvSpPr>
          <p:spPr>
            <a:xfrm>
              <a:off x="6399213" y="2209483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4763 w 76200"/>
                <a:gd name="connsiteY2" fmla="*/ 7938 h 50800"/>
                <a:gd name="connsiteX3" fmla="*/ 72708 w 76200"/>
                <a:gd name="connsiteY3" fmla="*/ 47307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6667"/>
                    <a:pt x="4763" y="7938"/>
                  </a:cubicBezTo>
                  <a:lnTo>
                    <a:pt x="72708" y="47307"/>
                  </a:lnTo>
                  <a:cubicBezTo>
                    <a:pt x="72708" y="46038"/>
                    <a:pt x="72708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5" name="任意多边形: 形状 1754"/>
            <p:cNvSpPr/>
            <p:nvPr/>
          </p:nvSpPr>
          <p:spPr>
            <a:xfrm>
              <a:off x="6399213" y="2212658"/>
              <a:ext cx="76200" cy="50800"/>
            </a:xfrm>
            <a:custGeom>
              <a:avLst/>
              <a:gdLst>
                <a:gd name="connsiteX0" fmla="*/ 72708 w 76200"/>
                <a:gd name="connsiteY0" fmla="*/ 44132 h 50800"/>
                <a:gd name="connsiteX1" fmla="*/ 4763 w 76200"/>
                <a:gd name="connsiteY1" fmla="*/ 4763 h 50800"/>
                <a:gd name="connsiteX2" fmla="*/ 5397 w 76200"/>
                <a:gd name="connsiteY2" fmla="*/ 8572 h 50800"/>
                <a:gd name="connsiteX3" fmla="*/ 73342 w 76200"/>
                <a:gd name="connsiteY3" fmla="*/ 47942 h 50800"/>
                <a:gd name="connsiteX4" fmla="*/ 72708 w 76200"/>
                <a:gd name="connsiteY4" fmla="*/ 44132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2"/>
                  </a:moveTo>
                  <a:lnTo>
                    <a:pt x="4763" y="4763"/>
                  </a:lnTo>
                  <a:cubicBezTo>
                    <a:pt x="4763" y="6032"/>
                    <a:pt x="4763" y="7302"/>
                    <a:pt x="5397" y="8572"/>
                  </a:cubicBezTo>
                  <a:lnTo>
                    <a:pt x="73342" y="47942"/>
                  </a:lnTo>
                  <a:cubicBezTo>
                    <a:pt x="73342" y="46672"/>
                    <a:pt x="72708" y="45402"/>
                    <a:pt x="72708" y="44132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6" name="任意多边形: 形状 1755"/>
            <p:cNvSpPr/>
            <p:nvPr/>
          </p:nvSpPr>
          <p:spPr>
            <a:xfrm>
              <a:off x="6399847" y="2216467"/>
              <a:ext cx="76200" cy="50800"/>
            </a:xfrm>
            <a:custGeom>
              <a:avLst/>
              <a:gdLst>
                <a:gd name="connsiteX0" fmla="*/ 72708 w 76200"/>
                <a:gd name="connsiteY0" fmla="*/ 44133 h 50800"/>
                <a:gd name="connsiteX1" fmla="*/ 4763 w 76200"/>
                <a:gd name="connsiteY1" fmla="*/ 4763 h 50800"/>
                <a:gd name="connsiteX2" fmla="*/ 4763 w 76200"/>
                <a:gd name="connsiteY2" fmla="*/ 6668 h 50800"/>
                <a:gd name="connsiteX3" fmla="*/ 72708 w 76200"/>
                <a:gd name="connsiteY3" fmla="*/ 46038 h 50800"/>
                <a:gd name="connsiteX4" fmla="*/ 72708 w 76200"/>
                <a:gd name="connsiteY4" fmla="*/ 4413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50800">
                  <a:moveTo>
                    <a:pt x="72708" y="44133"/>
                  </a:moveTo>
                  <a:lnTo>
                    <a:pt x="4763" y="4763"/>
                  </a:lnTo>
                  <a:cubicBezTo>
                    <a:pt x="4763" y="5398"/>
                    <a:pt x="4763" y="6033"/>
                    <a:pt x="4763" y="6668"/>
                  </a:cubicBezTo>
                  <a:lnTo>
                    <a:pt x="72708" y="46038"/>
                  </a:lnTo>
                  <a:cubicBezTo>
                    <a:pt x="72708" y="45403"/>
                    <a:pt x="72708" y="44768"/>
                    <a:pt x="72708" y="44133"/>
                  </a:cubicBezTo>
                </a:path>
              </a:pathLst>
            </a:custGeom>
            <a:solidFill>
              <a:srgbClr val="A9C1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7" name="任意多边形: 形状 1756"/>
            <p:cNvSpPr/>
            <p:nvPr/>
          </p:nvSpPr>
          <p:spPr>
            <a:xfrm>
              <a:off x="6396663" y="1899914"/>
              <a:ext cx="673100" cy="565150"/>
            </a:xfrm>
            <a:custGeom>
              <a:avLst/>
              <a:gdLst>
                <a:gd name="connsiteX0" fmla="*/ 331162 w 673100"/>
                <a:gd name="connsiteY0" fmla="*/ 24136 h 565150"/>
                <a:gd name="connsiteX1" fmla="*/ 200987 w 673100"/>
                <a:gd name="connsiteY1" fmla="*/ 208286 h 565150"/>
                <a:gd name="connsiteX2" fmla="*/ 153997 w 673100"/>
                <a:gd name="connsiteY2" fmla="*/ 217811 h 565150"/>
                <a:gd name="connsiteX3" fmla="*/ 75257 w 673100"/>
                <a:gd name="connsiteY3" fmla="*/ 350526 h 565150"/>
                <a:gd name="connsiteX4" fmla="*/ 76527 w 673100"/>
                <a:gd name="connsiteY4" fmla="*/ 362591 h 565150"/>
                <a:gd name="connsiteX5" fmla="*/ 4772 w 673100"/>
                <a:gd name="connsiteY5" fmla="*/ 503561 h 565150"/>
                <a:gd name="connsiteX6" fmla="*/ 80972 w 673100"/>
                <a:gd name="connsiteY6" fmla="*/ 559441 h 565150"/>
                <a:gd name="connsiteX7" fmla="*/ 609293 w 673100"/>
                <a:gd name="connsiteY7" fmla="*/ 255911 h 565150"/>
                <a:gd name="connsiteX8" fmla="*/ 620087 w 673100"/>
                <a:gd name="connsiteY8" fmla="*/ 249561 h 565150"/>
                <a:gd name="connsiteX9" fmla="*/ 672793 w 673100"/>
                <a:gd name="connsiteY9" fmla="*/ 160661 h 565150"/>
                <a:gd name="connsiteX10" fmla="*/ 627707 w 673100"/>
                <a:gd name="connsiteY10" fmla="*/ 128911 h 565150"/>
                <a:gd name="connsiteX11" fmla="*/ 630247 w 673100"/>
                <a:gd name="connsiteY11" fmla="*/ 109861 h 565150"/>
                <a:gd name="connsiteX12" fmla="*/ 577543 w 673100"/>
                <a:gd name="connsiteY12" fmla="*/ 81921 h 565150"/>
                <a:gd name="connsiteX13" fmla="*/ 550237 w 673100"/>
                <a:gd name="connsiteY13" fmla="*/ 106686 h 565150"/>
                <a:gd name="connsiteX14" fmla="*/ 493087 w 673100"/>
                <a:gd name="connsiteY14" fmla="*/ 78111 h 565150"/>
                <a:gd name="connsiteX15" fmla="*/ 469593 w 673100"/>
                <a:gd name="connsiteY15" fmla="*/ 97796 h 565150"/>
                <a:gd name="connsiteX16" fmla="*/ 331162 w 673100"/>
                <a:gd name="connsiteY16" fmla="*/ 24136 h 56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73100" h="565150">
                  <a:moveTo>
                    <a:pt x="331162" y="24136"/>
                  </a:moveTo>
                  <a:cubicBezTo>
                    <a:pt x="269568" y="59696"/>
                    <a:pt x="217497" y="135896"/>
                    <a:pt x="200987" y="208286"/>
                  </a:cubicBezTo>
                  <a:cubicBezTo>
                    <a:pt x="187652" y="205111"/>
                    <a:pt x="171777" y="207651"/>
                    <a:pt x="153997" y="217811"/>
                  </a:cubicBezTo>
                  <a:cubicBezTo>
                    <a:pt x="110182" y="243211"/>
                    <a:pt x="75257" y="302266"/>
                    <a:pt x="75257" y="350526"/>
                  </a:cubicBezTo>
                  <a:cubicBezTo>
                    <a:pt x="75257" y="354971"/>
                    <a:pt x="75892" y="358781"/>
                    <a:pt x="76527" y="362591"/>
                  </a:cubicBezTo>
                  <a:cubicBezTo>
                    <a:pt x="35252" y="396246"/>
                    <a:pt x="4137" y="454666"/>
                    <a:pt x="4772" y="503561"/>
                  </a:cubicBezTo>
                  <a:cubicBezTo>
                    <a:pt x="4772" y="553726"/>
                    <a:pt x="37792" y="576586"/>
                    <a:pt x="80972" y="559441"/>
                  </a:cubicBezTo>
                  <a:lnTo>
                    <a:pt x="609293" y="255911"/>
                  </a:lnTo>
                  <a:cubicBezTo>
                    <a:pt x="612468" y="253371"/>
                    <a:pt x="616277" y="252101"/>
                    <a:pt x="620087" y="249561"/>
                  </a:cubicBezTo>
                  <a:cubicBezTo>
                    <a:pt x="649297" y="233051"/>
                    <a:pt x="672793" y="193046"/>
                    <a:pt x="672793" y="160661"/>
                  </a:cubicBezTo>
                  <a:cubicBezTo>
                    <a:pt x="672793" y="131451"/>
                    <a:pt x="653107" y="118116"/>
                    <a:pt x="627707" y="128911"/>
                  </a:cubicBezTo>
                  <a:cubicBezTo>
                    <a:pt x="629612" y="122561"/>
                    <a:pt x="630247" y="115576"/>
                    <a:pt x="630247" y="109861"/>
                  </a:cubicBezTo>
                  <a:cubicBezTo>
                    <a:pt x="630247" y="77476"/>
                    <a:pt x="606752" y="64776"/>
                    <a:pt x="577543" y="81921"/>
                  </a:cubicBezTo>
                  <a:cubicBezTo>
                    <a:pt x="567382" y="87636"/>
                    <a:pt x="557857" y="96526"/>
                    <a:pt x="550237" y="106686"/>
                  </a:cubicBezTo>
                  <a:cubicBezTo>
                    <a:pt x="548968" y="73031"/>
                    <a:pt x="524202" y="60331"/>
                    <a:pt x="493087" y="78111"/>
                  </a:cubicBezTo>
                  <a:cubicBezTo>
                    <a:pt x="484832" y="83191"/>
                    <a:pt x="476577" y="89541"/>
                    <a:pt x="469593" y="97796"/>
                  </a:cubicBezTo>
                  <a:cubicBezTo>
                    <a:pt x="467687" y="13341"/>
                    <a:pt x="406093" y="-19679"/>
                    <a:pt x="331162" y="24136"/>
                  </a:cubicBezTo>
                  <a:close/>
                </a:path>
              </a:pathLst>
            </a:custGeom>
            <a:solidFill>
              <a:srgbClr val="D9E1F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101303" y="2890686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102419" y="378603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7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ACE59EF-1AD2-4D53-B579-94F9C1B44EA0}" type="datetime1">
              <a:rPr lang="zh-CN" altLang="en-US" smtClean="0"/>
              <a:t>2023/7/23</a:t>
            </a:fld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7/23</a:t>
            </a:fld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ACE59EF-1AD2-4D53-B579-94F9C1B44EA0}" type="datetime1">
              <a:rPr lang="zh-CN" altLang="en-US" smtClean="0"/>
              <a:t>2023/7/23</a:t>
            </a:fld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ctrTitle"/>
          </p:nvPr>
        </p:nvSpPr>
        <p:spPr>
          <a:xfrm>
            <a:off x="803275" y="1895475"/>
            <a:ext cx="6069330" cy="1263015"/>
          </a:xfrm>
        </p:spPr>
        <p:txBody>
          <a:bodyPr/>
          <a:lstStyle/>
          <a:p>
            <a:r>
              <a:rPr lang="zh-CN" altLang="en-US" sz="2800" dirty="0">
                <a:latin typeface="+mn-lt"/>
                <a:ea typeface="+mn-ea"/>
                <a:cs typeface="+mn-ea"/>
                <a:sym typeface="+mn-lt"/>
              </a:rPr>
              <a:t>Progress Guard：Team project management platform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/>
          </p:nvPr>
        </p:nvSpPr>
        <p:spPr>
          <a:xfrm>
            <a:off x="885190" y="4251325"/>
            <a:ext cx="3413760" cy="374650"/>
          </a:xfrm>
        </p:spPr>
        <p:txBody>
          <a:bodyPr/>
          <a:lstStyle/>
          <a:p>
            <a:r>
              <a:rPr lang="en-US" altLang="zh-CN" i="1">
                <a:cs typeface="+mn-ea"/>
                <a:sym typeface="+mn-lt"/>
              </a:rPr>
              <a:t>MileStone3：Prototype Walkthrough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885190" y="4780280"/>
            <a:ext cx="3305810" cy="793750"/>
          </a:xfrm>
        </p:spPr>
        <p:txBody>
          <a:bodyPr/>
          <a:lstStyle/>
          <a:p>
            <a:r>
              <a:rPr lang="en-US" altLang="zh-CN" i="1" dirty="0">
                <a:cs typeface="+mn-ea"/>
                <a:sym typeface="+mn-lt"/>
              </a:rPr>
              <a:t>Given By Yang </a:t>
            </a:r>
            <a:r>
              <a:rPr lang="en-US" altLang="zh-CN" i="1" dirty="0" err="1">
                <a:cs typeface="+mn-ea"/>
                <a:sym typeface="+mn-lt"/>
              </a:rPr>
              <a:t>Keyun</a:t>
            </a:r>
            <a:r>
              <a:rPr lang="en-US" altLang="zh-CN" i="1" dirty="0">
                <a:cs typeface="+mn-ea"/>
                <a:sym typeface="+mn-lt"/>
              </a:rPr>
              <a:t>, Zhang </a:t>
            </a:r>
            <a:r>
              <a:rPr lang="en-US" altLang="zh-CN" i="1" dirty="0" err="1">
                <a:cs typeface="+mn-ea"/>
                <a:sym typeface="+mn-lt"/>
              </a:rPr>
              <a:t>Xinbei</a:t>
            </a:r>
            <a:r>
              <a:rPr lang="en-US" altLang="zh-CN" i="1" dirty="0">
                <a:cs typeface="+mn-ea"/>
                <a:sym typeface="+mn-lt"/>
              </a:rPr>
              <a:t>, Chen Yilai, Sun </a:t>
            </a:r>
            <a:r>
              <a:rPr lang="en-US" altLang="zh-CN" i="1" dirty="0" err="1">
                <a:cs typeface="+mn-ea"/>
                <a:sym typeface="+mn-lt"/>
              </a:rPr>
              <a:t>Yufei</a:t>
            </a:r>
            <a:endParaRPr lang="en-US" altLang="zh-CN" i="1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014595" y="2510155"/>
            <a:ext cx="5899150" cy="895350"/>
          </a:xfrm>
        </p:spPr>
        <p:txBody>
          <a:bodyPr>
            <a:normAutofit/>
          </a:bodyPr>
          <a:lstStyle/>
          <a:p>
            <a:pPr algn="ctr"/>
            <a:r>
              <a:rPr lang="en-US" altLang="zh-CN" sz="3200" dirty="0">
                <a:latin typeface="+mn-lt"/>
                <a:ea typeface="+mn-ea"/>
                <a:cs typeface="+mn-ea"/>
                <a:sym typeface="+mn-lt"/>
              </a:rPr>
              <a:t>System video demo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2393559" y="2161628"/>
            <a:ext cx="1790813" cy="1557045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5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9600" dirty="0">
                <a:solidFill>
                  <a:schemeClr val="accent4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dirty="0">
                <a:solidFill>
                  <a:schemeClr val="accent4"/>
                </a:solidFill>
                <a:latin typeface="+mn-lt"/>
                <a:ea typeface="+mn-ea"/>
                <a:cs typeface="+mn-ea"/>
                <a:sym typeface="+mn-lt"/>
              </a:rPr>
            </a:br>
            <a:endParaRPr lang="zh-CN" altLang="en-US" dirty="0">
              <a:solidFill>
                <a:schemeClr val="accent4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4294967295"/>
          </p:nvPr>
        </p:nvSpPr>
        <p:spPr>
          <a:xfrm>
            <a:off x="0" y="6240463"/>
            <a:ext cx="4140200" cy="206375"/>
          </a:xfrm>
        </p:spPr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t>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014413" y="1381707"/>
            <a:ext cx="8932688" cy="4492459"/>
            <a:chOff x="1014413" y="1381707"/>
            <a:chExt cx="8932688" cy="4492459"/>
          </a:xfrm>
        </p:grpSpPr>
        <p:grpSp>
          <p:nvGrpSpPr>
            <p:cNvPr id="6" name="组合 5"/>
            <p:cNvGrpSpPr/>
            <p:nvPr/>
          </p:nvGrpSpPr>
          <p:grpSpPr>
            <a:xfrm>
              <a:off x="1014413" y="2546104"/>
              <a:ext cx="3370411" cy="1037958"/>
              <a:chOff x="-22546" y="2564904"/>
              <a:chExt cx="3370411" cy="1037958"/>
            </a:xfrm>
          </p:grpSpPr>
          <p:grpSp>
            <p:nvGrpSpPr>
              <p:cNvPr id="36" name="组合 35"/>
              <p:cNvGrpSpPr/>
              <p:nvPr/>
            </p:nvGrpSpPr>
            <p:grpSpPr>
              <a:xfrm>
                <a:off x="-22546" y="2564904"/>
                <a:ext cx="3370411" cy="1037958"/>
                <a:chOff x="7453945" y="2930257"/>
                <a:chExt cx="3370411" cy="1037958"/>
              </a:xfrm>
            </p:grpSpPr>
            <p:sp>
              <p:nvSpPr>
                <p:cNvPr id="39" name="文本框 38"/>
                <p:cNvSpPr txBox="1"/>
                <p:nvPr/>
              </p:nvSpPr>
              <p:spPr>
                <a:xfrm>
                  <a:off x="7453945" y="2930257"/>
                  <a:ext cx="3370411" cy="1037958"/>
                </a:xfrm>
                <a:prstGeom prst="rect">
                  <a:avLst/>
                </a:prstGeom>
                <a:noFill/>
                <a:ln w="3175">
                  <a:solidFill>
                    <a:schemeClr val="tx1">
                      <a:lumMod val="40000"/>
                      <a:lumOff val="60000"/>
                    </a:schemeClr>
                  </a:solidFill>
                </a:ln>
              </p:spPr>
              <p:txBody>
                <a:bodyPr wrap="square" lIns="91440" tIns="45720" rIns="91440" bIns="45720">
                  <a:normAutofit fontScale="92500" lnSpcReduction="20000"/>
                </a:bodyPr>
                <a:lstStyle/>
                <a:p>
                  <a:pPr algn="r"/>
                  <a:br>
                    <a:rPr lang="zh-CN" altLang="en-US" sz="2400" b="1" dirty="0">
                      <a:cs typeface="+mn-ea"/>
                      <a:sym typeface="+mn-lt"/>
                    </a:rPr>
                  </a:br>
                  <a:r>
                    <a:rPr lang="en-US" altLang="zh-CN" sz="3500" b="1" dirty="0">
                      <a:cs typeface="+mn-ea"/>
                      <a:sym typeface="+mn-lt"/>
                    </a:rPr>
                    <a:t>CONTENTS</a:t>
                  </a:r>
                  <a:br>
                    <a:rPr lang="zh-CN" altLang="en-US" sz="2400" b="1" dirty="0">
                      <a:cs typeface="+mn-ea"/>
                      <a:sym typeface="+mn-lt"/>
                    </a:rPr>
                  </a:br>
                  <a:endParaRPr lang="zh-CN" altLang="en-US" sz="24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文本框 39"/>
                <p:cNvSpPr txBox="1"/>
                <p:nvPr/>
              </p:nvSpPr>
              <p:spPr>
                <a:xfrm>
                  <a:off x="9024156" y="3545810"/>
                  <a:ext cx="1800200" cy="276999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cxnSp>
            <p:nvCxnSpPr>
              <p:cNvPr id="37" name="直接连接符 36"/>
              <p:cNvCxnSpPr/>
              <p:nvPr/>
            </p:nvCxnSpPr>
            <p:spPr>
              <a:xfrm>
                <a:off x="2309919" y="3566045"/>
                <a:ext cx="46805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组合 6"/>
            <p:cNvGrpSpPr/>
            <p:nvPr/>
          </p:nvGrpSpPr>
          <p:grpSpPr>
            <a:xfrm>
              <a:off x="5467115" y="5249817"/>
              <a:ext cx="4453334" cy="624349"/>
              <a:chOff x="5411924" y="5104545"/>
              <a:chExt cx="4453334" cy="624349"/>
            </a:xfrm>
          </p:grpSpPr>
          <p:sp>
            <p:nvSpPr>
              <p:cNvPr id="32" name="菱形 31"/>
              <p:cNvSpPr/>
              <p:nvPr/>
            </p:nvSpPr>
            <p:spPr>
              <a:xfrm>
                <a:off x="5411924" y="5104545"/>
                <a:ext cx="624349" cy="624349"/>
              </a:xfrm>
              <a:prstGeom prst="diamon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bg1"/>
                    </a:solidFill>
                    <a:cs typeface="+mn-ea"/>
                    <a:sym typeface="+mn-lt"/>
                  </a:rPr>
                  <a:t>05</a:t>
                </a:r>
              </a:p>
            </p:txBody>
          </p:sp>
          <p:sp>
            <p:nvSpPr>
              <p:cNvPr id="34" name="文本框 33"/>
              <p:cNvSpPr txBox="1"/>
              <p:nvPr/>
            </p:nvSpPr>
            <p:spPr>
              <a:xfrm>
                <a:off x="6054069" y="5291099"/>
                <a:ext cx="3811189" cy="32036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anchor="b" anchorCtr="0">
                <a:normAutofit lnSpcReduction="10000"/>
              </a:bodyPr>
              <a:lstStyle/>
              <a:p>
                <a:pPr algn="l"/>
                <a:r>
                  <a:rPr lang="en-US" altLang="zh-CN" sz="1600" b="1" dirty="0">
                    <a:cs typeface="+mn-ea"/>
                    <a:sym typeface="+mn-lt"/>
                  </a:rPr>
                  <a:t>System video demo</a:t>
                </a: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5472554" y="4282789"/>
              <a:ext cx="4447895" cy="624349"/>
              <a:chOff x="5417363" y="4225969"/>
              <a:chExt cx="4447895" cy="624349"/>
            </a:xfrm>
          </p:grpSpPr>
          <p:sp>
            <p:nvSpPr>
              <p:cNvPr id="28" name="菱形 27"/>
              <p:cNvSpPr/>
              <p:nvPr/>
            </p:nvSpPr>
            <p:spPr>
              <a:xfrm>
                <a:off x="5417363" y="4225969"/>
                <a:ext cx="624349" cy="624349"/>
              </a:xfrm>
              <a:prstGeom prst="diamon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bg1"/>
                    </a:solidFill>
                    <a:cs typeface="+mn-ea"/>
                    <a:sym typeface="+mn-lt"/>
                  </a:rPr>
                  <a:t>04</a:t>
                </a:r>
              </a:p>
            </p:txBody>
          </p:sp>
          <p:sp>
            <p:nvSpPr>
              <p:cNvPr id="30" name="文本框 29"/>
              <p:cNvSpPr txBox="1"/>
              <p:nvPr/>
            </p:nvSpPr>
            <p:spPr>
              <a:xfrm>
                <a:off x="6054069" y="4420791"/>
                <a:ext cx="3811189" cy="32036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anchor="b" anchorCtr="0">
                <a:normAutofit lnSpcReduction="10000"/>
              </a:bodyPr>
              <a:lstStyle/>
              <a:p>
                <a:pPr algn="l"/>
                <a:r>
                  <a:rPr lang="en-US" altLang="zh-CN" sz="1600" b="1" dirty="0">
                    <a:cs typeface="+mn-ea"/>
                    <a:sym typeface="+mn-lt"/>
                  </a:rPr>
                  <a:t>Challenge and Solution</a:t>
                </a: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5472554" y="3315761"/>
              <a:ext cx="4456821" cy="624349"/>
              <a:chOff x="5417363" y="3347393"/>
              <a:chExt cx="4456821" cy="624349"/>
            </a:xfrm>
          </p:grpSpPr>
          <p:sp>
            <p:nvSpPr>
              <p:cNvPr id="24" name="菱形 23"/>
              <p:cNvSpPr/>
              <p:nvPr/>
            </p:nvSpPr>
            <p:spPr>
              <a:xfrm>
                <a:off x="5417363" y="3347393"/>
                <a:ext cx="624349" cy="624349"/>
              </a:xfrm>
              <a:prstGeom prst="diamon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bg1"/>
                    </a:solidFill>
                    <a:cs typeface="+mn-ea"/>
                    <a:sym typeface="+mn-lt"/>
                  </a:rPr>
                  <a:t>03</a:t>
                </a:r>
              </a:p>
            </p:txBody>
          </p:sp>
          <p:sp>
            <p:nvSpPr>
              <p:cNvPr id="26" name="文本框 25"/>
              <p:cNvSpPr txBox="1"/>
              <p:nvPr/>
            </p:nvSpPr>
            <p:spPr>
              <a:xfrm>
                <a:off x="6062995" y="3525679"/>
                <a:ext cx="3811189" cy="32036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anchor="b" anchorCtr="0"/>
              <a:lstStyle/>
              <a:p>
                <a:pPr algn="l"/>
                <a:r>
                  <a:rPr lang="en-US" altLang="zh-CN" sz="1600" b="1" dirty="0">
                    <a:cs typeface="+mn-ea"/>
                    <a:sym typeface="+mn-lt"/>
                  </a:rPr>
                  <a:t>Implementation of AI</a:t>
                </a: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5472554" y="2348734"/>
              <a:ext cx="4465765" cy="624349"/>
              <a:chOff x="5417363" y="2468817"/>
              <a:chExt cx="4465765" cy="624349"/>
            </a:xfrm>
          </p:grpSpPr>
          <p:sp>
            <p:nvSpPr>
              <p:cNvPr id="20" name="菱形 19"/>
              <p:cNvSpPr/>
              <p:nvPr/>
            </p:nvSpPr>
            <p:spPr>
              <a:xfrm>
                <a:off x="5417363" y="2468817"/>
                <a:ext cx="624349" cy="624349"/>
              </a:xfrm>
              <a:prstGeom prst="diamond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  <a:cs typeface="+mn-ea"/>
                    <a:sym typeface="+mn-lt"/>
                  </a:rPr>
                  <a:t>02</a:t>
                </a:r>
              </a:p>
            </p:txBody>
          </p:sp>
          <p:sp>
            <p:nvSpPr>
              <p:cNvPr id="22" name="文本框 21"/>
              <p:cNvSpPr txBox="1"/>
              <p:nvPr/>
            </p:nvSpPr>
            <p:spPr>
              <a:xfrm>
                <a:off x="6071939" y="2655371"/>
                <a:ext cx="3811189" cy="32036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anchor="b" anchorCtr="0">
                <a:normAutofit lnSpcReduction="10000"/>
              </a:bodyPr>
              <a:lstStyle/>
              <a:p>
                <a:pPr algn="l"/>
                <a:r>
                  <a:rPr lang="en-US" altLang="zh-CN" sz="1600" b="1" dirty="0">
                    <a:cs typeface="+mn-ea"/>
                    <a:sym typeface="+mn-lt"/>
                  </a:rPr>
                  <a:t>System Contribution</a:t>
                </a: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5472556" y="1381707"/>
              <a:ext cx="4474545" cy="624349"/>
              <a:chOff x="5417365" y="1590241"/>
              <a:chExt cx="4474545" cy="624349"/>
            </a:xfrm>
          </p:grpSpPr>
          <p:sp>
            <p:nvSpPr>
              <p:cNvPr id="16" name="菱形 15"/>
              <p:cNvSpPr/>
              <p:nvPr/>
            </p:nvSpPr>
            <p:spPr>
              <a:xfrm>
                <a:off x="5417365" y="1590241"/>
                <a:ext cx="624349" cy="624349"/>
              </a:xfrm>
              <a:prstGeom prst="diamon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  <a:cs typeface="+mn-ea"/>
                    <a:sym typeface="+mn-lt"/>
                  </a:rPr>
                  <a:t>01</a:t>
                </a:r>
              </a:p>
            </p:txBody>
          </p:sp>
          <p:sp>
            <p:nvSpPr>
              <p:cNvPr id="18" name="文本框 17"/>
              <p:cNvSpPr txBox="1"/>
              <p:nvPr/>
            </p:nvSpPr>
            <p:spPr>
              <a:xfrm>
                <a:off x="6080721" y="1756655"/>
                <a:ext cx="3811189" cy="32036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anchor="b" anchorCtr="0">
                <a:normAutofit lnSpcReduction="10000"/>
              </a:bodyPr>
              <a:lstStyle/>
              <a:p>
                <a:pPr algn="l"/>
                <a:r>
                  <a:rPr lang="en-US" altLang="zh-CN" sz="1600" b="1" dirty="0">
                    <a:cs typeface="+mn-ea"/>
                    <a:sym typeface="+mn-lt"/>
                  </a:rPr>
                  <a:t>System Implementation</a:t>
                </a:r>
              </a:p>
            </p:txBody>
          </p:sp>
        </p:grpSp>
        <p:cxnSp>
          <p:nvCxnSpPr>
            <p:cNvPr id="12" name="直接连接符 11"/>
            <p:cNvCxnSpPr/>
            <p:nvPr/>
          </p:nvCxnSpPr>
          <p:spPr>
            <a:xfrm>
              <a:off x="6210300" y="2133600"/>
              <a:ext cx="35242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/>
            <p:nvPr/>
          </p:nvCxnSpPr>
          <p:spPr>
            <a:xfrm>
              <a:off x="6210300" y="3124200"/>
              <a:ext cx="35242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6210300" y="4114800"/>
              <a:ext cx="35242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>
              <a:off x="6210300" y="5105400"/>
              <a:ext cx="35242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94472" y="2510255"/>
            <a:ext cx="5419185" cy="895350"/>
          </a:xfrm>
        </p:spPr>
        <p:txBody>
          <a:bodyPr>
            <a:normAutofit/>
          </a:bodyPr>
          <a:lstStyle/>
          <a:p>
            <a:pPr algn="ctr"/>
            <a:r>
              <a:rPr lang="en-US" altLang="zh-CN" sz="3200" dirty="0">
                <a:latin typeface="+mn-lt"/>
                <a:ea typeface="+mn-ea"/>
                <a:cs typeface="+mn-ea"/>
                <a:sym typeface="+mn-lt"/>
              </a:rPr>
              <a:t>System Implementation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2393559" y="2161628"/>
            <a:ext cx="1790813" cy="1557045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94472" y="2510255"/>
            <a:ext cx="5419185" cy="895350"/>
          </a:xfrm>
        </p:spPr>
        <p:txBody>
          <a:bodyPr>
            <a:normAutofit/>
          </a:bodyPr>
          <a:lstStyle/>
          <a:p>
            <a:pPr algn="ctr"/>
            <a:r>
              <a:rPr lang="en-US" altLang="zh-CN" sz="3200" dirty="0">
                <a:latin typeface="+mn-lt"/>
                <a:ea typeface="+mn-ea"/>
                <a:cs typeface="+mn-ea"/>
                <a:sym typeface="+mn-lt"/>
              </a:rPr>
              <a:t>System Contribution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2393559" y="2161628"/>
            <a:ext cx="1790813" cy="1557045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014595" y="2510155"/>
            <a:ext cx="5899150" cy="895350"/>
          </a:xfrm>
        </p:spPr>
        <p:txBody>
          <a:bodyPr>
            <a:normAutofit/>
          </a:bodyPr>
          <a:lstStyle/>
          <a:p>
            <a:pPr algn="ctr"/>
            <a:r>
              <a:rPr lang="en-US" altLang="zh-CN" sz="3200" dirty="0">
                <a:latin typeface="+mn-lt"/>
                <a:ea typeface="+mn-ea"/>
                <a:cs typeface="+mn-ea"/>
                <a:sym typeface="+mn-lt"/>
              </a:rPr>
              <a:t>Scalability and Elasticity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2393559" y="2161628"/>
            <a:ext cx="1790813" cy="1557045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altLang="zh-CN" dirty="0"/>
              <a:t>AWS Component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584882" y="6240463"/>
            <a:ext cx="2909888" cy="20638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662819" y="1927255"/>
            <a:ext cx="10866362" cy="3684650"/>
            <a:chOff x="660400" y="2514993"/>
            <a:chExt cx="10866362" cy="3684650"/>
          </a:xfrm>
        </p:grpSpPr>
        <p:grpSp>
          <p:nvGrpSpPr>
            <p:cNvPr id="6" name="组合 5"/>
            <p:cNvGrpSpPr/>
            <p:nvPr/>
          </p:nvGrpSpPr>
          <p:grpSpPr>
            <a:xfrm>
              <a:off x="660400" y="2514993"/>
              <a:ext cx="2623937" cy="3684650"/>
              <a:chOff x="857250" y="2536854"/>
              <a:chExt cx="2623937" cy="3684650"/>
            </a:xfrm>
          </p:grpSpPr>
          <p:grpSp>
            <p:nvGrpSpPr>
              <p:cNvPr id="22" name="组合 21"/>
              <p:cNvGrpSpPr/>
              <p:nvPr/>
            </p:nvGrpSpPr>
            <p:grpSpPr>
              <a:xfrm>
                <a:off x="857250" y="2710361"/>
                <a:ext cx="2623937" cy="3511143"/>
                <a:chOff x="1725168" y="2688335"/>
                <a:chExt cx="2185416" cy="2532470"/>
              </a:xfrm>
            </p:grpSpPr>
            <p:sp>
              <p:nvSpPr>
                <p:cNvPr id="24" name="矩形: 圆角 23"/>
                <p:cNvSpPr/>
                <p:nvPr/>
              </p:nvSpPr>
              <p:spPr>
                <a:xfrm>
                  <a:off x="1725168" y="2688335"/>
                  <a:ext cx="2185416" cy="2532470"/>
                </a:xfrm>
                <a:prstGeom prst="roundRect">
                  <a:avLst>
                    <a:gd name="adj" fmla="val 5535"/>
                  </a:avLst>
                </a:prstGeom>
                <a:solidFill>
                  <a:schemeClr val="accent1">
                    <a:lumMod val="75000"/>
                    <a:alpha val="1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>
                      <a:solidFill>
                        <a:schemeClr val="lt1"/>
                      </a:solidFill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25" name="矩形 24"/>
                <p:cNvSpPr/>
                <p:nvPr/>
              </p:nvSpPr>
              <p:spPr>
                <a:xfrm>
                  <a:off x="1845267" y="3557469"/>
                  <a:ext cx="1901952" cy="1189437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1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alpha val="78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cs"/>
                    </a:rPr>
                    <a:t>Distribute incoming traffic across multiple resources, to ensure high availability and optimal performance.</a:t>
                  </a:r>
                </a:p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1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alpha val="78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cs"/>
                    </a:rPr>
                    <a:t>...</a:t>
                  </a:r>
                </a:p>
              </p:txBody>
            </p:sp>
          </p:grpSp>
          <p:sp>
            <p:nvSpPr>
              <p:cNvPr id="23" name="矩形: 圆顶角 22"/>
              <p:cNvSpPr/>
              <p:nvPr/>
            </p:nvSpPr>
            <p:spPr>
              <a:xfrm>
                <a:off x="1001448" y="2536854"/>
                <a:ext cx="2283594" cy="493209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>
                <a:defPPr>
                  <a:defRPr lang="zh-CN">
                    <a:solidFill>
                      <a:schemeClr val="lt1"/>
                    </a:solidFill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Elastic Load Balancer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3407875" y="2514994"/>
              <a:ext cx="2623937" cy="3672302"/>
              <a:chOff x="857250" y="2549202"/>
              <a:chExt cx="2623937" cy="3672302"/>
            </a:xfrm>
          </p:grpSpPr>
          <p:grpSp>
            <p:nvGrpSpPr>
              <p:cNvPr id="18" name="组合 17"/>
              <p:cNvGrpSpPr/>
              <p:nvPr/>
            </p:nvGrpSpPr>
            <p:grpSpPr>
              <a:xfrm>
                <a:off x="857250" y="2710361"/>
                <a:ext cx="2623937" cy="3511143"/>
                <a:chOff x="1725168" y="2688335"/>
                <a:chExt cx="2185416" cy="2532470"/>
              </a:xfrm>
            </p:grpSpPr>
            <p:sp>
              <p:nvSpPr>
                <p:cNvPr id="20" name="矩形: 圆角 19"/>
                <p:cNvSpPr/>
                <p:nvPr/>
              </p:nvSpPr>
              <p:spPr>
                <a:xfrm>
                  <a:off x="1725168" y="2688335"/>
                  <a:ext cx="2185416" cy="2532470"/>
                </a:xfrm>
                <a:prstGeom prst="roundRect">
                  <a:avLst>
                    <a:gd name="adj" fmla="val 5535"/>
                  </a:avLst>
                </a:prstGeom>
                <a:solidFill>
                  <a:schemeClr val="tx2">
                    <a:lumMod val="75000"/>
                    <a:alpha val="1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>
                      <a:solidFill>
                        <a:schemeClr val="lt1"/>
                      </a:solidFill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21" name="矩形 20"/>
                <p:cNvSpPr/>
                <p:nvPr/>
              </p:nvSpPr>
              <p:spPr>
                <a:xfrm>
                  <a:off x="1807933" y="3557469"/>
                  <a:ext cx="2004844" cy="10021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1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alpha val="78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cs"/>
                    </a:rPr>
                    <a:t>Automatically expand and shrink EC2 instances depend on the workloads.</a:t>
                  </a:r>
                </a:p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1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alpha val="78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cs"/>
                    </a:rPr>
                    <a:t>... 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zh-CN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alpha val="78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</p:grpSp>
          <p:sp>
            <p:nvSpPr>
              <p:cNvPr id="19" name="矩形: 圆顶角 18"/>
              <p:cNvSpPr/>
              <p:nvPr/>
            </p:nvSpPr>
            <p:spPr>
              <a:xfrm>
                <a:off x="1053396" y="2549202"/>
                <a:ext cx="2231646" cy="493215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>
                <a:defPPr>
                  <a:defRPr lang="zh-CN">
                    <a:solidFill>
                      <a:schemeClr val="lt1"/>
                    </a:solidFill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Auto Scaling Group</a:t>
                </a: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（</a:t>
                </a: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EC2</a:t>
                </a: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）</a:t>
                </a: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6155350" y="2514993"/>
              <a:ext cx="2623937" cy="3666130"/>
              <a:chOff x="857250" y="2555374"/>
              <a:chExt cx="2623937" cy="3666130"/>
            </a:xfrm>
          </p:grpSpPr>
          <p:grpSp>
            <p:nvGrpSpPr>
              <p:cNvPr id="14" name="组合 13"/>
              <p:cNvGrpSpPr/>
              <p:nvPr/>
            </p:nvGrpSpPr>
            <p:grpSpPr>
              <a:xfrm>
                <a:off x="857250" y="2710361"/>
                <a:ext cx="2623937" cy="3511143"/>
                <a:chOff x="1725168" y="2688335"/>
                <a:chExt cx="2185416" cy="2532470"/>
              </a:xfrm>
            </p:grpSpPr>
            <p:sp>
              <p:nvSpPr>
                <p:cNvPr id="16" name="矩形: 圆角 15"/>
                <p:cNvSpPr/>
                <p:nvPr/>
              </p:nvSpPr>
              <p:spPr>
                <a:xfrm>
                  <a:off x="1725168" y="2688335"/>
                  <a:ext cx="2185416" cy="2532470"/>
                </a:xfrm>
                <a:prstGeom prst="roundRect">
                  <a:avLst>
                    <a:gd name="adj" fmla="val 5535"/>
                  </a:avLst>
                </a:prstGeom>
                <a:solidFill>
                  <a:srgbClr val="FF0000">
                    <a:alpha val="15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>
                      <a:solidFill>
                        <a:schemeClr val="lt1"/>
                      </a:solidFill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17" name="矩形 16"/>
                <p:cNvSpPr/>
                <p:nvPr/>
              </p:nvSpPr>
              <p:spPr>
                <a:xfrm>
                  <a:off x="1845267" y="3557469"/>
                  <a:ext cx="1913711" cy="10021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1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alpha val="78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cs"/>
                    </a:rPr>
                    <a:t>Automatically scales</a:t>
                  </a:r>
                </a:p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1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alpha val="78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cs"/>
                    </a:rPr>
                    <a:t>Asynchronous </a:t>
                  </a:r>
                </a:p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1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alpha val="78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cs"/>
                    </a:rPr>
                    <a:t>Decouple &amp; Modularity</a:t>
                  </a:r>
                </a:p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1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alpha val="78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cs"/>
                    </a:rPr>
                    <a:t>...</a:t>
                  </a:r>
                </a:p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endParaRPr kumimoji="1" lang="en-US" altLang="zh-CN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alpha val="78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</p:grpSp>
          <p:sp>
            <p:nvSpPr>
              <p:cNvPr id="15" name="矩形: 圆顶角 14"/>
              <p:cNvSpPr/>
              <p:nvPr/>
            </p:nvSpPr>
            <p:spPr>
              <a:xfrm>
                <a:off x="1053396" y="2555374"/>
                <a:ext cx="2245764" cy="493207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>
                <a:defPPr>
                  <a:defRPr lang="zh-CN">
                    <a:solidFill>
                      <a:schemeClr val="lt1"/>
                    </a:solidFill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AWS SQS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8902825" y="2682326"/>
              <a:ext cx="2623937" cy="3511143"/>
              <a:chOff x="1725168" y="2688335"/>
              <a:chExt cx="2185416" cy="2532470"/>
            </a:xfrm>
          </p:grpSpPr>
          <p:sp>
            <p:nvSpPr>
              <p:cNvPr id="12" name="矩形: 圆角 11"/>
              <p:cNvSpPr/>
              <p:nvPr/>
            </p:nvSpPr>
            <p:spPr>
              <a:xfrm>
                <a:off x="1725168" y="2688335"/>
                <a:ext cx="2185416" cy="2532470"/>
              </a:xfrm>
              <a:prstGeom prst="roundRect">
                <a:avLst>
                  <a:gd name="adj" fmla="val 5535"/>
                </a:avLst>
              </a:prstGeom>
              <a:solidFill>
                <a:schemeClr val="tx2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>
                    <a:solidFill>
                      <a:schemeClr val="lt1"/>
                    </a:solidFill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3" name="矩形 12"/>
              <p:cNvSpPr/>
              <p:nvPr/>
            </p:nvSpPr>
            <p:spPr>
              <a:xfrm>
                <a:off x="1845267" y="3557469"/>
                <a:ext cx="1901952" cy="156408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 anchorCtr="0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85750" marR="0" lvl="0" indent="-285750" algn="l" defTabSz="914400" rtl="0" eaLnBrk="1" fontAlgn="auto" latinLnBrk="0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Ø"/>
                  <a:tabLst/>
                  <a:defRPr/>
                </a:pPr>
                <a:r>
                  <a:rPr kumimoji="1" lang="en-US" altLang="zh-CN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alpha val="78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Auto scale based on incoming request volume and handle increased workloads.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Ø"/>
                  <a:tabLst/>
                  <a:defRPr/>
                </a:pPr>
                <a:r>
                  <a:rPr kumimoji="1" lang="en-US" altLang="zh-CN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alpha val="78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Serverless Architecture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Ø"/>
                  <a:tabLst/>
                  <a:defRPr/>
                </a:pPr>
                <a:r>
                  <a:rPr kumimoji="1" lang="en-US" altLang="zh-CN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alpha val="78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Event driven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Ø"/>
                  <a:tabLst/>
                  <a:defRPr/>
                </a:pPr>
                <a:r>
                  <a:rPr kumimoji="1" lang="en-US" altLang="zh-CN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alpha val="78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...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Ø"/>
                  <a:tabLst/>
                  <a:defRPr/>
                </a:pPr>
                <a:endParaRPr kumimoji="1" lang="en-US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alpha val="78000"/>
                    </a:srgbClr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</p:grpSp>
      </p:grpSp>
      <p:cxnSp>
        <p:nvCxnSpPr>
          <p:cNvPr id="27" name="直接连接符 26"/>
          <p:cNvCxnSpPr/>
          <p:nvPr/>
        </p:nvCxnSpPr>
        <p:spPr>
          <a:xfrm>
            <a:off x="1034832" y="2994639"/>
            <a:ext cx="19463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矩形: 圆顶角 34"/>
          <p:cNvSpPr/>
          <p:nvPr/>
        </p:nvSpPr>
        <p:spPr>
          <a:xfrm>
            <a:off x="9101389" y="1927254"/>
            <a:ext cx="2231646" cy="493206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rPr>
              <a:t>AWS Lambda Function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ea"/>
              <a:sym typeface="+mn-lt"/>
            </a:endParaRPr>
          </a:p>
        </p:txBody>
      </p:sp>
      <p:cxnSp>
        <p:nvCxnSpPr>
          <p:cNvPr id="36" name="直接连接符 35"/>
          <p:cNvCxnSpPr/>
          <p:nvPr/>
        </p:nvCxnSpPr>
        <p:spPr>
          <a:xfrm>
            <a:off x="3697350" y="2968172"/>
            <a:ext cx="19463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/>
          <p:cNvCxnSpPr/>
          <p:nvPr/>
        </p:nvCxnSpPr>
        <p:spPr>
          <a:xfrm>
            <a:off x="6449515" y="2968172"/>
            <a:ext cx="19463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/>
        </p:nvCxnSpPr>
        <p:spPr>
          <a:xfrm>
            <a:off x="9201679" y="2969026"/>
            <a:ext cx="19463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ECB019B1-382A-4266-B25C-5B523AA43C14-1" descr="wpp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906520" y="2245360"/>
            <a:ext cx="1521460" cy="810895"/>
          </a:xfrm>
          <a:prstGeom prst="rect">
            <a:avLst/>
          </a:prstGeom>
        </p:spPr>
      </p:pic>
      <p:pic>
        <p:nvPicPr>
          <p:cNvPr id="30" name="ECB019B1-382A-4266-B25C-5B523AA43C14-5" descr="wp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rcRect l="79866" t="11895" b="51147"/>
          <a:stretch>
            <a:fillRect/>
          </a:stretch>
        </p:blipFill>
        <p:spPr>
          <a:xfrm>
            <a:off x="9958705" y="2442210"/>
            <a:ext cx="516890" cy="552450"/>
          </a:xfrm>
          <a:prstGeom prst="rect">
            <a:avLst/>
          </a:prstGeom>
        </p:spPr>
      </p:pic>
      <p:pic>
        <p:nvPicPr>
          <p:cNvPr id="31" name="ECB019B1-382A-4266-B25C-5B523AA43C14-6" descr="wpp"/>
          <p:cNvPicPr>
            <a:picLocks noChangeAspect="1"/>
          </p:cNvPicPr>
          <p:nvPr/>
        </p:nvPicPr>
        <p:blipFill>
          <a:blip r:embed="rId7"/>
          <a:srcRect l="9456" t="17275" r="45508" b="7744"/>
          <a:stretch>
            <a:fillRect/>
          </a:stretch>
        </p:blipFill>
        <p:spPr>
          <a:xfrm>
            <a:off x="1645285" y="2355215"/>
            <a:ext cx="725805" cy="639445"/>
          </a:xfrm>
          <a:prstGeom prst="rect">
            <a:avLst/>
          </a:prstGeom>
        </p:spPr>
      </p:pic>
      <p:pic>
        <p:nvPicPr>
          <p:cNvPr id="32" name="ECB019B1-382A-4266-B25C-5B523AA43C14-7" descr="wp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l="55713" t="33433" r="3822" b="13403"/>
          <a:stretch>
            <a:fillRect/>
          </a:stretch>
        </p:blipFill>
        <p:spPr>
          <a:xfrm>
            <a:off x="7143750" y="2467610"/>
            <a:ext cx="652145" cy="45339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26" name="组合 25"/>
          <p:cNvGrpSpPr/>
          <p:nvPr/>
        </p:nvGrpSpPr>
        <p:grpSpPr>
          <a:xfrm>
            <a:off x="1401538" y="1865092"/>
            <a:ext cx="2623937" cy="3752985"/>
            <a:chOff x="662819" y="1858920"/>
            <a:chExt cx="2623937" cy="3752985"/>
          </a:xfrm>
        </p:grpSpPr>
        <p:grpSp>
          <p:nvGrpSpPr>
            <p:cNvPr id="6" name="组合 5"/>
            <p:cNvGrpSpPr/>
            <p:nvPr/>
          </p:nvGrpSpPr>
          <p:grpSpPr>
            <a:xfrm>
              <a:off x="662819" y="1858920"/>
              <a:ext cx="2623937" cy="3752985"/>
              <a:chOff x="857250" y="2468519"/>
              <a:chExt cx="2623937" cy="3752985"/>
            </a:xfrm>
          </p:grpSpPr>
          <p:grpSp>
            <p:nvGrpSpPr>
              <p:cNvPr id="22" name="组合 21"/>
              <p:cNvGrpSpPr/>
              <p:nvPr/>
            </p:nvGrpSpPr>
            <p:grpSpPr>
              <a:xfrm>
                <a:off x="857250" y="2710361"/>
                <a:ext cx="2623937" cy="3511143"/>
                <a:chOff x="1725168" y="2688335"/>
                <a:chExt cx="2185416" cy="2532470"/>
              </a:xfrm>
            </p:grpSpPr>
            <p:sp>
              <p:nvSpPr>
                <p:cNvPr id="24" name="矩形: 圆角 23"/>
                <p:cNvSpPr/>
                <p:nvPr/>
              </p:nvSpPr>
              <p:spPr>
                <a:xfrm>
                  <a:off x="1725168" y="2688335"/>
                  <a:ext cx="2185416" cy="2532470"/>
                </a:xfrm>
                <a:prstGeom prst="roundRect">
                  <a:avLst>
                    <a:gd name="adj" fmla="val 5535"/>
                  </a:avLst>
                </a:prstGeom>
                <a:solidFill>
                  <a:schemeClr val="accent1">
                    <a:lumMod val="75000"/>
                    <a:alpha val="1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>
                      <a:solidFill>
                        <a:schemeClr val="lt1"/>
                      </a:solidFill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25" name="矩形 24"/>
                <p:cNvSpPr/>
                <p:nvPr/>
              </p:nvSpPr>
              <p:spPr>
                <a:xfrm>
                  <a:off x="1845266" y="3557469"/>
                  <a:ext cx="2065317" cy="1564085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1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alpha val="78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cs"/>
                    </a:rPr>
                    <a:t>RDS allows to scale database instances, including instance categories and storage capacity.</a:t>
                  </a:r>
                </a:p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1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alpha val="78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cs"/>
                    </a:rPr>
                    <a:t>...</a:t>
                  </a:r>
                </a:p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endParaRPr kumimoji="1" lang="en-US" altLang="zh-CN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alpha val="78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zh-CN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alpha val="78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</p:grpSp>
          <p:sp>
            <p:nvSpPr>
              <p:cNvPr id="23" name="矩形: 圆顶角 22"/>
              <p:cNvSpPr/>
              <p:nvPr/>
            </p:nvSpPr>
            <p:spPr>
              <a:xfrm>
                <a:off x="1001448" y="2468519"/>
                <a:ext cx="2283594" cy="489833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>
                <a:defPPr>
                  <a:defRPr lang="zh-CN">
                    <a:solidFill>
                      <a:schemeClr val="lt1"/>
                    </a:solidFill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AWS RDS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</p:grpSp>
        <p:cxnSp>
          <p:nvCxnSpPr>
            <p:cNvPr id="27" name="直接连接符 26"/>
            <p:cNvCxnSpPr/>
            <p:nvPr/>
          </p:nvCxnSpPr>
          <p:spPr>
            <a:xfrm>
              <a:off x="1034832" y="2994639"/>
              <a:ext cx="19463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组合 10"/>
          <p:cNvGrpSpPr/>
          <p:nvPr/>
        </p:nvGrpSpPr>
        <p:grpSpPr>
          <a:xfrm>
            <a:off x="4693117" y="1865093"/>
            <a:ext cx="2623937" cy="4075117"/>
            <a:chOff x="3410294" y="1846574"/>
            <a:chExt cx="2623937" cy="4075117"/>
          </a:xfrm>
        </p:grpSpPr>
        <p:grpSp>
          <p:nvGrpSpPr>
            <p:cNvPr id="7" name="组合 6"/>
            <p:cNvGrpSpPr/>
            <p:nvPr/>
          </p:nvGrpSpPr>
          <p:grpSpPr>
            <a:xfrm>
              <a:off x="3410294" y="1846574"/>
              <a:ext cx="2623937" cy="4075117"/>
              <a:chOff x="857250" y="2468520"/>
              <a:chExt cx="2623937" cy="4075117"/>
            </a:xfrm>
          </p:grpSpPr>
          <p:grpSp>
            <p:nvGrpSpPr>
              <p:cNvPr id="18" name="组合 17"/>
              <p:cNvGrpSpPr/>
              <p:nvPr/>
            </p:nvGrpSpPr>
            <p:grpSpPr>
              <a:xfrm>
                <a:off x="857250" y="2632211"/>
                <a:ext cx="2623937" cy="3911426"/>
                <a:chOff x="1725168" y="2631968"/>
                <a:chExt cx="2185416" cy="2821181"/>
              </a:xfrm>
            </p:grpSpPr>
            <p:sp>
              <p:nvSpPr>
                <p:cNvPr id="20" name="矩形: 圆角 19"/>
                <p:cNvSpPr/>
                <p:nvPr/>
              </p:nvSpPr>
              <p:spPr>
                <a:xfrm>
                  <a:off x="1725168" y="2631968"/>
                  <a:ext cx="2185416" cy="2588837"/>
                </a:xfrm>
                <a:prstGeom prst="roundRect">
                  <a:avLst>
                    <a:gd name="adj" fmla="val 5535"/>
                  </a:avLst>
                </a:prstGeom>
                <a:solidFill>
                  <a:schemeClr val="tx2">
                    <a:alpha val="1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>
                      <a:solidFill>
                        <a:schemeClr val="lt1"/>
                      </a:solidFill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21" name="矩形 20"/>
                <p:cNvSpPr/>
                <p:nvPr/>
              </p:nvSpPr>
              <p:spPr>
                <a:xfrm>
                  <a:off x="1845267" y="3557469"/>
                  <a:ext cx="1966708" cy="189568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171450" marR="0" lvl="0" indent="-1714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0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100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ea"/>
                      <a:sym typeface="+mn-lt"/>
                    </a:rPr>
                    <a:t>Use pub/sub mode of Redis, a memory-based cache database to </a:t>
                  </a:r>
                  <a:r>
                    <a:rPr kumimoji="0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ea"/>
                      <a:sym typeface="+mn-lt"/>
                    </a:rPr>
                    <a:t>make  real-time chat faster.</a:t>
                  </a:r>
                </a:p>
                <a:p>
                  <a:pPr marL="171450" marR="0" lvl="0" indent="-1714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0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100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ea"/>
                      <a:sym typeface="+mn-lt"/>
                    </a:rPr>
                    <a:t>Automatic adjust the nodes.</a:t>
                  </a:r>
                </a:p>
                <a:p>
                  <a:pPr marL="171450" marR="0" lvl="0" indent="-1714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0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100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ea"/>
                      <a:sym typeface="+mn-lt"/>
                    </a:rPr>
                    <a:t>Data Replication.</a:t>
                  </a:r>
                </a:p>
                <a:p>
                  <a:pPr marL="171450" marR="0" lvl="0" indent="-1714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0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100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ea"/>
                      <a:sym typeface="+mn-lt"/>
                    </a:rPr>
                    <a:t>...</a:t>
                  </a:r>
                </a:p>
                <a:p>
                  <a:pPr marL="171450" marR="0" lvl="0" indent="-1714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endPara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100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endParaRPr>
                </a:p>
                <a:p>
                  <a:pPr marL="171450" marR="0" lvl="0" indent="-1714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endParaRPr kumimoji="0" lang="en-US" altLang="zh-C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100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zh-C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alpha val="78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</p:grpSp>
          <p:sp>
            <p:nvSpPr>
              <p:cNvPr id="19" name="矩形: 圆顶角 18"/>
              <p:cNvSpPr/>
              <p:nvPr/>
            </p:nvSpPr>
            <p:spPr>
              <a:xfrm>
                <a:off x="1053396" y="2468520"/>
                <a:ext cx="2231646" cy="489832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>
                <a:defPPr>
                  <a:defRPr lang="zh-CN">
                    <a:solidFill>
                      <a:schemeClr val="lt1"/>
                    </a:solidFill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AWS Elastic Cache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for Redis Cluster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</p:grpSp>
        <p:cxnSp>
          <p:nvCxnSpPr>
            <p:cNvPr id="36" name="直接连接符 35"/>
            <p:cNvCxnSpPr/>
            <p:nvPr/>
          </p:nvCxnSpPr>
          <p:spPr>
            <a:xfrm>
              <a:off x="3697350" y="2968172"/>
              <a:ext cx="19463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组合 8"/>
          <p:cNvGrpSpPr/>
          <p:nvPr/>
        </p:nvGrpSpPr>
        <p:grpSpPr>
          <a:xfrm>
            <a:off x="7984696" y="1865093"/>
            <a:ext cx="2623937" cy="3752984"/>
            <a:chOff x="6157769" y="1840401"/>
            <a:chExt cx="2623937" cy="3752984"/>
          </a:xfrm>
        </p:grpSpPr>
        <p:grpSp>
          <p:nvGrpSpPr>
            <p:cNvPr id="8" name="组合 7"/>
            <p:cNvGrpSpPr/>
            <p:nvPr/>
          </p:nvGrpSpPr>
          <p:grpSpPr>
            <a:xfrm>
              <a:off x="6157769" y="1840401"/>
              <a:ext cx="2623937" cy="3752984"/>
              <a:chOff x="857250" y="2468520"/>
              <a:chExt cx="2623937" cy="3752984"/>
            </a:xfrm>
          </p:grpSpPr>
          <p:grpSp>
            <p:nvGrpSpPr>
              <p:cNvPr id="14" name="组合 13"/>
              <p:cNvGrpSpPr/>
              <p:nvPr/>
            </p:nvGrpSpPr>
            <p:grpSpPr>
              <a:xfrm>
                <a:off x="857250" y="2710361"/>
                <a:ext cx="2623937" cy="3511143"/>
                <a:chOff x="1725168" y="2688335"/>
                <a:chExt cx="2185416" cy="2532470"/>
              </a:xfrm>
            </p:grpSpPr>
            <p:sp>
              <p:nvSpPr>
                <p:cNvPr id="16" name="矩形: 圆角 15"/>
                <p:cNvSpPr/>
                <p:nvPr/>
              </p:nvSpPr>
              <p:spPr>
                <a:xfrm>
                  <a:off x="1725168" y="2688335"/>
                  <a:ext cx="2185416" cy="2532470"/>
                </a:xfrm>
                <a:prstGeom prst="roundRect">
                  <a:avLst>
                    <a:gd name="adj" fmla="val 5535"/>
                  </a:avLst>
                </a:prstGeom>
                <a:solidFill>
                  <a:schemeClr val="accent1">
                    <a:lumMod val="75000"/>
                    <a:alpha val="1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>
                      <a:solidFill>
                        <a:schemeClr val="lt1"/>
                      </a:solidFill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17" name="矩形 16"/>
                <p:cNvSpPr/>
                <p:nvPr/>
              </p:nvSpPr>
              <p:spPr>
                <a:xfrm>
                  <a:off x="1845267" y="3557469"/>
                  <a:ext cx="1901952" cy="1376761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1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alpha val="78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cs"/>
                    </a:rPr>
                    <a:t>Storage capacity can be automatically increased or decreased according to demand.</a:t>
                  </a:r>
                </a:p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r>
                    <a:rPr kumimoji="1" lang="en-US" altLang="zh-CN" sz="13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alpha val="78000"/>
                        </a:srgbClr>
                      </a:solidFill>
                      <a:effectLst/>
                      <a:uLnTx/>
                      <a:uFillTx/>
                      <a:latin typeface="Arial"/>
                      <a:ea typeface="微软雅黑"/>
                      <a:cs typeface="+mn-cs"/>
                    </a:rPr>
                    <a:t>...</a:t>
                  </a:r>
                </a:p>
                <a:p>
                  <a:pPr marL="285750" marR="0" lvl="0" indent="-28575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Ø"/>
                    <a:tabLst/>
                    <a:defRPr/>
                  </a:pPr>
                  <a:endParaRPr kumimoji="1" lang="en-US" altLang="zh-CN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alpha val="78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zh-CN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alpha val="78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</p:grpSp>
          <p:sp>
            <p:nvSpPr>
              <p:cNvPr id="15" name="矩形: 圆顶角 14"/>
              <p:cNvSpPr/>
              <p:nvPr/>
            </p:nvSpPr>
            <p:spPr>
              <a:xfrm>
                <a:off x="1053396" y="2468520"/>
                <a:ext cx="2245764" cy="489832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>
                <a:defPPr>
                  <a:defRPr lang="zh-CN">
                    <a:solidFill>
                      <a:schemeClr val="lt1"/>
                    </a:solidFill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AWS S3 Bucket</a:t>
                </a:r>
                <a:endPara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</p:grpSp>
        <p:cxnSp>
          <p:nvCxnSpPr>
            <p:cNvPr id="37" name="直接连接符 36"/>
            <p:cNvCxnSpPr/>
            <p:nvPr/>
          </p:nvCxnSpPr>
          <p:spPr>
            <a:xfrm>
              <a:off x="6449515" y="2968172"/>
              <a:ext cx="194635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altLang="zh-CN" dirty="0"/>
              <a:t>AWS Components</a:t>
            </a:r>
            <a:endParaRPr lang="zh-CN" altLang="en-US" dirty="0"/>
          </a:p>
        </p:txBody>
      </p:sp>
      <p:pic>
        <p:nvPicPr>
          <p:cNvPr id="13" name="ECB019B1-382A-4266-B25C-5B523AA43C14-2" descr="wpp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/>
          <a:srcRect l="42073" t="11427" r="37546" b="51020"/>
          <a:stretch>
            <a:fillRect/>
          </a:stretch>
        </p:blipFill>
        <p:spPr>
          <a:xfrm>
            <a:off x="2423795" y="2426335"/>
            <a:ext cx="523240" cy="561340"/>
          </a:xfrm>
          <a:prstGeom prst="rect">
            <a:avLst/>
          </a:prstGeom>
        </p:spPr>
      </p:pic>
      <p:pic>
        <p:nvPicPr>
          <p:cNvPr id="30" name="ECB019B1-382A-4266-B25C-5B523AA43C14-3" descr="wp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rcRect l="40885" t="55990" r="33638"/>
          <a:stretch>
            <a:fillRect/>
          </a:stretch>
        </p:blipFill>
        <p:spPr>
          <a:xfrm>
            <a:off x="5678170" y="2355215"/>
            <a:ext cx="654050" cy="657860"/>
          </a:xfrm>
          <a:prstGeom prst="rect">
            <a:avLst/>
          </a:prstGeom>
        </p:spPr>
      </p:pic>
      <p:pic>
        <p:nvPicPr>
          <p:cNvPr id="31" name="ECB019B1-382A-4266-B25C-5B523AA43C14-4" descr="wp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5"/>
          <a:srcRect l="4848" t="51869" r="69725"/>
          <a:stretch>
            <a:fillRect/>
          </a:stretch>
        </p:blipFill>
        <p:spPr>
          <a:xfrm>
            <a:off x="9008745" y="2293620"/>
            <a:ext cx="652780" cy="71945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014595" y="2510155"/>
            <a:ext cx="5899150" cy="895350"/>
          </a:xfrm>
        </p:spPr>
        <p:txBody>
          <a:bodyPr>
            <a:normAutofit/>
          </a:bodyPr>
          <a:lstStyle/>
          <a:p>
            <a:pPr algn="ctr"/>
            <a:r>
              <a:rPr lang="en-US" altLang="zh-CN" sz="3200" dirty="0">
                <a:latin typeface="+mn-lt"/>
                <a:ea typeface="+mn-ea"/>
                <a:cs typeface="+mn-ea"/>
                <a:sym typeface="+mn-lt"/>
              </a:rPr>
              <a:t>Project Contribution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2393559" y="2161628"/>
            <a:ext cx="1790813" cy="1557045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roject Contribution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6489065" y="1968500"/>
            <a:ext cx="4460875" cy="1637030"/>
            <a:chOff x="8007842" y="1328481"/>
            <a:chExt cx="4460789" cy="1636969"/>
          </a:xfrm>
        </p:grpSpPr>
        <p:sp>
          <p:nvSpPr>
            <p:cNvPr id="15" name="矩形: 圆角 14"/>
            <p:cNvSpPr/>
            <p:nvPr>
              <p:custDataLst>
                <p:tags r:id="rId7"/>
              </p:custDataLst>
            </p:nvPr>
          </p:nvSpPr>
          <p:spPr>
            <a:xfrm>
              <a:off x="8007842" y="1488080"/>
              <a:ext cx="4460789" cy="1477370"/>
            </a:xfrm>
            <a:prstGeom prst="roundRect">
              <a:avLst>
                <a:gd name="adj" fmla="val 6043"/>
              </a:avLst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en-US" altLang="zh-CN" sz="16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Arial" panose="020B0604020202020204"/>
                  <a:ea typeface="微软雅黑" panose="020B0503020204020204" charset="-122"/>
                  <a:sym typeface="+mn-ea"/>
                </a:rPr>
                <a:t>AWS Cognito deployment.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en-US" altLang="zh-CN" sz="16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Arial" panose="020B0604020202020204"/>
                  <a:ea typeface="微软雅黑" panose="020B0503020204020204" charset="-122"/>
                  <a:sym typeface="+mn-ea"/>
                </a:rPr>
                <a:t>Backend for login/registration part.</a:t>
              </a:r>
              <a:endPara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6" name="矩形: 圆角 15"/>
            <p:cNvSpPr/>
            <p:nvPr>
              <p:custDataLst>
                <p:tags r:id="rId8"/>
              </p:custDataLst>
            </p:nvPr>
          </p:nvSpPr>
          <p:spPr>
            <a:xfrm>
              <a:off x="8147721" y="1328481"/>
              <a:ext cx="2801870" cy="387178"/>
            </a:xfrm>
            <a:prstGeom prst="roundRect">
              <a:avLst>
                <a:gd name="adj" fmla="val 13715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Zhang </a:t>
              </a:r>
              <a:r>
                <a:rPr lang="en-US" altLang="zh-CN" dirty="0" err="1"/>
                <a:t>Xinbei</a:t>
              </a:r>
              <a:endParaRPr lang="zh-CN" altLang="en-US" dirty="0"/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1205865" y="3942080"/>
            <a:ext cx="4483735" cy="1637030"/>
            <a:chOff x="850895" y="1328481"/>
            <a:chExt cx="4483986" cy="1636969"/>
          </a:xfrm>
        </p:grpSpPr>
        <p:sp>
          <p:nvSpPr>
            <p:cNvPr id="13" name="矩形: 圆角 12"/>
            <p:cNvSpPr/>
            <p:nvPr>
              <p:custDataLst>
                <p:tags r:id="rId5"/>
              </p:custDataLst>
            </p:nvPr>
          </p:nvSpPr>
          <p:spPr>
            <a:xfrm>
              <a:off x="850895" y="1488080"/>
              <a:ext cx="4483986" cy="1477370"/>
            </a:xfrm>
            <a:prstGeom prst="roundRect">
              <a:avLst>
                <a:gd name="adj" fmla="val 6043"/>
              </a:avLst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charset="-122"/>
                  <a:cs typeface="+mn-cs"/>
                </a:rPr>
                <a:t>Front-end integretion with backend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charset="-122"/>
                  <a:cs typeface="+mn-cs"/>
                </a:rPr>
                <a:t>Backend for task management. </a:t>
              </a:r>
            </a:p>
          </p:txBody>
        </p:sp>
        <p:sp>
          <p:nvSpPr>
            <p:cNvPr id="14" name="矩形: 圆角 13"/>
            <p:cNvSpPr/>
            <p:nvPr>
              <p:custDataLst>
                <p:tags r:id="rId6"/>
              </p:custDataLst>
            </p:nvPr>
          </p:nvSpPr>
          <p:spPr>
            <a:xfrm>
              <a:off x="990775" y="1328481"/>
              <a:ext cx="2697497" cy="387178"/>
            </a:xfrm>
            <a:prstGeom prst="roundRect">
              <a:avLst>
                <a:gd name="adj" fmla="val 13715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Yang </a:t>
              </a:r>
              <a:r>
                <a:rPr lang="en-US" altLang="zh-CN" dirty="0" err="1"/>
                <a:t>Keyun</a:t>
              </a:r>
              <a:endParaRPr lang="zh-CN" altLang="en-US" dirty="0"/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1205865" y="1968500"/>
            <a:ext cx="4460875" cy="1637030"/>
            <a:chOff x="850895" y="1328481"/>
            <a:chExt cx="4460789" cy="1636969"/>
          </a:xfrm>
        </p:grpSpPr>
        <p:sp>
          <p:nvSpPr>
            <p:cNvPr id="11" name="矩形: 圆角 10"/>
            <p:cNvSpPr/>
            <p:nvPr>
              <p:custDataLst>
                <p:tags r:id="rId3"/>
              </p:custDataLst>
            </p:nvPr>
          </p:nvSpPr>
          <p:spPr>
            <a:xfrm>
              <a:off x="850895" y="1488080"/>
              <a:ext cx="4460789" cy="1477370"/>
            </a:xfrm>
            <a:prstGeom prst="roundRect">
              <a:avLst>
                <a:gd name="adj" fmla="val 6043"/>
              </a:avLst>
            </a:prstGeom>
            <a:solidFill>
              <a:schemeClr val="accent6">
                <a:lumMod val="75000"/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altLang="zh-CN" sz="160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charset="-122"/>
                  <a:sym typeface="+mn-ea"/>
                </a:rPr>
                <a:t>Front-end of the project.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altLang="zh-CN" sz="160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charset="-122"/>
                  <a:sym typeface="+mn-ea"/>
                </a:rPr>
                <a:t>Front-end integretion with backend.</a:t>
              </a:r>
              <a:endPara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2" name="矩形: 圆角 11"/>
            <p:cNvSpPr/>
            <p:nvPr>
              <p:custDataLst>
                <p:tags r:id="rId4"/>
              </p:custDataLst>
            </p:nvPr>
          </p:nvSpPr>
          <p:spPr>
            <a:xfrm>
              <a:off x="990774" y="1328481"/>
              <a:ext cx="2607637" cy="387178"/>
            </a:xfrm>
            <a:prstGeom prst="roundRect">
              <a:avLst>
                <a:gd name="adj" fmla="val 13715"/>
              </a:avLst>
            </a:prstGeom>
            <a:solidFill>
              <a:schemeClr val="accent3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Chen Yilai</a:t>
              </a:r>
              <a:endParaRPr lang="zh-CN" altLang="en-US" dirty="0"/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6489065" y="3942080"/>
            <a:ext cx="4483735" cy="1637030"/>
            <a:chOff x="850895" y="1328481"/>
            <a:chExt cx="4483986" cy="163696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9" name="矩形: 圆角 8"/>
            <p:cNvSpPr/>
            <p:nvPr>
              <p:custDataLst>
                <p:tags r:id="rId1"/>
              </p:custDataLst>
            </p:nvPr>
          </p:nvSpPr>
          <p:spPr>
            <a:xfrm>
              <a:off x="850895" y="1488080"/>
              <a:ext cx="4483986" cy="1477370"/>
            </a:xfrm>
            <a:prstGeom prst="roundRect">
              <a:avLst>
                <a:gd name="adj" fmla="val 6043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charset="-122"/>
                  <a:cs typeface="+mn-cs"/>
                </a:rPr>
                <a:t>Backend for team chat room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charset="-122"/>
                  <a:cs typeface="+mn-cs"/>
                </a:rPr>
                <a:t>Part of </a:t>
              </a:r>
              <a:r>
                <a:rPr lang="en-US" altLang="zh-CN" sz="160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charset="-122"/>
                  <a:sym typeface="+mn-ea"/>
                </a:rPr>
                <a:t>backend for 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charset="-122"/>
                  <a:cs typeface="+mn-cs"/>
                </a:rPr>
                <a:t>task manage.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charset="-122"/>
                  <a:cs typeface="+mn-cs"/>
                </a:rPr>
                <a:t>AI assistant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0" name="矩形: 圆角 9"/>
            <p:cNvSpPr/>
            <p:nvPr>
              <p:custDataLst>
                <p:tags r:id="rId2"/>
              </p:custDataLst>
            </p:nvPr>
          </p:nvSpPr>
          <p:spPr>
            <a:xfrm>
              <a:off x="990775" y="1328481"/>
              <a:ext cx="2452447" cy="387178"/>
            </a:xfrm>
            <a:prstGeom prst="roundRect">
              <a:avLst>
                <a:gd name="adj" fmla="val 13715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Sun </a:t>
              </a:r>
              <a:r>
                <a:rPr lang="en-US" altLang="zh-CN" dirty="0" err="1"/>
                <a:t>Yufei</a:t>
              </a:r>
              <a:endParaRPr lang="zh-CN" altLang="en-US" dirty="0"/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b8540737-4c1e-4c69-b0fb-025c60cdd09a"/>
  <p:tag name="COMMONDATA" val="eyJoZGlkIjoiODdhYzgwNzM2NGE0OTcxOTZjMWRlMDgzMTQ4YWY0OTE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PLUS主题">
  <a:themeElements>
    <a:clrScheme name="房利美">
      <a:dk1>
        <a:srgbClr val="000000"/>
      </a:dk1>
      <a:lt1>
        <a:srgbClr val="FFFFFF"/>
      </a:lt1>
      <a:dk2>
        <a:srgbClr val="EFD576"/>
      </a:dk2>
      <a:lt2>
        <a:srgbClr val="F0F0F0"/>
      </a:lt2>
      <a:accent1>
        <a:srgbClr val="F86F79"/>
      </a:accent1>
      <a:accent2>
        <a:srgbClr val="93B4F4"/>
      </a:accent2>
      <a:accent3>
        <a:srgbClr val="FFE6AB"/>
      </a:accent3>
      <a:accent4>
        <a:srgbClr val="4966E8"/>
      </a:accent4>
      <a:accent5>
        <a:srgbClr val="85B7B2"/>
      </a:accent5>
      <a:accent6>
        <a:srgbClr val="CBD9E1"/>
      </a:accent6>
      <a:hlink>
        <a:srgbClr val="4276AA"/>
      </a:hlink>
      <a:folHlink>
        <a:srgbClr val="BFBFBF"/>
      </a:folHlink>
    </a:clrScheme>
    <a:fontScheme name="u4owrshh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B6E80"/>
      </a:accent1>
      <a:accent2>
        <a:srgbClr val="9CF7D7"/>
      </a:accent2>
      <a:accent3>
        <a:srgbClr val="B4CDE6"/>
      </a:accent3>
      <a:accent4>
        <a:srgbClr val="9CB5DE"/>
      </a:accent4>
      <a:accent5>
        <a:srgbClr val="F6E1FF"/>
      </a:accent5>
      <a:accent6>
        <a:srgbClr val="FFD619"/>
      </a:accent6>
      <a:hlink>
        <a:srgbClr val="4276AA"/>
      </a:hlink>
      <a:folHlink>
        <a:srgbClr val="BFBFBF"/>
      </a:folHlink>
    </a:clrScheme>
    <a:fontScheme name="xlraoix0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PLUS主题">
  <a:themeElements>
    <a:clrScheme name="房利美">
      <a:dk1>
        <a:srgbClr val="000000"/>
      </a:dk1>
      <a:lt1>
        <a:srgbClr val="FFFFFF"/>
      </a:lt1>
      <a:dk2>
        <a:srgbClr val="EFD576"/>
      </a:dk2>
      <a:lt2>
        <a:srgbClr val="F0F0F0"/>
      </a:lt2>
      <a:accent1>
        <a:srgbClr val="F86F79"/>
      </a:accent1>
      <a:accent2>
        <a:srgbClr val="93B4F4"/>
      </a:accent2>
      <a:accent3>
        <a:srgbClr val="FFE6AB"/>
      </a:accent3>
      <a:accent4>
        <a:srgbClr val="4966E8"/>
      </a:accent4>
      <a:accent5>
        <a:srgbClr val="85B7B2"/>
      </a:accent5>
      <a:accent6>
        <a:srgbClr val="CBD9E1"/>
      </a:accent6>
      <a:hlink>
        <a:srgbClr val="4276AA"/>
      </a:hlink>
      <a:folHlink>
        <a:srgbClr val="BFBFBF"/>
      </a:folHlink>
    </a:clrScheme>
    <a:fontScheme name="font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B6E80"/>
    </a:accent1>
    <a:accent2>
      <a:srgbClr val="9CF7D7"/>
    </a:accent2>
    <a:accent3>
      <a:srgbClr val="B4CDE6"/>
    </a:accent3>
    <a:accent4>
      <a:srgbClr val="9CB5DE"/>
    </a:accent4>
    <a:accent5>
      <a:srgbClr val="F6E1FF"/>
    </a:accent5>
    <a:accent6>
      <a:srgbClr val="FFD619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EFD576"/>
    </a:dk2>
    <a:lt2>
      <a:srgbClr val="F0F0F0"/>
    </a:lt2>
    <a:accent1>
      <a:srgbClr val="F86F79"/>
    </a:accent1>
    <a:accent2>
      <a:srgbClr val="93B4F4"/>
    </a:accent2>
    <a:accent3>
      <a:srgbClr val="FFE6AB"/>
    </a:accent3>
    <a:accent4>
      <a:srgbClr val="4966E8"/>
    </a:accent4>
    <a:accent5>
      <a:srgbClr val="85B7B2"/>
    </a:accent5>
    <a:accent6>
      <a:srgbClr val="CBD9E1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7" ma:contentTypeDescription="Create a new document." ma:contentTypeScope="" ma:versionID="ae809626c8abf568b6a415226af21ced">
  <xsd:schema xmlns:xsd="http://www.w3.org/2001/XMLSchema" xmlns:xs="http://www.w3.org/2001/XMLSchema" xmlns:p="http://schemas.microsoft.com/office/2006/metadata/properties" xmlns:ns1="http://schemas.microsoft.com/sharepoint/v3" xmlns:ns2="0a5c0dea-e5d7-4228-9256-3793bb42faa5" xmlns:ns3="97934b4b-eba6-486d-bfc1-4b8e3fe39092" targetNamespace="http://schemas.microsoft.com/office/2006/metadata/properties" ma:root="true" ma:fieldsID="1ffe3db4c8c97a24da98b2b5f963ec28" ns1:_="" ns2:_="" ns3:_="">
    <xsd:import namespace="http://schemas.microsoft.com/sharepoint/v3"/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s:customData xmlns="http://www.wps.cn/officeDocument/2013/wpsCustomData" xmlns:s="http://www.wps.cn/officeDocument/2013/wpsCustomData">
  <extobjs>
    <extobj name="ECB019B1-382A-4266-B25C-5B523AA43C14-1">
      <extobjdata type="ECB019B1-382A-4266-B25C-5B523AA43C14" data="ewoJIkZpbGVJZCIgOiAiMjQyNzA4MDcxMzA3IiwKCSJHcm91cElkIiA6ICI3ODQ0NDA4MzkiLAoJIkltYWdlIiA6ICJpVkJPUncwS0dnb0FBQUFOU1VoRVVnQUFBVElBQUFDakNBWUFBQUFKaTVLWEFBQUFDWEJJV1hNQUFBc1RBQUFMRXdFQW1wd1lBQUFOOFVsRVFWUjRuTzNkYTNCY1pSM0g4ZDl6TnRrMlRWSjZFUUVMVXBGQ1VSUk1Va1JHaHdIRTI0eURPTjZwNDVRbTFNdmdiYWdpV0swMEVSWEhVVnFHVVZCSGZPSGdPTk9rZzRwT200TEZHNzBvWUcvSmJrZ3BvUzF0MmlSNzlwTGRjNTYvTDlvdG0yVHZPYnZuN0o3Zlp5WXZzdGQvbTgwMzU5bmRjeFlnSWlJaUlpSWlJaUlpSWlJaUlpSWlJaUlpSWlJaUlpSWlJaUlpSWlJaUlpSWlJaUlpSWlJaUlpSWlJaUlpSWlJaUlpSWlJaUlpSWlJaUlpSWlJaUlpSWlJaUlpSWlJaUlpSWlJaUlpSWlJaUlpSWlJaUlpSWlJaUlpSWlJaUlpSWlJaUlpSWlJaUlpSWlJaUlpSWlJaUlpSWlJaUwvbXRqUWNibmJNeEQ1aWVIMkFQWEc3Tzc0YkFEWUY5M1E4U1czWnlIeUMrWDJBUFhFN083NHJBSitBeWdGaUVCd1ovTzZYUSs1UFJkUnZXUElIREkxWW1tTUdWRTFjR25wQUxObnhjcVpFUU1BcGFDd01icWhqY3RNb2dyaUZ0a3NtVDByVmlxUngyWkdMSk1JUk4vWnZHNFB0OHlJS29BaG00WGlJcGJHbUJGVkNrTldwdElpbHNhWTFhcFk5NHBQaXNMZGdIb2JnSUNyd3dnU1VOZ0cyTjlwdm5mM0hsZG44UWlHckF6bWZXMHJsV0dVR0xFMHhxeldtTjByN2xaSzNlLzJIRFBKcEJIQSs1cnUzdmszdHlkeEc1L3NMOUhzSWdhY2ZnSEEyQmp0YnYraXM1TlJKY1M2cjFxaWxOcmc5aHpacVRuYVZnKzdQWVVYTUdRbG1IM0UwcFFDMUNiR3pQdHNCTjhOb01IdE9mSjRTL3orYTVlNlBZVGJHTElpT1JleE5NYXNGaGlHYW5GN2hrSjB5bHJvOWd4dVk4aUtFTzl1dTgzWmlLV2RpZGw5akpsWDJiYndkNlFHOElkVVFMeTc3VFlONDdmT1J5eE5LUmlNbVZkWldvSnV6MURJNktUZDZ2WU1ibVBJOGpEdlc3R3lzaEZMT3gyekNIYzA5eHd0NHU1YkxZb3dIdE9MM1o3QmJWNStFdE5WejZ5NThxT3ZqQ2NmazJrUlc3S2dBY3FCcm9rSVJzYXN6Sk9VZ216Y3NlYXRxZmY4Zk84dlpuMEg1QnUyOEcxVURGa09CNDRtcnpxb1pNWUQ1T050Q3hCdzRHRWpvdkJNT0RyOVpLV0Fkd0pneUloS3dLVWxFZFU4YnBFUlZaaXRCYU9taFdoU0kyV0w0N2MvRnBjSngyKzB4dmd5WlBMQTI1dlYydWRuck9zeUJWVHkxMGtkZUNyTFdmMU96V0ZwZmVPTUU4VStVdWg2SjcvWmZzNmlIKzRlZDJvT3FveVVMVGg0TklFRFJ4T3dkT1h1UjdTTVZ1N1dhNE12UXhaTnpIbVgyZDMrL3BadjcxNmI2ektyZW9lSEFReFBQLzNUSFlzY21VRUFyTmtTM2w3cTllTGRIZmNJVkJqQTQ0NE1RaFV4a2JEeHR3RVQ1bVFGQzBabitUSmtBS0JnM0dWMnR5TmZ6THdtM3QxeGo0YnFVY0NuM0o2RmNvc2xOZm9QUkpCSVpTd2pCVkdCakVDcE1UaTh1dFFCblhkMTRRZStEUmxRV3pGTFI4enRPYWdBQVhZT3g5SVJFd0Q5V3V5ZmZIaFp5NjdXUlhPdkU1RUZGYmpYNno3VHNmaTZZaStzdEp5YzF5aFBxN3ZyNStrSlg0Y01xSTJZTVdLMTQ3aHA0Y2g0Q2dLWUF0elIxVHY0TzdObnhVb0RHQkpCcy9MQ1c3NE1oWmd0WTlFTjdhdWExKzN1ZFhzY0ovRHRGemdic3dmY25pTWJScXkydkh3cUNRV0ppMWdmNnVvZC9GMnMrNTNYS3VBeGdXcDJlN2FwMUFJWXh1T1JubzRyM1o3RUNRelpHVjZNR1NOV2U0NUhMSWpDdDd2Nlh0d0JBRnJwcjFSK0Y3ZHlxYURTaG1kWElxV28rYVhseFBlWGw3eWZtV0hiOHlYTDBZcUxXV1lxSmVMRUEvUDA3ZVNXTDJLaWRHczUvKzc1OXh6dy9jdjBsWlpJNmREaHphR2ZwcjgzUkwxajV2NGhIcUt3MU8wUm5GRHpJUXZvMWhPbFhpZmZBNnRRelBZY2lxZmFMNTRYbkUzS1JJQVhSaEpXcnZNTGJvbUo4VWhBV2g4cDQ2NjkvQ3RWRndJRy9yQWVPUHVlQzFFdUg5Ky9FRTg4YVRkN1hGcG1rVytaR1RveEtUc1B4WkIvZXlvM0VlQzVrVGoySFozTWVqNlhrN1Z0WHNCNEt2TjdXOHRjbDBZcGl0VEEwVDJLd1pEbGtDOW1ReWVTS0NkbTZZZ2RZTVRxVm5PVEdzbjhmdElXVHgrOU5XSHBjOTJld1FrTVdSNVpZeVpxR0NnOVpqTWlKakpsVnlSR3JENHNhbXFjK3VaVTdlM2ZNUkhGTFRJL21CNHpCWDB6enV5NlZHek1wa2RNZ0NNQlc3ODNmVDRqUmpRN0RGa1JNbU4yZTEvNGNCS3BHeUJ5R0NnY3N5eGJZc2NraFp0V1BURTBDREJpUkU1Z3lJcVVHYk12OUE0UFd3bzNLTUVJY0RwbXU3TEVMTXR6WXNjdDZKdTcvamk0SDJERXFEUmFDeXpiMlMvYkx2ZGxLMitwK2JkZlZKT0NjZGVKNzdaYnIvdmU3bSt0NlEyRmYzSHJKVGNHdFBFMGxEby9mQ0tKeGdhRnF5OXNPbnY1QThjU21SRWJGWjE4LzVvdGgxNEFnQ1ByMnI3QmlGRWh4eU1wREk4bThjcFlDdkdVODgwUndTdU8zNmdMdUVWV2dsaFM0K2tCOCt3eHhPN1lQRFNnamRTTkFoeVoyNmp3cHNWVFAzRG5vb1ZCTkFjVkFKeUF0ai9RdWVYUWY5TG43UmlJM2hSSjJGV2JuV3BMMGhJOEV6S3g3WUNKOFBGa1JTSldUeGl5SXNXU0d2MEhUWnlLVFQyK1ZOZm1RL3VYdno1NDIwMlh0K0NjcHFrdkFMWE1NWERUOGxZc1B6ZjQrZFZiaG5abG5oZVp0TkYvMEFSalJ0Tk5walMyN3AvQXk2ZFNibzlTTTdpMExFSTZZdGtPa2hkZmYvVlNhV2o4VmE2L2wvT0NCcTYrdUdsalpFUGJ2dFoxZS9aUHVXNUswSC9ReEkyWHQ2QjFibDI4Q2s2ekpDTDR4MUFVRTRtemo3V1VpRHlyZ0IwUWRVaERUQ2Z2enhDODZ1VHR1WVVoSzJCR3hCVCttVDR2dnI3OWpUcWduZ2J3eHZ5M29pNHdFT2lmK1A1VjE4Ky81N2tCQUJEQjM1WEMreGd6eWpReWxzS3hpZE43cjRuZ1R6cGxmMjNsZFl2amdQcXFBSjlYQ2swRmJxSmtuNzcybXFJdks0QU53ZiswVWcrMzN2dnZrbzl3WENrTVdSNHpJaWJ5U0dkZjZLc0FFT3UrYW9uQTJJNkNFVHRENGZ5QUR2YVBiV2kvZnNHNjNlSE92dEI5ajk2eXJGVXAzTVdZVWRyQXNVbEFSSlFoNjFiM2huc2lHOXF1MEVvOXA0Q0ZBSncrdUd4NUZLNHdJQitMOUZ6emxkWjduOTNvOWpnQW55UExLVnZFVnZlRjdnQ0FhRS83QlJyQjdRSmNVdUxOTG1tRXNUMisvdXFsQU5EWk43aFdCRDhHWGx0bThqa3ovMHJaZ2xjakZnVDQ2ZTJid3owQW9JeUduNmNqNWpIS0FINWtybi9yK1c0UEFqQmtXZVdMbU5sejVYa1F0VTBCeThxNmNZV0xkRVBqOWxqM2lvc0F4b3hlRTA5cWlDQTh2eSswRmpqOVdGUEFlOXllSzQrNUtqanZWcmVIQU9wZ2FUbHdMUHNPMlBuTUN5cGN1RENZOWJ4OEVRTUFKVTFQQXJpaXJHRmZzMVFMdGdHNEREZ2RzMGR2V1laaWw1bEh4bE9JSlBqcFBQWEcwZ0l0K1BFbkFCc0F0SnF6TU9DSnRXUWV0anJQN1JHQU9nalpuc1B4a3E5ejN2eEExcEFWaXRpWkU2OXc0ckJlYXRvQjdVcUoyWXVqU2J4MGtpL05WME9WLzF6b1pudXlwajdtVHl0dkhEYVNTOHN6aW90WVpYR1o2VDNqVWJ0cVA0QkdRMFZ1KytOTHA5TGZuNXl3SEgrRjBta3B5eHZIVzJQSVVHTEVwTEpIMUdUTXZHWG5pN0hKZUtvNjIyV0dvYVlzTDh5a1ZZbVBqbk9VUUR5eHF2UEVFTE5oSkZNWGxIcWRpeGMyZlFMQXo0RFN0OFEwVktNVDlkZVMrLysrMERMendnVU45Nzk4TlBhZ0EyTlFBWEZMeXpNaEU5Y3ZhMEd3b2JKLzk5VzBkMWZZdWo0T1ExME5OUit5Vlg4YVBscnFkVUpyM3o0R2xMZWNGSEhtS09kU1lNc3VYOHdhQW9aWnpyK2JTcWNGNDZPbWpTZGVtTUN5MTg5QjYxd2o3dy91WkNMR0p5OWRVUE1oSzVjWG5oTXJKRmZNcUlyRTNnRTBKSktXek4zN1NxTHd4ZU9KV0JXbW9tbDgrUnpaV0Z6aVhvOVlXcmJuek1aamxxUDcyMUZ1WFZ0ZVBLWkV2Zzd4eHB2cUtUdGZodXo1dzVPbmFpRmlhZE5qOXZ6TDhXTnV6K1FudDI4SlBTeWlQeVRBTmdERFN1U2xYRisySGVRck15N3c3ZElTUUUxRUxDMXptZW4yTEg3VXVTWDhKSUFuM1o2RHN2UGxGaG1BbW9wWVd1YVdHUkc5eHBkYlpLbW90WFBOMXFHdCtTN3owamN1ZjhQaWMxcG03QkRyMU5zamxRS2lQZTF0MDA5L05XS2ZmTk1QL2p1YzYzcWRmWU5yZjNQcmtzWE9URUZVSDN3WnNqVmJoOFlMWGVidnc5TDE3a3RrM2FLV3dKUjloQUlPYmNNYUNvQVl1ek5QbTRqYjlyK0dZcjhDa0hkTDhYT2JSMGFkbVlLb1B2aDNhVmxBZEJKRy8wQWtNR3BhVmJtLzhaaU5yUWZNUUR4Wkh4OWhUMVJOREZrZWxnYTJENWlvZE16R1l6YTJIVFNSdFBrS1AxRTVHTEljQlBZK0NLVFNNWnNTTVlGbzZQOFV2aFlSWldMSWN1anFDejh1U24rNWtqR2JIakZSK0U1bmIzaVRvM2RDNUFNTVdSNmR2ZUZObFlwWjlvZ05kanR5NCtRWklzSWpZRllCUTFaQUpXTEdpUG5IYU15ZWNIc0dQMkRJaXVCa3pCZ3hmOWs3a29oYWZCR240aGl5SWprUk0wYk1mOFlTbHU0L0dNR3BXSFhleHVOWHZueERiTGs2ZThPYkh2M0ltNkhFZU5EU1VOc0hUTnh3V1FzV3R4VCtiMlRFL0VrSjlwMk0ycGY5Wlc4RTg0SUtjL0lkbkZGSlhYenF0eHU0UlZhaWNyYk1HREgvMGdvL1N4OENLSllVbklyWk9iL0dvanJwOXJ5MWlpRXJReWt4WThUOHJhczM5QlFnZHdKUytzZDlVZEc0dEN4VE1jdE1Sb3dBWUhWZjZLRUhQM2pwNytjRjVSWW9uSnY3a25La2VsUFZGNFpzRnZMRmpCR2pURi8rYytnNGdFZmRucU5lY1drNVM5bVdtY01ua293WVVSVXhaQTZZSHJOL0RjY1lNYUlxWXNnY2toa3pBSXdZVVJVeFpBNDZHek5BTTJKRTFjT1FPYXl6Tjd4SlExL0RpQkZWRDBOV0FWMjk0ZDJGTDBWRVRtSElpRHdxWVBCRGdZdkZrQkY1MUxIeFZOVHJLUnVQT2ZXNVlyUERrQkY1Vk9qVjVNVFJTTXJ0TVhKS1doclBIb3A1WXRjcmhvekl3M1lOeHhCUGV1OGdzNVlXUERzY1EyUlNlMktia2Jzb0VYbFV3Rlp4YzFManliMFRXSDdCWEx5dXVRR0d5NXNlSWtBa1lXUC9rUVFtRWhxR2hpZU9nS3ZjSG9DSWNsSy8vTWlsQTRDNjFPMUJzaEdCRmJEdHQ2eDZZbWpRN1ZtNHRDVHlMZ0h3SlFFOGVuaFoyZWlGaUFFTUdaR25yZTROL2RWUThsNkIvQlBBcE52ekNFUURNaWpRZDNiMmhiN3U5anhFUkVSRVJFUkVSRVJFUkVSRVJFUkVSRVJFUkVSRVJFUkVSRVJFUkVSRVJFUkVSRVJFUkVSRVJFUkVSRVJFUkVSRVJFUkVSRVJFUkVSRVJFUkVSRVJFUkVSRVJFUkVSRVJFUkVUa1gvOEhHRGdsMWN1Qm9hY0FBQUFBU1VWT1JLNUNZSUk9IiwKCSJUaGVtZSIgOiAiIiwKCSJUeXBlIiA6ICJmbG93IiwKCSJWZXJzaW9uIiA6ICIxIgp9Cg=="/>
    </extobj>
    <extobj name="ECB019B1-382A-4266-B25C-5B523AA43C14-2">
      <extobjdata type="ECB019B1-382A-4266-B25C-5B523AA43C14" data="ewoJIkZpbGVJZCIgOiAiMjQyNzA4MDkwMDQ2IiwKCSJHcm91cElkIiA6ICI3ODQ0NDA4MzkiLAoJIkltYWdlIiA6ICJpVkJPUncwS0dnb0FBQUFOU1VoRVVnQUFBZ1VBQUFFdENBWUFBQUNZaXhQTEFBQUFDWEJJV1hNQUFBc1RBQUFMRXdFQW1wd1lBQUFnQUVsRVFWUjRuTzNkZVh4VTViMC84TS8zbkpuc1lWOVZFRWdVV2dTVXpiMTFSMUJCNm01M3RYcmJ1dlZxYTY4c1JvWGVlMjIxcmQzYzZPMXRmOVhyVWtWY1FVVGNOV0ZmM0lDQUlCQVN5RDZaN1p6bisvc0RVQ0FUU01oTXp1VE01LzE2NWFYT21lVkRaTTU4NXB6blBBOUF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NVV2NUckFKbGl6dVFoWTJGWmQxMDZwbHUzb01nZGVkUEwzdk02RXhFUjBiNVlDbEpzYnhrQTVFSUF1SEpjOXoxYjlEVVJ1U3Z2enRMM1BZeEhSRVQwSlphQ0ZKa3plY2hZc2F5WkNybG8zOXUvS2dWN0tCYUlRVW5lVEpZRElpTHlGa3RCQ2p3eWFjaXhkcGI5YWFKdHpVckJsM1MrcUZ1U04zM1pCeW1NUmtSRTFLS0Exd0g4U0cxakFYWWJIeVVUVkFJVFFyUEd2U3JHbE9UTlhQcGhTc0lSSFdEd2R4NGFwVVpLQ3ZzTm5DSWl5ZnVpSUhDS2p1NzdtcXFVekwzNStOS2tQUzlSaXV3OTNYdjUyQjc1Tm5SNkpvNzk0cEdDZG5ydjJ1RTlUcG16dG5yZjJ4NithTkN3Z0IzOE9OSDlXejVTY0NCOVJWUkw4cVl2NGM2VVV1S29iejg4d29iT0ZNaWxBRkRZZHdCRXJLUytSdkhndmdBQVZiemtRa3ZtM1RSNlNWSmZnQ2dKRGp6ZG04bGp2MWdLRHROZkx5b2ViV3pNSERzd2IvS3hmWE1XQ2ZEWHBuajFpejFMMXRjbnB4VHNvWGdadHBiay8wZFpXVEp5RXcyODZwSGhscVV6QUZ5T2ZmWUJxU3dGZXloVVg0Q1l1NSs5Y2V5eXBMNFEwV0ZvN2RndlZTeXc0TnlWQ2FkM1dRcmE2TkdMaThaWUtqTWhNaGtBeGh5ZGkyUDY1T3pkSEFiMHlmVTdvdTh1MlJ4K05OSGoyMXdLdnZJU0ZDWDUwMHY1VFlzT3k5RlhQUG8xQk14MEFhNUNndmQrQjVRQ0FJQUNDbUN1Q3U2Wis5TVRWaVQxQllsYTRkR0xpOGFJeWwwaSs1ZUJ2VnJjVDZ1KzZzQzl1NnVQeXdGTFFSdk11YmhvSW1DOXZPOXRCNVFDQUVCOTJNWExhK29UUGtjN1NnRUFRRlZmZENCM2QyTTVvRllhL0owL0R6VnFUUmVWYjBOYWZzOTNWQ25ZU3dFVjRGL2ltSHYvZGV1WVZVbDlZYUlFL2o2MXFFL015R010bFlHOURyV2ZWdFZYTForTy9VcnVIc0Ruak5GY3J6T0l5SVZCUVZsbzlyam5RL2VNSHVOMUhrcGZSMTM5MERFRHYvM3czOVRZSHd2a093Y3JCRjZRM1Y5S0xqVUJhOFhVUHk1L2N1cGZWaDduZFNieXQ2Z3hRdzlWQ0ZwRFJNNVgyLzRnTkd2OFMwMnp4bzVQUnJaMHdWTFFndis1Nk5oaHEyNFpNYjN4M2pIbjZhOUg1bnVkcHptWkREdXdKRFI3L056UTdER2p2VTVENmVPb3kvNVVmUFMzSDU1amkzeGlBZDlQdHpKd0lBRkVnTXZGMVpWVC83RDg4U2tQTHZ1NjE1bUlXa1V3U2NYNk1EUjcvSXVoZThhTjh6cE9NckFVSE9EaGk0NGQ5dGpGeGY4d2xuNmtzTzRWeTU0ZmptWHZDczBlOS9LSW8vTGIzVEJUWUFwZ0x3bk5IdjljNko2eEozZ2RocngwbVQzZzB2dC9iV2Zabndwd2pYUzY5N2RhSXJqS3RtVDFCZmVYUFlZelNuakpOSFVXRjhDVzB0Q3NjUytFWm8wZjYzV1k5dWhrTzQzVW1qT2xhR3JBMG84T1BOU3FrR3hBSm5iTHRYL2dYYnFERWdBWHc3YVdobWFOZTdaeDlyamp2UTVFSGEvL3hQNzNxOForTEVqeXdJQ09aOFVkNTlxUm8wK2E0M1VRNmx3ZW0xeDh3b2MvR2ZHSHB0bGpyNnovMWJDZUhSNUE1RUlJU2tPenhzMEwzWE5pcHp5OTI5bDNIc21sNkpYdWgxb1BRU0F5VlNETFFyUEgvYXZ4bnZHanZBNUVIYVAvZVRkUGc4b3Rva2pEVTEySFNmQzlrYmU5K2h1dlkxRDYrNThwUTBiTXVmaVlaOFNTWlFyY3FMQ2VzTFZMUldqVytGY2Jmelh1aDFVbEp4elJnWEVFSWhmQjF0MWp2enJaNmQyTVBUdzNaL0xnb1JEN3ppa25kRHMxTjJpOUM2UHZMUDZzc2JpaXdmRTZXaklJSU44U0cxTkRzOFk5cThhNXQyRG04cFZlaDZMVTZEL3g1dXVoTXN2ckhDbHkyNGpiWHExY2ZmLzU5M2tkaE5MUFExT0t2eDZFekRDQ0t4TnNEa0F3UVZRbTVBVURHcG8xL3QxMVZkRVZTejl2NnFoNEFzaGt3TDRvTkd2OHZMaTQ5M1NidGpUdDUrZkl5Q01GYzZZVS95OGs4REZFdmdkRkVZRHZ3WkpIQnZUTStvWFgyWkpNSUhLSjJNSGxvZG5qbi9ZNkRDVmYvM052bmdxRGg3ek9rVktLL3hyeDc2Lzh3T3NZbEY3bVRCNHlOZ2haZzhTRjRBQWlFSnpXTmRlNk1mWEptcjg0QkZPQ3U4ZCtQWnZ1WTc4eXNoUkE1SHVkL0RSQld3bUFTNzBPUWNuVjc5eWJ2cWtXbmtReTF5dElReUlRRVhsMCtPMHZwK05BWC9LSUVjM3RaUHR4QVRBMTNjZCtaV1lwSU9ya2VwOTc2L0d3NUVVUkNYcWRwWU1FYkpVbmg5KzY0RlN2ZzFESGUrYVNvU01iN3g1N2J1MHZSN1J2OXJmMDhPWFlyNlpaNDU1SnQ3RmZMQVZFblV5ZmlUY1ZCV3hkSUNJRlhtZnBXSkpyVytiRnI5MCtuNU1jWllpL1RpbisrcU9UaTU4TVExZEt3Rm9RTE16WkdabzFma1hqdmVOK00rcW9nak85enRkT29pS1hpSzNMbTJhUGZ6bzZlL1JJcndNQkxBVkVuVXF2Q2RmM3Q0ejFHb0RlWG1meGhLQmJVSFgrc0Z0ZkdlUjFGRXF0eHk0dS9vZEMxbGlXWFA3VnJXSkJNRW9zdWExM1llQnU3OUlsazRnQ2x6cXdWelQ5YXZ4VFhxZGhLU0RxUklLUzk0b0lCbnVkdzJOSFpObXl3T3NRbEZycE9EVjNhb21vNGpLdlU3QVVFSFVxbWxibkh6MTBqTmNCS0xQRlhPTjFoSlRJMkhrS2lJaUlEdGNUeTZ2UkdITXhzbjhlanUyVmd6NEZRZmpoT2lDV0FpSWlvalpTQUovWHhQQjVUUXdBMEQzWHhxaitlUmpXSndjRHUyY2pZSFhPaHNCU1FFUkUxRWE5OHV4NVVQU0VZQ3lBN0pxd2k4WGxEVmhjM29Ec2dHQjQzMXdNNzV1TG9wNDV5TXZxUEdmcVdRcUlpSWphNk1MaFhlZGM4YzkxOHk0N0dibTlwTjlab2pnZklxY0pkRVRVZ2Ixc2F4T1diVzJDQUNqcW1ZMFIvZk53VEs5czlNcFA3NmxGV0FxSWlJZ08wOVB2SXd4VXZBVGdKUUQ0OFlpdTNhVWc1M3lJbkNlUVV4UTRkdjJ1S05idmlnSUFlaGNFTUtwL0hvYjJ6c0dBYmxtdzBtd2dBa3NCRVJGUmt2eGxkVjBOVVBjRWdDY0E0TjlPN25ta0pZRkpvbkpPbG0xTmpFUzFjTm1XSnF6ZEZrRzNIQnMvUEttWHg0bjN4MUpBUkVTVUlnKzl2MnNyZ0VjQlBQcll4Y1Z6QlRMRjYwd0h3MUpBUkVSMG1QNTBSdStDM0s1ZEJ4clZnZGxaZHA4TGo4dWIxNzFrUmEzWHVRNVg1eGtTU1VSRWxDWSsyQkMrYjg3RnhUdHl1blZyVUpHMVlsbXZpT0IzV2NIZ1UwOWRCdHZyZkllTHBZQ0lpS2lONHE0T0JhUlA4eTF5N3FUang5M2Y4WW1TZzZXQWlJZ29pUVJ5UytQc2NUL3dPc2ZoWUNrZ0lpSktNb0g4cGVsWFkwNzBPa2Ric1JRUUVSRWxYNDZxOVd5bzVJUWp2QTdTRml3RlJFUkVLU0ZISUJoOGZtUEpvQnl2azdRV1N3RVJFVkhxak8wYjdEUEg2eEN0eFZKQVJFU1VRZ3BjM1RoNy9CMWU1MmdObGdJaUlxSVVFMkQyd083WlE3M09jU2dzQlVSRVJLbG5qeHVVTjZ3d0o3MC9kdE03SFJFUmtVOWtCUVNuRnhjZ21NYnpIYklVRUJFUmRaQXV1VFpHSEpucmRZd1dzUlFRRVJGMWtGRFVZTTIyaU5jeFdzUlNRRVJFMUFFY1YvSE8ra2JFSFBVNlNvdFlDb2lJaUZKT3pmSXZtamJWTkxsZUJ6a29sZ0lpSXFJVVU4VUQ2eXVqSzczT2NTZ3NCVVJFUktrMXYyQjYyYys5RHRFYUxBVkVSRVFwb29wMWVZRzZ5N3pPMFZvQnJ3TVFFUkg1a21xdHFqdEY3dmkwd2Vzb3JjVlNRRVJFbEh3T0xQMSs0WjNMUHZZNlNGdnc5QUVSRVZHU0dlZzkrWGN1bWVkMWpyWmlLU0FpSWtvaUFaNHBuRloycjljNURnZExBUkVSVVJzRkxka0VvRHJCcGxXNThjcnZkbkNjcEdFcElDSWlhcU9UaW5OdnVYYnV1cDVPbzl2TmN0M3hCdnBkUy9GclMrT1RwV1JUK3M1amZBZ2NhRWhFUkhTWWJsaFlYZ2VnYk04UDhJeW5jZHFOcFlDSWlDaEY5STAvRlRod1Q0TEtOMnFyZDUzU1VGdUwrdHBhMU5mVm9hbStIa0I2WGEzSVVrQkVSSlFrK3ZLRDJVNk9qSVhpZE5pWTZLZzVCWkFBQk9qV3N5ZTZkaTJFMnpVQXN5c01KN3ZSNjdqTnNCUVFFUkVkSm4yakpCQTN2VWJhdHA3cXFFNTBnRE1BNUVJQTdGa01VYU9OTUxYYllYWnRocW5kRHRteklTQmVwVzRaU3dFUkVWRWIyZjFIVFhMZStQNTNITVY1WW1sWG80Q0YzWi95cWdwdHJJYldiWU83Y3hQUVZQdmw0OUt3Qit3bkkwdUJLbDRXNkVTSXBQdi9uMlJSQVJaNUhZS0l5QytrUzg4YkZQanlVMTdkT0xTK0VxWm1LOHl1ejRGNDU3d0FJU05Md1hYUHI3dmdzY25GSndDNEY4QW9LRlpCVWJhOU50NER3RTBleDBzbVZXQ3hVWGRtbCtsTDMvRTZEQkdSbjJpc0NhYTJBcVo2TTdSbUs2REc2MGp0bHBHbEFBQ3VtN2QrT1lBTHIzditxOXZtVEM3NkVTeGZUTjJnQWl4MlhOelZaV2JwMjE2SElTTHlHNmU4RklnMWVSMGo2VEsyRkNTaWtGcFJLQ1R0VC91MFJFWDFUUmU0cTNCNjJWdGVoNkVVVUt5RDRCaXZZNlNCTFY0SG9Bem53MElBY0ViRC9WdzNiLzNUUnN3NFZYMFZ1bmZjS0NEUW1LaStGNHFZRjd6TWR4QXEwRGVOcTJmbVRTODdrNFhBdjFUa1BGVnM4enFIdDNTbmNlMEpYcWVnVk5OWDl0MFBaNEM0S0o3d09nUkx3UUYrTkhmRDB1dWVYejhSNm81WHdTT3E1dXB3M09xZE43M3MxR1ZiR3YvbWRiNERLZlF0WTh4WmVkUEt6aWljV2ZhbTEza290U3BlL2QwbVZaMEFSZTJoNyswL0NtMkE2a1ZyZm5kdXAxcU9sdHJ1MnJucko2bklTVkFzL09wV05hcFlwOERqZFdIM1FlL1NKVlZjb2Y5bkd4bWVONzMwYXEvRDhQUkJDNjZkVjc0RXdCS3ZjN1JFZ2JmVmNlOHF2R3ZwRzE1bm9ZNjFZOEdEYS9xY2UrT0Z0bTIvQmlEWDZ6d2RSUlZSaUY2eDZvRkpIM2lkaFRyR2RYTS9Ld1Z3N3I4dUgzcXFjYzBBQk56WEM2Y3Ryd0tBUjZjTVB0MlN3TTBlUjJ5UHVJbytHNERNekxtejdET3Z3K3pGVXRBR0FrUzl6Z0RGTzBaeFYrR01VbDVpbU1FcVgvdmp1LzBtM0hRWnhKb3JtZkUrZGlCeTdlcjdKNzNpZFJEcWVKYzg5ZW03ZU1yckZFbmpLUFJaWTNSbWx4bExQdlU2eklGNCtxQU5ycHRYL3BLSU9SdEFDNWYzYVJTS2wrc2k4VjhrLzlYMVhRdDZUdjcwMHROWkNBZ0FLdWIvNFNVWXZRNnF2ajd2cXJ2UEs5KysrdjRKLy9RNkM2VVBFVVE3MlpnREI0S25YWEZIRkV3cnV5SWRDd0hBVXRCbTF6eTNZZEcxYzllZHZyY2N5TzYvbEV0RjllZXV5Skg1MDBzdmVQUFQrdVFOU0ZSOXo3YjAzUHhwWmFmbFRpdDdQV25QUzc1UXNlREIvMVZGQ2twbytsREJmNjY2Ly96ZmU1MkQwc3QxY3plV1dzWTlVWUhYRG4xdmpVSjFZVzNZL1V2cWt6WGpBSGpHR0dkay9wMmxsM2U1YytrbkhtUm90VXc0N0pnUzF6eTNZUkdBUmUvOTI3Rkg1azlidFRYNXI2RHYyOUM3Y3FZdmFjVmZlTXBrRlFzZS9FMi84MjdwSXhaKzduV1daRlBGbzJzZU9IK2ExemtvUGYzd2hmSXlBT2M5TXFYb0ZCc3lDeUpuZnJWVlF3QVdXY0N6VGZHYVozdVdySy9mTXc3aHh4MFV6NEhxODhaeFpoYVdMUCtvZzE2ejNWZ0sydW1VaHo1TGJpRlFmR0NyM0pVem8zUkJVcCtYZksxaXdlOS8wZS84VzNvRGVqbUFQSy96SklPcVByZjZnWWszZUoyRDB0LzF6Mjk0RDhCWmoxeFUvRTNqNmpXaWVESFhxWHBCU2paMStGekRzbnZNd0x5QU9ET3lwM1dlTXJBWFMwRUtTTUF5YlQzVEpjQUh4dWpkQlRQS1hrMU5Ldks3aXNqS0h3MG92TWhWNElmU3VVOE5HanRnUDcrNmNmTVZRS2M2WjB3ZXUvNkY5VzhDOE9yU2JCZXE4MnlER2Rrenk5WjZsS0hkT3ZPT0kyMWQvMXo1WndaNnBpb09PY1d3QUI4Q1psTGV0TktUV1Fpb1hSWXZkclk4ZmR0MXJuRlBnT29MQ25TcWlkaDE5K0p5QzR5UmsxKzViZnkzOE1nTmNhOHpFYldDQzJDdWdUaytmM3JadHpweklRQjRwQ0JsZmpSMy9XSUEzNWd6dWVoTVdOWTlBRTdiL3g1YUNxTjM1ODFZOHJJSDhjakh2bmppSjZzQVRCNTA5U1BIcStnc0tDWkpHay9kcllDSzRIVVJhOGF6UHhuRk9RaW9zM0NoZUZHTk82Tmc1dExWWG9kSkZwYUNGTHQyM29ZM0FKeisxNmxGWjZsYWQ3dkdkTEV0dlROLzJ0S1h2TTVHL3JicDhldFhBTGh3NE5WL0hpT3daa0ZsUWpxdDY2R0FBdktHcXpwejNvMG52T3QxSHNvQXRyMFJycjRGa1crMDQxbGNBVjQwY0dZV1RGKzJLbW5aMGtUYTdDQ0lLTFVHWFBuUVdOdVcyVkNjbTZnY0ZQWWRBSkhrbmxFc0h0eTMyVzI3eXdEZU5KWTE4L21mak9JcW50VGhIcjI0K0F4TDVXNElFcGFESzhkMVQzU3pDK2hMNnNyTWdwbWxLMU9iMERzc0JVUVo1cWdySHo3UnRqQkxCR2RqbjMxQUI1UUNWZFYzRkRKejdrMG5MRTdxQ3hFZGhqbVRpODVVc2U0V3dlbjczcjUvS1ZBRDRLVWdNRE5yV3RtS2prM1k4VmdLaURMVTBWYzlkRElFczBUa0xDREZwVUR4cnNLYStkeE5vemdiSjZXZEE4ZCs3UzRGYWhUeWlyaG1SdjdNSmN1OVRkaHhXQXFJTXR6QXF4NCt6YkowZG1IZm8wOFhrZVR0RTBTY29rRjl5Z0RjOWR5TkozQVNMa3A3ZThkK1hURzJXNk9JbVpZL2Jla3lyek1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VYWNtWGdkSVJ4OVBQYnRuTnN4UmxzR1JScXdlRnJTYld1Z2xrTjVRN1ExSWJ3RGRBR1JEa0Exb05oVFpnR1R0dVMyb0NnZWlVVXNscW9Jb2dCaWdVU2lpQUdvaHFBSlFwU3BWbHVoTzE2RFdzclFhWW0rTE4wVy9PT2FWdDZ1OC9CMVE1L0cxMjE0NjJsWnJpb2ljQjJBa29IMWw5OS9GVGtrVmNSRlVRYkZLb2E4WmxYbHJmM3YrZXE5ekVXV0NqQzBGYXk4Ym5wVWI3VGRNTEIwdWd1RUNIS01peHdCYURFaWgxL2tFQ0Jub0JvR3NVOVYxQWxtajZxNUZMVDRadkhoeHhPdDg1TDNqL24zK0FFdDBKaFRYUW56OFhsYW9panl1bG52WG1sOVAydUIxSENJLzgrK081QUNiTHZyR1lBU0NwMEQwSkVCT1V1Z29nUVM5enRWbUNnZUMxYXI2SVNBZm1Iajh2YUlYMzFybmRTenFXQ051bS85dFFPY0lrTzExbGc2amlCdkJ6V3Z1UC84aHI2TVErWlZ2UzBFSllQMWc2dGtuaXVBaUJhNEFNTVRyVEttaWlpMWk2Wk5HOGNMZ1p4ZTlJNER4T2hPbHpvamJYNzFIRkRPOHp1RVoxUWRYUFREeEZxOWpFUG1SNzByQnJva25kcW5QenI5R1JHNkVvTWpyUEIxTkZWc0EvVk9nS2Z6b2dQbnZWM3VkaDVKcjVHM3pmd0xvbjd6TzRUVTFPbVAxYnlmTzhqb0hrZC80cGhROEJkZ25YbkxPdGFwNkg0Q3VYdWRKQTQwS25USElYdlFIZVJxdTEyR28vVWJjK3NySnNQR09RQ3l2czNoTkFXT2drOWJlUDNHKzExbUkvTVFYcFdEZHhPTHNySnlCZjFlUnk3M09rbTRVbUIvWTNqUjF3UHZ2aDczT1F1MVJZbzI4N2FUM0FZejNPa25hVUYyN3FzdUhJMUZTd3RObFJFbmlpMjhjV1RrRGIyVWhTRXlBQ1c2LzNObGU1NkQyR2ZudkoxNElGb0w5aVF3L3J2N2tIM2dkZzhoUGZGRUtJc1o4MStzTTZjeFZUUEE2QTdXUGlsenZkWVowWkFIWGVKMkJ5RTk4VVFxK0NEVjF2a3NMTzlEMmNKUG44eTdRNFR2aStoZnlCRGpYNnh4cFNmVEVvZGM4ejcvZlJFa1M4RHBBTXF5cXJna1hCQVBvbTV2cmRaUzBVeE9OWW1uVkxrNTIxSWwxSzdDSEFtalhESVhEQjNUQjJjZjEzZTgyeHlqK1BILzNSSUZIOTg3RGxMRkhObnZjWTYrWG95bm1vbGRoRnE0KzdlaG0yNS81WUF1MjFVU1FFN1J3L1RuTkwvWlpzS29DbjJ4dEFBRDgrTHdpQk8zOXY0ZVVycS9HQit0MkhmYWZDMEFncTJ0d05JQTMyL01rUkxTYkwwcUJxeTdlcWRpQm9kMjZZbGpYcmdoWXZqZ0EwaTVHRmVVTkRWaGRYUU5IMWVzNDFBNDJwSDk3bjJQWUVWMXc3ZG43VDlVUmpidGZsb0lCUGZPYWJRZUF4OS81SEUweEZ6MEtzaE51ZitlVEtteXJpU0E3YUNmY3ZyRXk5R1VwK1A0Wmc1R2JaZSszM1RIYTNsSUFzZXhCWUNrZ1NncGZsQUlGMWdNWTlVbHRIY3JyR3pDMGExY01MTWhIYnNBWGY3dzJpUnVEcmFFUVBxNnRROGh4QUFDaTJPcHhMR29Ic1NXWDAxRzFURlVMdk01QTVCZSsrTlJVTmJORXJQTUJ5WThaZzlVMU5WaGRVNFArZWJrNEtpOGZmWEp6ZkYwUTRzYWdLaExCdHFZbWJHa013ZDMzeUlBaUtrWTV5VXNuNXNTaXVZRkE1c3htM0ZZbUhtTXBJRW9TWDN4Uy9tTEZwaFgvUFdyd1diWWwvd1JRdlBmMjdVMWhiRy9hZlhsK2wyQVEvWEp6MFNNbkcxMkNXU2dJQm1CSjU1eW1JZXc0cUkvRlVSdUxvU0xjaEoyUktCS2VJRkJVS3ZTYTIxZVZ2OTdSR1NsNTFIRnl3RkxRSWtVc3orc01SSDdoaTFMdzBoa25qTDFnOGZMU2trR0RSaFIwdDI4SDlLZUE5TnYzUHZYeE9PcmpjYUIrOTM5YkFuVFB5a2FQN0d4MHpjcENYc0JHYmlDQVhEdUFnT1Y5V1RDcWlMZ3V3bzZEc091aVBoWkRkVFNHNm1nVU1YT0lZOG1LQm9qNVc5eDE3L3FQMVp0cjN2ekc4Y2Q4ODYwVlhEU3BreExqK09KOW1qSkcrZnNoU2hKZnZKbXlBb0UvYjd6a3pKc0cvK3VORDdFSnMwcUc0NzR1d1NHWHVzRDNJZklOQVhJT2ZJeFJZRmMwaWwzUmFMUG55N1lzRkFhRHlBOEdrRzNieUxac1pOa1dndGJ1bnl6TFFzQ3lZQUd3UkNBaXNDQ3daTTkvQTFEcy9tRGYrODk5LzkweGlyZ3hpQm1EK0o2Zm1IRVJkUTFDOFRnYUhRZE5qcFA0MjM5TFZJMEN5NkI0d20zQW5GK1diNndEZ1BKdm5UbDVTMk40TklDU3R2OW1LVDNZaDc1TFp2Tyt4UlA1aEM5S1FVMGtsb1V1OHZiR2I1MzFLeWNjZXVDWVZ6NnNCOG9mQi9ENHIwZjJ6WWVkUDFraDU0dmlaQWlLY1lpZFNOUVlSS05SN0V4UUdOS0thcVdLdkcrcExnNXI3T25wSzcvNGNrRGhsZ2tUZXBqOCtBeFYzUEp4ZGMzRFhzYWtqbkYwcnp6TXVtcEV3bTA5Q3BwZjBSZ01XUGpIVFNjQ0FBcHpFKzhLL25EdGFEaXVJaWNyY1RHWmZzbHdoS0lPN0JhT3J0MXdiaEV1UDJVQUFDQTcwUHlxb0l2SEg0bVRqKzJaOExHei8vVVJQdG5Xa0hBYkVhV0dMMHJCem1qRUVVZ1F3RjNCblB5Yk4xMTg5aDhkY1o4cWZtN3htcCt2MmhFQzhNU2VINVFjUDZoYmdlSkVXTmFKQUVhcFlyaUlGQ0c5ZnhjS3hUYUZyb1ZnalJvcHRTenp3ZTByTm41KzRCMjNURDU3cEdQclZhN0Vmd3BJWWNpSngwS093NithR1NBM3k4YklvN3UxK3Y2V3lDSHYvL1dqRHI2MldGRy9nNC94RzlBckR3TjZ0WHpLdjIvWEhQVHQydXhBSGdBZ1B5ZWQzNUpFL3VTTGQxMVRQTGEwSVJZZlU1Z1ZCRVM2UXpBakFIdkdwcWxuclZUb1h3UEdmdU9vNXhldUZjQ1VyTmhVQzJEK25oOEF3TU5Bc083NElZTUFIQVBnR0V1a0NLb0RBQndCa1I0QXV1MzVTY0h2UzEwbzZnSFVBbEtyME8wQytRS2lHMFYxQTlTc2R5S2g5WGQ4dWpQaFZ5WUZyUElwNXd3UFdIcW1BYTV6QlNOa253TWh1NkxSTElXdVNINXVJaUx5RzErVUFsVzhYUmtKWDErWWRjQnN4eUtqQlBKNzExWjhQdldzbXMrQmhiQ3NoWERkcFdFVCsyell2SGNiQU9BR0lJNFY1ZXNBSEhRdzNtK1BIOVF0RHF1M0RlbHRvTjFGa1EwTDJWREpBcEFOTWRsR2tRMGdDN0JpbHBpb2loV3pES0lxR29VZ2FsekVMS0EyWnN6T0x2RjQxYzVQdHRhVW9QVlhvVmVjTnpJL1V0QnJxQ2pHR09DY1RjQzV0bWgzUmVKeklqc2pFWWhpWVd1Zm40aUlNcGN2U29FRktkMFppYUtveTBIdUpOSmRnY3VnZWhrc0N6bVNyWnVtbmxVdXdES2p1bHdzK2NRWWJNMnl6TFlqcTFFaGl4YzdCejdGejNZZlphakZJY3BEZTcxeEJnSkhGSnpWTjVBbFIxakdQZEt5N0dNTk1Ob0NSa2RVaXdFUmxkYU5ycXFLUkhmY3RyTDhzMVRtSlNJaWYvQkZLYmh0WmZtNmg4Y1Ayd1VnOFlpbFJFUUVRSkVDUlNKeUdRQllGdURBeHVZZWNEZDk2K3l0VU4wSXdXWlY3QlNSbldxMEJrQ3RxTmE1bHRZSFhVUWNXK0syc2VKV0lCNFB1RmE4MFlJVGlNQUo1RnUyRXpkQlk1dGd3QWtHWGNzRTFkV2dRcklEbG5SUm9Cc0VYU0hhWGRYcUpVQXZFUjBBeFdDSURNRGVJZWVXamIxSEFYUjM3bGIvRVNPT2cvcFliRW1ySDBDZFduMDRqbGRYYkUrNGJVRFBQQXdmY1BEeEFWN1lVTkdJZFJXSkJ4UFdOTVk2T0EwUithSVVBTkNHV0h4UjFIVXZ5N2JiUDZaT2QzOGdENFRJUU9DcnoySDVjb1Mxd0FaZ0FydVhtVlFiY0RVSTF3S0NBSkFEdUM0Z2xnMWJiYWdOV0xEMisyM0xQdi8yMWVkOEs3Lyt0MUoxTkFaQTMwL2VNMUk2MjFZVHdSMy9iMVhDYlplY2VOUkJTNEZyRkk3YjlybVVBN2JWNHBVSHJiRnc5WTR2MTE4Z0l1LzVwUlFBME1XVjRjaGxBd3J5dlE2U05xcWpVY0FveHhQUUliMzM2VTdjT0dkWm14OG5BdlFxek1hcFEzdmhrcE9PYXRQVkQwU1VmbnhUQ2x4QmFWVWtESmFDcjFSR0lvMmxxemJ4OUVHRzZOODlCemRQT2piaHRvRTlVek1Uc0NwUVZSL0YzTEt0bUZ1MkZWZWNNZ0MvbURJTUFidDFLNVdlUGFKUGk1Y3NQdkxhQm15c0RDVXpMaEVkZ205S1FUaFd2cW8yK3JVd2dGeXZzNlNEdURHb2lVYVdQUTI0WG1laGp0RTFONGhKSjdSN2xlVjJlZks5TGJCRThNdXBYMnZWL1l2N0ZhSzRYMkhDYmMrOHY0V2xnS2lEdGE3T2R3SWxheEdyamNYZWRRKzFMa0NHcUluR1lGUkt2YzVCbWVmLzN0Mk1kZHM1RXlGUlorU2JJd1VBNEtvdXFvcEV6K21YeDRNRk5kRW8xTGhjSFpIYTVaVTd2NEZlWFpxdjBPZ2F4WlpkVFhqcXZjMTQrdjB2OXR1bUFKNTZid3VtWGZMMURrcEpSTW5pcTFKZ3FmdEJWU1FNbGdLZ01oS0pDOEp2ZTUyRE9yZGd3RUpXZ2pVTEFPRFkvb1dZZnNsd1dDSjQ4cjB0KzIzN2VHdDlSOFFqb2lUelZTa0lob0pMcS9OaUxqSjhXVG1qaWwyUnlONTFIeWhETk1WY0xOOVlrM0JiejhKc0REeklHZ1R0TVdsMC8yYWxvRDRjYjlWaksyckQyRjRUU2JpdE1kSnMvakFpU2pGZmxZS2IxNit2LzMyWDRoV3FPa2JhTU1tUDM5VEZZbkNNbG5tZGd6clc1cDFOK01HZkVnOGp1ZVRFb3pEenN1RXBlZDJ1dWNGbXQrVm50MjdYOG56Wk5zNVRRSlJHZkRQUWNLKzRNYS9YeERKN0pyVHFhQXdRWGV4MURzb01sZlhObHhnZmVrVGlLd3FJS0wzNTZrZ0JBSWpvdTVYaE1IcGtOeDhjbFNsMlJzSWFqZXNpcjNOUXgrcFZtSVhMVHhtWWNOdlhqa3pOaDdSckZJKy9zLzhLM2lMQXBTY05hTlhqeHhaMXgwOG1GQ2ZjTnJmMEMyeHI0ZFFDRWFXRzcwcUJBMmZKcm1qemJ5NlpRbFZSRllsc21MWm00dzZ2czFESDZsV1lqWmVrYWxjQUFBc0xTVVJCVkJ2T0xVcnFjMjZvYUVSMVkvUDNrekhBOXBvd25ucC9DOTcvYk5kKzI2NCs3V2djTjdCMTZ5eU1HZElEWTRiMFNManR3M1c3V0FxSU9wanZTc0VkeTdkcys5UFkzSElBUTd6TzRvVkd4MEhZZFRtTElTWEZEWSswL3E5U3dCWmNjK2FRRnIvNUUxSDY4OTJZQWdBSU8rN0N4bmpyUmovN1RVMDBCbEh3VWtUcVVEbFpObjc3L2VQeDAvT0wyN0tRSnhHbEdWK1dBbFh6ZG1VNE13ODc3b3hFNEJybHBFWFVvU0l4RnpmOWRUbitQSDg5VkwxT1EwU0h5M2VuRHdEQUtNcXFJaEVNNlpKNUk2QXJJK0hLTzFadC9OVHJITlR4WXE3QjF1cW1oTnZ5c2dQb25wL1Y1dWZzMnpVbndkTElpc2FJbTNBdWdvZGYyNEFCUFhOeDBkZ2pXL1g4OWVFNEdscVkweUFhNTVUbFJCM05sNlhnamxVYlAzdDQvTEJkQUhwNm5hVWpoUjBYamJFNDV5ZklVT1U3UXBqMHE4Um5qZzUzbm9KLzNuSVNlaWVZNWxnVitHeGJQVXFlWG91UHZ0aC85c0svdjdtcDFhWGdpWGMyYzU0Q29qVGl5OU1IQUxRaEZuc2o2bWJXQW9FMTBTZ1U4cjdYT2NqL1JJQ2hSM2JCSDY4ZGpaemcvcnVSejdZM1lsTVZKOU1rNm94OGVhUmdqemNxSTVGTEIrVG5lNTJqdzFSSG96QmNCQ2xqZGMwTDRzemhmUkp1TzM1d3Q1Uzhacy9DYkp3MnJEY1dydDcvQ3RpUHR0UmpVTzlEdi9lR0hWR0lpOGNsUHFydzlpZFYyTldRMlJPUkVYVTAzNVlDUzFCYUZRNGprMHBCWlRnU1dySnFFMDhmWktqKzNYSnc5eFhIZGZqcmpqK21SN05TOEhrcmp4UjhjM2dmZkxPRkluUE5uMHRaQ29nNm1GOVBINkErVnI2cUpoYkxtRXNRNHNhZ0poWloralNRV2VkTXlITzlDcHVQT2Fpc3o1aTNIcEd2K0xZVWxLeEZyQzRhZThjeG1UR0N1VFlhaFZGSnZCb09VUXAxeld1K0lGSjFJNy9oRTNWR3ZpMEZBT0NxTHRvVnlZeHZMTlhSR01RRjF6dWdEcGVvRkZUV1plNVU0MFNkbVcvSEZBQUFqUHRoWlNTS3ZubXBXVWMrblZSRkluR1Z4cmU4emtIZVVRQ09tL2pJbUlna21HOGdPUkpkc2xpK294R3UwVU8rcGpFSzA4SnNSNXdFaWFqaitib1V1STMyMHVxOGlJSFBqNGdZVlZTRkkydC92bW9IcndQTFlKOXVhOENZTzE1THVPMXc1eWxvamE1NVdlamZQUWZiOTFtOEtCSTNlT3VqS3B4NVhPSkJoSHM5K25vNTV5a2dTaU8rTGdXL0xDK3ZlN0I3OFFwVkhTMCtucEM5TGhhRG84cXJEdWl3SGR1L0VQZGUyZnpLaGNLY1ErOGlSSUJmWFRVU1h4d3dtMkxYL09hbkZZZ292Zm02RkFCQXpEVUxhNkt4MFQxeW1oL2k5SXVhYUF5QUx2WTZCM2tyTDl2R3FLTVR6MGN3cEcvQlFSL2J0MXNPSnJkeUZzSkVSZy9wanRGRHVyZjVjVWYxek1QSnh5YWVlSFR0bGpyVWg1M0R6a1JFYmVmN1VxQXc3MVZHd3ZCekthaUtoRFhtY0JHa1REZXdaeDRldW42czF6SGE1SUxSL1hIQjZQNEp0MTN6NTFJc0xhL3A0RVJFbWMzWDU5b0JJS3JPa2wxUi80NkVWZ1dxSXBIeWFXczI3amowdlltSWlGcm0rMUl3ZmVVWFcydWlzWTFlNTBpVlJpZU9pT3R5UEFFUkViV2I3MHNCQUVRZGQyRmpQUEh5ckoxZFRUUUtvL3FPMXptSWlLanp5NGhTb0dyZTNoSDI1eVJHT3lOUnFNRkNyM01RRVZIbjUvdUJoZ0FBbzJVN0l4RVVkU24wT2tuU1ZVYkNsWGVzMnZpcDF6bkllK3NyR2pGaDF1S0UyeWFlY0FSdXZlRFkvVzZMT2dhVC8ydjNmRmZqaW5waTFsVWptajN1eXQrOWg1ckdHSWIwTGNCZmZ0UjhFT050LzdzY2E3YlVvVEEzaUdkdU83WFo5bC9QK3dRTFYxVUFBSjYvNDNUa0JPMzl0di96N2MveDl6Y1RuOTNqWWtoRUhTOGpTc0h0cXpkOSt2RDRZZFVBZW5pZEpaa2lqb3ZHV0p6akNRZ0E0QmhGUlczaVFiWDFUUWxPbitsWDk2OEpKZjRBcnFxTFltZERERjF5c3hKdXIyNk1vYUkyaW5BczhVeUtkYUg0bDYrUmFJYkN4b2pUWW1ZaTZuZ1pjZm9BZ0RiRVk0dWlycjhXRUt5T1JRR1ZEN3pPUVVSRS9wQXBwUUNpdXJqU1orTUtxaU5SaUxvY1QwQkVSRW1STWFWQUlhVlZrYkRYTVpLcU1od0pEVmkxaWFjUGZNOWZSN2lTem9CTEp4RWxTY2FVZ3NaNCtjcWFXTXczaHdvY1kxQVRpeXk3bko4WXZ1YzRVZjQvUGdqWGpmRDNRNVFrR1RIUUVBQksxaUwyd09qWWU2N1JzMUsxaEd4SHFvbEdBWlVQdmM1QnFSY1BWVWR6dWh4OHRjRkRhWW81MkY2ei81R3ltUFBWNE1CbzNEVGJEZ0R1bnUvZ2pwdDQrOTduTUtvSnQ0ZGpYMzFlVjlSR2tCUGMvM3RJWTZUOWF4dkVROVgrT2dSSTVLR01LUVVBWUl4NWZXYzBjbGJmM0Z5dm83UmJkVFFHRlN6eU9nZWxYcmhtUzFOQjMyS0lkZmh2MTFlV1YrQ1Y1UlV0YmkvYlVJM3paNy9WNHZieXl0QkJ0emVFbllOdUI0Q0w3MHYrSEZ0cVhFU3FOemNtL1ltSk1sVEduRDRBQURYV0IzNFpiRmdWaWNUVmJUejRYcGo4d2NUQzBYb3ViWkZJUEZRTjE0MkZ2TTVCNUJjWlZRcmNSbDFhSFkwa3ZxQzZFekdxMkJtTnJQMzVxaDNjR1dZQU1ib2pYTDNaNnhocHFhbjZjeGlSYlY3bklQS0xqQ29Gdnl3dnI2dUx4VmRvb2xsVU9wRzZXQXh4VjNuVlFZYUlOelY5R20rcWRYaTBZSCt4MEM3RUdxdU1wYkZsWG1jaDhvdU1LZ1VBRUhPZDEydGpuWHY2MUpwb0RJQXU5am9IZFl5ZDcvNjFRWUEzR25kOEFuWDl1YkJYVzZseDBGanhNUUNzM2JIZ29VcXY4eEQ1UmNhVkFvVyt1M1RuTGtTY3pua1ZVMDAwaXJVMU5hcHh3MEdHR1VUVlBHSmlUYWpic2dLZC9VaFhlNmtxR3JhdWhodHBnRUtmOERvUGtaOWtYQ213MVZsU0c0dGgvdGF0K0t5dURwRk9NdlZ4UXp5T2xidXFzV2piZGtTTktmL0YyazB0RHlVbjM2bFkwUE5aQlZiSFF6dFJ2M1VsMUhTT3Y3Zkpwc2FnY2ZzYVJPc3JvS3JiZGtUcWYrdDFKaUkvc1E5OUYzK1p2Nk8rNGR4K1BhNHowQzQ3d2hHc3I2dEhmVHdPbzBDV1pTRm9wVWRQVWlnYVlnNitDSVd3cHJvR3E2cHJVQjNkczNDTTZxSUZGVFZQZTV1UU90Wml6Ujh5N2xNUjY3dHV0RkZpb1owSTV2ZUFaU2RlcU1pUDNIZ1k5VnVXSTlhd2UyeUZpdndzdFBCaGpxMGhTcUtNS3dVQWNGNy9idldpY2hFRW9nRHE0M0ZzYldyQ3V2cDZiRzVzUkhVMGlpYkhoYU83TDFTd0xZRWxxWnZ3eURFR2pmRTRka1dqMkJvSzRiTzZPcXlxcnNHbmRYV29DSWNSY3I2YTRFVVZEWllqTnk2b3JObVNza0NVbGtJYlNqZm1EemtwSm9KempCTkZwSG96MU1SaFp4ZkNzdjA3NVloeG9taXEyb0Q2TFN0ZzRudm1LVko5ckdMK2czZDdtNHpJZnpyLzFINkg2YjZSZzg2M0xPcy9JWEo4YSs2Zlk5c29DQWFSYTl2SXRpeGsyemFDdG9XZ1dMQkU5dndBbGdnRWdOSGQzL2FOS293Q3Jpcml4aUJtWEVUZDNmOXNjaHcweGgzRVRHdXVrbFJYRmErTE9EKzdmZm5tajlyM3A2Zk9yTitFbS84b0lqL2Q5N1pnZmc5a0ZmU0duWlVQc1lPUUZKYllWRk5WcUluRGpUWWhGdHFKZU9QT0E3YWJlUlh6Szc0RlBKMlo1MUNJVXFqejdqbVM1TDRUQm4zVGd2MWpoWDVUSVAyOHpuTUFoZXBuQUJiR0ZBL2V1Ykw4TTY4RFVYcm9OK0hXbjRyb0F3QXk1dnlCQWthZy83MzkxUWZ2OURvTGtWOWxmQ25ZMTMwamp4NHRsalZSWUkwRU1CeUNZOUNoTzEwTlFmRVJSRDZDTVV2am9pLzh4NHBObXpydTlha3o2VFB4cGlMYldMOEJkRXFuUGpUUUNxcjZCa1R1cUhqMTl4eERRSlJDdnQ2UnROZkRRTEIyNU9BaGxpWEZDaFRicWtQVWt0NkFkQVBRVFlCdUNuVEY3dUlRVkdoUUlFR28yb0E0RUkwREVsY2dEa1VVMEZvQmFnSFVRcVFHYWlwVXJRMndkRU5BemZxZnJkajBPY0JsWUtsdGVwNTM0N0NnV0Q4VWtWTlZVUXhvRHhFSmVwM3JjS2tpTG9JNlZXd1E2QWRRL0dQN2dnZVhlcDJMaUlpSWlJaUlpSWlJaUlpSWlJaUlpSWlJaUlpSWlJaUlpSWlJaUlpSWlJaUlpSWlJaUlpSWlJaUlpSWlJaUlpSWlJaUlpSWlJaUlpSWlJaUlpSWlJaUlpSWlJaUlpSWlJaUlpSWlJaUlpSWlJaUlpSWlJaUlpSWlJaUlpSWlJaUlpSWlJaUlpSWlJaUlpSWlJaUlpSWlJaUlpSWlJaUlpSWlJaUlpSWlJaUlpSXZQZi9BUXhTbkNwOWtFTTdBQUFBQUVsRlRrU3VRbUNDIiwKCSJUaGVtZSIgOiAiIiwKCSJUeXBlIiA6ICJmbG93IiwKCSJWZXJzaW9uIiA6ICI1Igp9Cg=="/>
    </extobj>
    <extobj name="ECB019B1-382A-4266-B25C-5B523AA43C14-3">
      <extobjdata type="ECB019B1-382A-4266-B25C-5B523AA43C14" data="ewoJIkZpbGVJZCIgOiAiMjQyNzA4MDkwMDQ2IiwKCSJHcm91cElkIiA6ICI3ODQ0NDA4MzkiLAoJIkltYWdlIiA6ICJpVkJPUncwS0dnb0FBQUFOU1VoRVVnQUFBZ1VBQUFFdENBWUFBQUNZaXhQTEFBQUFDWEJJV1hNQUFBc1RBQUFMRXdFQW1wd1lBQUFnQUVsRVFWUjRuTzNkZVh4VTViMC84TS8zbkpuc1lWOVZFRWdVV2dTVXpiMTFSMUJCNm01M3RYcmJ1dlZxYTY4c1JvWGVlMjIxcmQzYzZPMXRmOVhyVWtWY1FVVGNOV0ZmM0lDQUlCQVN5RDZaN1p6bisvc0RVQ0FUU01oTXp1VE01LzE2NWFYT21lVkRaTTU4NXB6blBBOUF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NVV2NUckFKbGl6dVFoWTJGWmQxMDZwbHUzb01nZGVkUEwzdk02RXhFUjBiNVlDbEpzYnhrQTVFSUF1SEpjOXoxYjlEVVJ1U3Z2enRMM1BZeEhSRVQwSlphQ0ZKa3plY2hZc2F5WkNybG8zOXUvS2dWN0tCYUlRVW5lVEpZRElpTHlGa3RCQ2p3eWFjaXhkcGI5YWFKdHpVckJsM1MrcUZ1U04zM1pCeW1NUmtSRTFLS0Exd0g4U0cxakFYWWJIeVVUVkFJVFFyUEd2U3JHbE9UTlhQcGhTc0lSSFdEd2R4NGFwVVpLQ3ZzTm5DSWl5ZnVpSUhDS2p1NzdtcXFVekwzNStOS2tQUzlSaXV3OTNYdjUyQjc1Tm5SNkpvNzk0cEdDZG5ydjJ1RTlUcG16dG5yZjJ4NithTkN3Z0IzOE9OSDlXejVTY0NCOVJWUkw4cVl2NGM2VVV1S29iejg4d29iT0ZNaWxBRkRZZHdCRXJLUytSdkhndmdBQVZiemtRa3ZtM1RSNlNWSmZnQ2dKRGp6ZG04bGp2MWdLRHROZkx5b2ViV3pNSERzd2IvS3hmWE1XQ2ZEWHBuajFpejFMMXRjbnB4VHNvWGdadHBiay8wZFpXVEp5RXcyODZwSGhscVV6QUZ5T2ZmWUJxU3dGZXloVVg0Q1l1NSs5Y2V5eXBMNFEwV0ZvN2RndlZTeXc0TnlWQ2FkM1dRcmE2TkdMaThaWUtqTWhNaGtBeGh5ZGkyUDY1T3pkSEFiMHlmVTdvdTh1MlJ4K05OSGoyMXdLdnZJU0ZDWDUwMHY1VFlzT3k5RlhQUG8xQk14MEFhNUNndmQrQjVRQ0FJQUNDbUN1Q3U2Wis5TVRWaVQxQllsYTRkR0xpOGFJeWwwaSs1ZUJ2VnJjVDZ1KzZzQzl1NnVQeXdGTFFSdk11YmhvSW1DOXZPOXRCNVFDQUVCOTJNWExhK29UUGtjN1NnRUFRRlZmZENCM2QyTTVvRllhL0owL0R6VnFUUmVWYjBOYWZzOTNWQ25ZU3dFVjRGL2ltSHYvZGV1WVZVbDlZYUlFL2o2MXFFL015R010bFlHOURyV2ZWdFZYTForTy9VcnVIc0Ruak5GY3J6T0l5SVZCUVZsbzlyam5RL2VNSHVOMUhrcGZSMTM5MERFRHYvM3czOVRZSHd2a093Y3JCRjZRM1Y5S0xqVUJhOFhVUHk1L2N1cGZWaDduZFNieXQ2Z3hRdzlWQ0ZwRFJNNVgyLzRnTkd2OFMwMnp4bzVQUnJaMHdWTFFndis1Nk5oaHEyNFpNYjN4M2pIbjZhOUg1bnVkcHptWkREdXdKRFI3L056UTdER2p2VTVENmVPb3kvNVVmUFMzSDU1amkzeGlBZDlQdHpKd0lBRkVnTXZGMVpWVC83RDg4U2tQTHZ1NjE1bUlXa1V3U2NYNk1EUjcvSXVoZThhTjh6cE9NckFVSE9EaGk0NGQ5dGpGeGY4d2xuNmtzTzRWeTU0ZmptWHZDczBlOS9LSW8vTGIzVEJUWUFwZ0x3bk5IdjljNko2eEozZ2RocngwbVQzZzB2dC9iV2Zabndwd2pYUzY5N2RhSXJqS3RtVDFCZmVYUFlZelNuakpOSFVXRjhDVzB0Q3NjUytFWm8wZjYzV1k5dWhrTzQzVW1qT2xhR3JBMG84T1BOU3FrR3hBSm5iTHRYL2dYYnFERWdBWHc3YVdobWFOZTdaeDlyamp2UTVFSGEvL3hQNzNxOForTEVqeXdJQ09aOFVkNTlxUm8wK2E0M1VRNmx3ZW0xeDh3b2MvR2ZHSHB0bGpyNnovMWJDZUhSNUE1RUlJU2tPenhzMEwzWE5pcHp5OTI5bDNIc21sNkpYdWgxb1BRU0F5VlNETFFyUEgvYXZ4bnZHanZBNUVIYVAvZVRkUGc4b3Rva2pEVTEySFNmQzlrYmU5K2h1dlkxRDYrNThwUTBiTXVmaVlaOFNTWlFyY3FMQ2VzTFZMUldqVytGY2Jmelh1aDFVbEp4elJnWEVFSWhmQjF0MWp2enJaNmQyTVBUdzNaL0xnb1JEN3ppa25kRHMxTjJpOUM2UHZMUDZzc2JpaXdmRTZXaklJSU44U0cxTkRzOFk5cThhNXQyRG04cFZlaDZMVTZEL3g1dXVoTXN2ckhDbHkyNGpiWHExY2ZmLzU5M2tkaE5MUFExT0t2eDZFekRDQ0t4TnNEa0F3UVZRbTVBVURHcG8xL3QxMVZkRVZTejl2NnFoNEFzaGt3TDRvTkd2OHZMaTQ5M1NidGpUdDUrZkl5Q01GYzZZVS95OGs4REZFdmdkRkVZRHZ3WkpIQnZUTStvWFgyWkpNSUhLSjJNSGxvZG5qbi9ZNkRDVmYvM052bmdxRGg3ek9rVktLL3hyeDc2Lzh3T3NZbEY3bVRCNHlOZ2haZzhTRjRBQWlFSnpXTmRlNk1mWEptcjg0QkZPQ3U4ZCtQWnZ1WTc4eXNoUkE1SHVkL0RSQld3bUFTNzBPUWNuVjc5eWJ2cWtXbmtReTF5dElReUlRRVhsMCtPMHZwK05BWC9LSUVjM3RaUHR4QVRBMTNjZCtaV1lwSU9ya2VwOTc2L0d3NUVVUkNYcWRwWU1FYkpVbmg5KzY0RlN2ZzFESGUrYVNvU01iN3g1N2J1MHZSN1J2OXJmMDhPWFlyNlpaNDU1SnQ3RmZMQVZFblV5ZmlUY1ZCV3hkSUNJRlhtZnBXSkpyVytiRnI5MCtuNU1jWllpL1RpbisrcU9UaTU4TVExZEt3Rm9RTE16WkdabzFma1hqdmVOK00rcW9nak85enRkT29pS1hpSzNMbTJhUGZ6bzZlL1JJcndNQkxBVkVuVXF2Q2RmM3Q0ejFHb0RlWG1meGhLQmJVSFgrc0Z0ZkdlUjFGRXF0eHk0dS9vZEMxbGlXWFA3VnJXSkJNRW9zdWExM1llQnU3OUlsazRnQ2x6cXdWelQ5YXZ4VFhxZGhLU0RxUklLUzk0b0lCbnVkdzJOSFpObXl3T3NRbEZycE9EVjNhb21vNGpLdlU3QVVFSFVxbWxibkh6MTBqTmNCS0xQRlhPTjFoSlRJMkhrS2lJaUlEdGNUeTZ2UkdITXhzbjhlanUyVmd6NEZRZmpoT2lDV0FpSWlvalpTQUovWHhQQjVUUXdBMEQzWHhxaitlUmpXSndjRHUyY2pZSFhPaHNCU1FFUkUxRWE5OHV4NVVQU0VZQ3lBN0pxd2k4WGxEVmhjM29Ec2dHQjQzMXdNNzV1TG9wNDV5TXZxUEdmcVdRcUlpSWphNk1MaFhlZGM4YzkxOHk0N0dibTlwTjlab2pnZklxY0pkRVRVZ2Ixc2F4T1diVzJDQUNqcW1ZMFIvZk53VEs5czlNcFA3NmxGV0FxSWlJZ08wOVB2SXd4VXZBVGdKUUQ0OFlpdTNhVWc1M3lJbkNlUVV4UTRkdjJ1S05idmlnSUFlaGNFTUtwL0hvYjJ6c0dBYmxtdzBtd2dBa3NCRVJGUmt2eGxkVjBOVVBjRWdDY0E0TjlPN25ta0pZRkpvbkpPbG0xTmpFUzFjTm1XSnF6ZEZrRzNIQnMvUEttWHg0bjN4MUpBUkVTVUlnKzl2MnNyZ0VjQlBQcll4Y1Z6QlRMRjYwd0h3MUpBUkVSMG1QNTBSdStDM0s1ZEJ4clZnZGxaZHA4TGo4dWIxNzFrUmEzWHVRNVg1eGtTU1VSRWxDWSsyQkMrYjg3RnhUdHl1blZyVUpHMVlsbXZpT0IzV2NIZ1UwOWRCdHZyZkllTHBZQ0lpS2lONHE0T0JhUlA4eTF5N3FUang5M2Y4WW1TZzZXQWlJZ29pUVJ5UytQc2NUL3dPc2ZoWUNrZ0lpSktNb0g4cGVsWFkwNzBPa2Ric1JRUUVSRWxYNDZxOVd5bzVJUWp2QTdTRml3RlJFUkVLU0ZISUJoOGZtUEpvQnl2azdRV1N3RVJFVkhxak8wYjdEUEg2eEN0eFZKQVJFU1VRZ3BjM1RoNy9CMWU1MmdObGdJaUlxSVVFMkQyd083WlE3M09jU2dzQlVSRVJLbG5qeHVVTjZ3d0o3MC9kdE03SFJFUmtVOWtCUVNuRnhjZ21NYnpIYklVRUJFUmRaQXV1VFpHSEpucmRZd1dzUlFRRVJGMWtGRFVZTTIyaU5jeFdzUlNRRVJFMUFFY1YvSE8ra2JFSFBVNlNvdFlDb2lJaUZKT3pmSXZtamJWTkxsZUJ6a29sZ0lpSXFJVVU4VUQ2eXVqSzczT2NTZ3NCVVJFUktrMXYyQjYyYys5RHRFYUxBVkVSRVFwb29wMWVZRzZ5N3pPMFZvQnJ3TVFFUkg1a21xdHFqdEY3dmkwd2Vzb3JjVlNRRVJFbEh3T0xQMSs0WjNMUHZZNlNGdnc5QUVSRVZHU0dlZzkrWGN1bWVkMWpyWmlLU0FpSWtvaUFaNHBuRloycjljNURnZExBUkVSVVJzRkxka0VvRHJCcGxXNThjcnZkbkNjcEdFcElDSWlhcU9UaW5OdnVYYnV1cDVPbzl2TmN0M3hCdnBkUy9GclMrT1RwV1JUK3M1amZBZ2NhRWhFUkhTWWJsaFlYZ2VnYk04UDhJeW5jZHFOcFlDSWlDaEY5STAvRlRod1Q0TEtOMnFyZDUzU1VGdUwrdHBhMU5mVm9hbStIa0I2WGEzSVVrQkVSSlFrK3ZLRDJVNk9qSVhpZE5pWTZLZzVCWkFBQk9qV3N5ZTZkaTJFMnpVQXN5c01KN3ZSNjdqTnNCUVFFUkVkSm4yakpCQTN2VWJhdHA3cXFFNTBnRE1BNUVJQTdGa01VYU9OTUxYYllYWnRocW5kRHRteklTQmVwVzRaU3dFUkVWRWIyZjFIVFhMZStQNTNITVY1WW1sWG80Q0YzWi95cWdwdHJJYldiWU83Y3hQUVZQdmw0OUt3Qit3bkkwdUJLbDRXNkVTSXBQdi9uMlJSQVJaNUhZS0l5QytrUzg4YkZQanlVMTdkT0xTK0VxWm1LOHl1ejRGNDU3d0FJU05Md1hYUHI3dmdzY25GSndDNEY4QW9LRlpCVWJhOU50NER3RTBleDBzbVZXQ3hVWGRtbCtsTDMvRTZEQkdSbjJpc0NhYTJBcVo2TTdSbUs2REc2MGp0bHBHbEFBQ3VtN2QrT1lBTHIzditxOXZtVEM3NkVTeGZUTjJnQWl4MlhOelZaV2JwMjE2SElTTHlHNmU4RklnMWVSMGo2VEsyRkNTaWtGcFJLQ1R0VC91MFJFWDFUUmU0cTNCNjJWdGVoNkVVVUt5RDRCaXZZNlNCTFY0SG9Bem53MElBY0ViRC9WdzNiLzNUUnN3NFZYMFZ1bmZjS0NEUW1LaStGNHFZRjd6TWR4QXEwRGVOcTJmbVRTODdrNFhBdjFUa1BGVnM4enFIdDNTbmNlMEpYcWVnVk5OWDl0MFBaNEM0S0o3d09nUkx3UUYrTkhmRDB1dWVYejhSNm81WHdTT3E1dXB3M09xZE43M3MxR1ZiR3YvbWRiNERLZlF0WTh4WmVkUEt6aWljV2ZhbTEza290U3BlL2QwbVZaMEFSZTJoNyswL0NtMkE2a1ZyZm5kdXAxcU9sdHJ1MnJucko2bklTVkFzL09wV05hcFlwOERqZFdIM1FlL1NKVlZjb2Y5bkd4bWVONzMwYXEvRDhQUkJDNjZkVjc0RXdCS3ZjN1JFZ2JmVmNlOHF2R3ZwRzE1bm9ZNjFZOEdEYS9xY2UrT0Z0bTIvQmlEWDZ6d2RSUlZSaUY2eDZvRkpIM2lkaFRyR2RYTS9Ld1Z3N3I4dUgzcXFjYzBBQk56WEM2Y3Ryd0tBUjZjTVB0MlN3TTBlUjJ5UHVJbytHNERNekxtejdET3Z3K3pGVXRBR0FrUzl6Z0RGTzBaeFYrR01VbDVpbU1FcVgvdmp1LzBtM0hRWnhKb3JtZkUrZGlCeTdlcjdKNzNpZFJEcWVKYzg5ZW03ZU1yckZFbmpLUFJaWTNSbWx4bExQdlU2eklGNCtxQU5ycHRYL3BLSU9SdEFDNWYzYVJTS2wrc2k4VjhrLzlYMVhRdDZUdjcwMHROWkNBZ0FLdWIvNFNVWXZRNnF2ajd2cXJ2UEs5KysrdjRKLy9RNkM2VVBFVVE3MlpnREI0S25YWEZIRkV3cnV5SWRDd0hBVXRCbTF6eTNZZEcxYzllZHZyY2N5TzYvbEV0RjllZXV5Skg1MDBzdmVQUFQrdVFOU0ZSOXo3YjAzUHhwWmFmbFRpdDdQV25QUzc1UXNlREIvMVZGQ2twbytsREJmNjY2Ly96ZmU1MkQwc3QxY3plV1dzWTlVWUhYRG4xdmpVSjFZVzNZL1V2cWt6WGpBSGpHR0dkay9wMmxsM2U1YytrbkhtUm90VXc0N0pnUzF6eTNZUkdBUmUvOTI3Rkg1azlidFRYNXI2RHYyOUM3Y3FZdmFjVmZlTXBrRlFzZS9FMi84MjdwSXhaKzduV1daRlBGbzJzZU9IK2ExemtvUGYzd2hmSXlBT2M5TXFYb0ZCc3lDeUpuZnJWVlF3QVdXY0N6VGZHYVozdVdySy9mTXc3aHh4MFV6NEhxODhaeFpoYVdMUCtvZzE2ejNWZ0sydW1VaHo1TGJpRlFmR0NyM0pVem8zUkJVcCtYZksxaXdlOS8wZS84VzNvRGVqbUFQSy96SklPcVByZjZnWWszZUoyRDB0LzF6Mjk0RDhCWmoxeFUvRTNqNmpXaWVESFhxWHBCU2paMStGekRzbnZNd0x5QU9ET3lwM1dlTXJBWFMwRUtTTUF5YlQzVEpjQUh4dWpkQlRQS1hrMU5Ldks3aXNqS0h3MG92TWhWNElmU3VVOE5HanRnUDcrNmNmTVZRS2M2WjB3ZXUvNkY5VzhDOE9yU2JCZXE4MnlER2Rrenk5WjZsS0hkT3ZPT0kyMWQvMXo1WndaNnBpb09PY1d3QUI4Q1psTGV0TktUV1Fpb1hSWXZkclk4ZmR0MXJuRlBnT29MQ25TcWlkaDE5K0p5QzR5UmsxKzViZnkzOE1nTmNhOHpFYldDQzJDdWdUaytmM3JadHpweklRQjRwQ0JsZmpSMy9XSUEzNWd6dWVoTVdOWTlBRTdiL3g1YUNxTjM1ODFZOHJJSDhjakh2bmppSjZzQVRCNTA5U1BIcStnc0tDWkpHay9kcllDSzRIVVJhOGF6UHhuRk9RaW9zM0NoZUZHTk82Tmc1dExWWG9kSkZwYUNGTHQyM29ZM0FKeisxNmxGWjZsYWQ3dkdkTEV0dlROLzJ0S1h2TTVHL3JicDhldFhBTGh3NE5WL0hpT3daa0ZsUWpxdDY2R0FBdktHcXpwejNvMG52T3QxSHNvQXRyMFJycjRGa1crMDQxbGNBVjQwY0dZV1RGKzJLbW5aMGtUYTdDQ0lLTFVHWFBuUVdOdVcyVkNjbTZnY0ZQWWRBSkhrbmxFc0h0eTMyVzI3eXdEZU5KWTE4L21mak9JcW50VGhIcjI0K0F4TDVXNElFcGFESzhkMVQzU3pDK2hMNnNyTWdwbWxLMU9iMERzc0JVUVo1cWdySHo3UnRqQkxCR2RqbjMxQUI1UUNWZFYzRkRKejdrMG5MRTdxQ3hFZGhqbVRpODVVc2U0V3dlbjczcjUvS1ZBRDRLVWdNRE5yV3RtS2prM1k4VmdLaURMVTBWYzlkRElFczBUa0xDREZwVUR4cnNLYStkeE5vemdiSjZXZEE4ZCs3UzRGYWhUeWlyaG1SdjdNSmN1OVRkaHhXQXFJTXR6QXF4NCt6YkowZG1IZm8wOFhrZVR0RTBTY29rRjl5Z0RjOWR5TkozQVNMa3A3ZThkK1hURzJXNk9JbVpZL2Jla3lyek1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VYWNtWGdkSVJ4OVBQYnRuTnN4UmxzR1JScXdlRnJTYld1Z2xrTjVRN1ExSWJ3RGRBR1JEa0Exb05oVFpnR1R0dVMyb0NnZWlVVXNscW9Jb2dCaWdVU2lpQUdvaHFBSlFwU3BWbHVoTzE2RFdzclFhWW0rTE4wVy9PT2FWdDZ1OC9CMVE1L0cxMjE0NjJsWnJpb2ljQjJBa29IMWw5OS9GVGtrVmNSRlVRYkZLb2E4WmxYbHJmM3YrZXE5ekVXV0NqQzBGYXk4Ym5wVWI3VGRNTEIwdWd1RUNIS01peHdCYURFaWgxL2tFQ0Jub0JvR3NVOVYxQWxtajZxNUZMVDRadkhoeHhPdDg1TDNqL24zK0FFdDBKaFRYUW56OFhsYW9panl1bG52WG1sOVAydUIxSENJLzgrK081QUNiTHZyR1lBU0NwMEQwSkVCT1V1Z29nUVM5enRWbUNnZUMxYXI2SVNBZm1Iajh2YUlYMzFybmRTenFXQ051bS85dFFPY0lrTzExbGc2amlCdkJ6V3Z1UC84aHI2TVErWlZ2UzBFSllQMWc2dGtuaXVBaUJhNEFNTVRyVEttaWlpMWk2Wk5HOGNMZ1p4ZTlJNER4T2hPbHpvamJYNzFIRkRPOHp1RVoxUWRYUFREeEZxOWpFUG1SNzByQnJva25kcW5QenI5R1JHNkVvTWpyUEIxTkZWc0EvVk9nS2Z6b2dQbnZWM3VkaDVKcjVHM3pmd0xvbjd6TzRUVTFPbVAxYnlmTzhqb0hrZC80cGhROEJkZ25YbkxPdGFwNkg0Q3VYdWRKQTQwS25USElYdlFIZVJxdTEyR28vVWJjK3NySnNQR09RQ3l2czNoTkFXT2drOWJlUDNHKzExbUkvTVFYcFdEZHhPTHNySnlCZjFlUnk3M09rbTRVbUIvWTNqUjF3UHZ2aDczT1F1MVJZbzI4N2FUM0FZejNPa25hVUYyN3FzdUhJMUZTd3RObFJFbmlpMjhjV1RrRGIyVWhTRXlBQ1c2LzNObGU1NkQyR2ZudkoxNElGb0w5aVF3L3J2N2tIM2dkZzhoUGZGRUtJc1o4MStzTTZjeFZUUEE2QTdXUGlsenZkWVowWkFIWGVKMkJ5RTk4VVFxK0NEVjF2a3NMTzlEMmNKUG44eTdRNFR2aStoZnlCRGpYNnh4cFNmVEVvZGM4ejcvZlJFa1M4RHBBTXF5cXJna1hCQVBvbTV2cmRaUzBVeE9OWW1uVkxrNTIxSWwxSzdDSEFtalhESVhEQjNUQjJjZjEzZTgyeHlqK1BILzNSSUZIOTg3RGxMRkhObnZjWTYrWG95bm1vbGRoRnE0KzdlaG0yNS81WUF1MjFVU1FFN1J3L1RuTkwvWlpzS29DbjJ4dEFBRDgrTHdpQk8zOXY0ZVVycS9HQit0MkhmYWZDMEFncTJ0d05JQTMyL01rUkxTYkwwcUJxeTdlcWRpQm9kMjZZbGpYcmdoWXZqZ0EwaTVHRmVVTkRWaGRYUU5IMWVzNDFBNDJwSDk3bjJQWUVWMXc3ZG43VDlVUmpidGZsb0lCUGZPYWJRZUF4OS81SEUweEZ6MEtzaE51ZitlVEtteXJpU0E3YUNmY3ZyRXk5R1VwK1A0Wmc1R2JaZSszM1RIYTNsSUFzZXhCWUNrZ1NncGZsQUlGMWdNWTlVbHRIY3JyR3pDMGExY01MTWhIYnNBWGY3dzJpUnVEcmFFUVBxNnRROGh4QUFDaTJPcHhMR29Ic1NXWDAxRzFURlVMdk01QTVCZSsrTlJVTmJORXJQTUJ5WThaZzlVMU5WaGRVNFArZWJrNEtpOGZmWEp6ZkYwUTRzYWdLaExCdHFZbWJHa013ZDMzeUlBaUtrWTV5VXNuNXNTaXVZRkE1c3htM0ZZbUhtTXBJRW9TWDN4Uy9tTEZwaFgvUFdyd1diWWwvd1JRdlBmMjdVMWhiRy9hZlhsK2wyQVEvWEp6MFNNbkcxMkNXU2dJQm1CSjU1eW1JZXc0cUkvRlVSdUxvU0xjaEoyUktCS2VJRkJVS3ZTYTIxZVZ2OTdSR1NsNTFIRnl3RkxRSWtVc3orc01SSDdoaTFMdzBoa25qTDFnOGZMU2trR0RSaFIwdDI4SDlLZUE5TnYzUHZYeE9PcmpjYUIrOTM5YkFuVFB5a2FQN0d4MHpjcENYc0JHYmlDQVhEdUFnT1Y5V1RDcWlMZ3V3bzZEc091aVBoWkRkVFNHNm1nVU1YT0lZOG1LQm9qNVc5eDE3L3FQMVp0cjN2ekc4Y2Q4ODYwVlhEU3BreExqK09KOW1qSkcrZnNoU2hKZnZKbXlBb0UvYjd6a3pKc0cvK3VORDdFSnMwcUc0NzR1d1NHWHVzRDNJZklOQVhJT2ZJeFJZRmMwaWwzUmFMUG55N1lzRkFhRHlBOEdrRzNieUxac1pOa1dndGJ1bnl6TFFzQ3lZQUd3UkNBaXNDQ3daTTkvQTFEcy9tRGYrODk5LzkweGlyZ3hpQm1EK0o2Zm1IRVJkUTFDOFRnYUhRZE5qcFA0MjM5TFZJMEN5NkI0d20zQW5GK1diNndEZ1BKdm5UbDVTMk40TklDU3R2OW1LVDNZaDc1TFp2Tyt4UlA1aEM5S1FVMGtsb1V1OHZiR2I1MzFLeWNjZXVDWVZ6NnNCOG9mQi9ENHIwZjJ6WWVkUDFraDU0dmlaQWlLY1lpZFNOUVlSS05SN0V4UUdOS0thcVdLdkcrcExnNXI3T25wSzcvNGNrRGhsZ2tUZXBqOCtBeFYzUEp4ZGMzRFhzYWtqbkYwcnp6TXVtcEV3bTA5Q3BwZjBSZ01XUGpIVFNjQ0FBcHpFKzhLL25EdGFEaXVJaWNyY1RHWmZzbHdoS0lPN0JhT3J0MXdiaEV1UDJVQUFDQTcwUHlxb0l2SEg0bVRqKzJaOExHei8vVVJQdG5Xa0hBYkVhV0dMMHJCem1qRUVVZ1F3RjNCblB5Yk4xMTg5aDhkY1o4cWZtN3htcCt2MmhFQzhNU2VINVFjUDZoYmdlSkVXTmFKQUVhcFlyaUlGQ0c5ZnhjS3hUYUZyb1ZnalJvcHRTenp3ZTByTm41KzRCMjNURDU3cEdQclZhN0Vmd3BJWWNpSngwS093NithR1NBM3k4YklvN3UxK3Y2V3lDSHYvL1dqRHI2MldGRy9nNC94RzlBckR3TjZ0WHpLdjIvWEhQVHQydXhBSGdBZ1B5ZWQzNUpFL3VTTGQxMVRQTGEwSVJZZlU1Z1ZCRVM2UXpBakFIdkdwcWxuclZUb1h3UEdmdU9vNXhldUZjQ1VyTmhVQzJEK25oOEF3TU5Bc083NElZTUFIQVBnR0V1a0NLb0RBQndCa1I0QXV1MzVTY0h2UzEwbzZnSFVBbEtyME8wQytRS2lHMFYxQTlTc2R5S2g5WGQ4dWpQaFZ5WUZyUElwNXd3UFdIcW1BYTV6QlNOa253TWh1NkxSTElXdVNINXVJaUx5RzErVUFsVzhYUmtKWDErWWRjQnN4eUtqQlBKNzExWjhQdldzbXMrQmhiQ3NoWERkcFdFVCsyell2SGNiQU9BR0lJNFY1ZXNBSEhRdzNtK1BIOVF0RHF1M0RlbHRvTjFGa1EwTDJWREpBcEFOTWRsR2tRMGdDN0JpbHBpb2loV3pES0lxR29VZ2FsekVMS0EyWnN6T0x2RjQxYzVQdHRhVW9QVlhvVmVjTnpJL1V0QnJxQ2pHR09DY1RjQzV0bWgzUmVKeklqc2pFWWhpWVd1Zm40aUlNcGN2U29FRktkMFppYUtveTBIdUpOSmRnY3VnZWhrc0N6bVNyWnVtbmxVdXdES2p1bHdzK2NRWWJNMnl6TFlqcTFFaGl4YzdCejdGejNZZlphakZJY3BEZTcxeEJnSkhGSnpWTjVBbFIxakdQZEt5N0dNTk1Ob0NSa2RVaXdFUmxkYU5ycXFLUkhmY3RyTDhzMVRtSlNJaWYvQkZLYmh0WmZtNmg4Y1Ayd1VnOFlpbFJFUUVRSkVDUlNKeUdRQllGdURBeHVZZWNEZDk2K3l0VU4wSXdXWlY3QlNSbldxMEJrQ3RxTmE1bHRZSFhVUWNXK0syc2VKV0lCNFB1RmE4MFlJVGlNQUo1RnUyRXpkQlk1dGd3QWtHWGNzRTFkV2dRcklEbG5SUm9Cc0VYU0hhWGRYcUpVQXZFUjBBeFdDSURNRGVJZWVXamIxSEFYUjM3bGIvRVNPT2cvcFliRW1ySDBDZFduMDRqbGRYYkUrNGJVRFBQQXdmY1BEeEFWN1lVTkdJZFJXSkJ4UFdOTVk2T0EwUithSVVBTkNHV0h4UjFIVXZ5N2JiUDZaT2QzOGdENFRJUU9DcnoySDVjb1Mxd0FaZ0FydVhtVlFiY0RVSTF3S0NBSkFEdUM0Z2xnMWJiYWdOV0xEMisyM0xQdi8yMWVkOEs3Lyt0MUoxTkFaQTMwL2VNMUk2MjFZVHdSMy9iMVhDYlplY2VOUkJTNEZyRkk3YjlybVVBN2JWNHBVSHJiRnc5WTR2MTE4Z0l1LzVwUlFBME1XVjRjaGxBd3J5dlE2U05xcWpVY0FveHhQUUliMzM2VTdjT0dkWm14OG5BdlFxek1hcFEzdmhrcE9PYXRQVkQwU1VmbnhUQ2x4QmFWVWtESmFDcjFSR0lvMmxxemJ4OUVHRzZOODlCemRQT2piaHRvRTlVek1Uc0NwUVZSL0YzTEt0bUZ1MkZWZWNNZ0MvbURJTUFidDFLNVdlUGFKUGk1Y3NQdkxhQm15c0RDVXpMaEVkZ205S1FUaFd2cW8yK3JVd2dGeXZzNlNEdURHb2lVYVdQUTI0WG1laGp0RTFONGhKSjdSN2xlVjJlZks5TGJCRThNdXBYMnZWL1l2N0ZhSzRYMkhDYmMrOHY0V2xnS2lEdGE3T2R3SWxheEdyamNYZWRRKzFMa0NHcUluR1lGUkt2YzVCbWVmLzN0Mk1kZHM1RXlGUlorU2JJd1VBNEtvdXFvcEV6K21YeDRNRk5kRW8xTGhjSFpIYTVaVTd2NEZlWFpxdjBPZ2F4WlpkVFhqcXZjMTQrdjB2OXR1bUFKNTZid3VtWGZMMURrcEpSTW5pcTFKZ3FmdEJWU1FNbGdLZ01oS0pDOEp2ZTUyRE9yZGd3RUpXZ2pVTEFPRFkvb1dZZnNsd1dDSjQ4cjB0KzIzN2VHdDlSOFFqb2lUelZTa0lob0pMcS9OaUxqSjhXVG1qaWwyUnlONTFIeWhETk1WY0xOOVlrM0JiejhKc0REeklHZ1R0TVdsMC8yYWxvRDRjYjlWaksyckQyRjRUU2JpdE1kSnMvakFpU2pGZmxZS2IxNit2LzMyWDRoV3FPa2JhTU1tUDM5VEZZbkNNbG5tZGd6clc1cDFOK01HZkVnOGp1ZVRFb3pEenN1RXBlZDJ1dWNGbXQrVm50MjdYOG56Wk5zNVRRSlJHZkRQUWNLKzRNYS9YeERKN0pyVHFhQXdRWGV4MURzb01sZlhObHhnZmVrVGlLd3FJS0wzNTZrZ0JBSWpvdTVYaE1IcGtOeDhjbFNsMlJzSWFqZXNpcjNOUXgrcFZtSVhMVHhtWWNOdlhqa3pOaDdSckZJKy9zLzhLM2lMQXBTY05hTlhqeHhaMXgwOG1GQ2ZjTnJmMEMyeHI0ZFFDRWFXRzcwcUJBMmZKcm1qemJ5NlpRbFZSRllsc21MWm00dzZ2czFESDZsV1lqWmVrYWxjQUFBc0xTVVJCVkJ2T0xVcnFjMjZvYUVSMVkvUDNrekhBOXBvd25ucC9DOTcvYk5kKzI2NCs3V2djTjdCMTZ5eU1HZElEWTRiMFNManR3M1c3V0FxSU9wanZTc0VkeTdkcys5UFkzSElBUTd6TzRvVkd4MEhZZFRtTElTWEZEWSswL3E5U3dCWmNjK2FRRnIvNUUxSDY4OTJZQWdBSU8rN0N4bmpyUmovN1RVMDBCbEh3VWtUcVVEbFpObjc3L2VQeDAvT0wyN0tRSnhHbEdWK1dBbFh6ZG1VNE13ODc3b3hFNEJybHBFWFVvU0l4RnpmOWRUbitQSDg5VkwxT1EwU0h5M2VuRHdEQUtNcXFJaEVNNlpKNUk2QXJJK0hLTzFadC9OVHJITlR4WXE3QjF1cW1oTnZ5c2dQb25wL1Y1dWZzMnpVbndkTElpc2FJbTNBdWdvZGYyNEFCUFhOeDBkZ2pXL1g4OWVFNEdscVkweUFhNTVUbFJCM05sNlhnamxVYlAzdDQvTEJkQUhwNm5hVWpoUjBYamJFNDV5ZklVT1U3UXBqMHE4Um5qZzUzbm9KLzNuSVNlaWVZNWxnVitHeGJQVXFlWG91UHZ0aC85c0svdjdtcDFhWGdpWGMyYzU0Q29qVGl5OU1IQUxRaEZuc2o2bWJXQW9FMTBTZ1U4cjdYT2NqL1JJQ2hSM2JCSDY4ZGpaemcvcnVSejdZM1lsTVZKOU1rNm94OGVhUmdqemNxSTVGTEIrVG5lNTJqdzFSSG96QmNCQ2xqZGMwTDRzemhmUkp1TzM1d3Q1Uzhacy9DYkp3MnJEY1dydDcvQ3RpUHR0UmpVTzlEdi9lR0hWR0lpOGNsUHFydzlpZFYyTldRMlJPUkVYVTAzNVlDUzFCYUZRNGprMHBCWlRnU1dySnFFMDhmWktqKzNYSnc5eFhIZGZqcmpqK21SN05TOEhrcmp4UjhjM2dmZkxPRkluUE5uMHRaQ29nNm1GOVBINkErVnI2cUpoYkxtRXNRNHNhZ0poWloralNRV2VkTXlITzlDcHVQT2Fpc3o1aTNIcEd2K0xZVWxLeEZyQzRhZThjeG1UR0N1VFlhaFZGSnZCb09VUXAxeld1K0lGSjFJNy9oRTNWR3ZpMEZBT0NxTHRvVnlZeHZMTlhSR01RRjF6dWdEcGVvRkZUV1plNVU0MFNkbVcvSEZBQUFqUHRoWlNTS3ZubXBXVWMrblZSRkluR1Z4cmU4emtIZVVRQ09tL2pJbUlna21HOGdPUkpkc2xpK294R3UwVU8rcGpFSzA4SnNSNXdFaWFqaitib1V1STMyMHVxOGlJSFBqNGdZVlZTRkkydC92bW9IcndQTFlKOXVhOENZTzE1THVPMXc1eWxvamE1NVdlamZQUWZiOTFtOEtCSTNlT3VqS3B4NVhPSkJoSHM5K25vNTV5a2dTaU8rTGdXL0xDK3ZlN0I3OFFwVkhTMCtucEM5TGhhRG84cXJEdWl3SGR1L0VQZGUyZnpLaGNLY1ErOGlSSUJmWFRVU1h4d3dtMkxYL09hbkZZZ292Zm02RkFCQXpEVUxhNkt4MFQxeW1oL2k5SXVhYUF5QUx2WTZCM2tyTDl2R3FLTVR6MGN3cEcvQlFSL2J0MXNPSnJkeUZzSkVSZy9wanRGRHVyZjVjVWYxek1QSnh5YWVlSFR0bGpyVWg1M0R6a1JFYmVmN1VxQXc3MVZHd3ZCekthaUtoRFhtY0JHa1REZXdaeDRldW42czF6SGE1SUxSL1hIQjZQNEp0MTN6NTFJc0xhL3A0RVJFbWMzWDU5b0JJS3JPa2wxUi80NkVWZ1dxSXBIeWFXczI3amowdlltSWlGcm0rMUl3ZmVVWFcydWlzWTFlNTBpVlJpZU9pT3R5UEFFUkViV2I3MHNCQUVRZGQyRmpQUEh5ckoxZFRUUUtvL3FPMXptSWlLanp5NGhTb0dyZTNoSDI1eVJHT3lOUnFNRkNyM01RRVZIbjUvdUJoZ0FBbzJVN0l4RVVkU24wT2tuU1ZVYkNsWGVzMnZpcDF6bkllK3NyR2pGaDF1S0UyeWFlY0FSdXZlRFkvVzZMT2dhVC8ydjNmRmZqaW5waTFsVWptajN1eXQrOWg1ckdHSWIwTGNCZmZ0UjhFT050LzdzY2E3YlVvVEEzaUdkdU83WFo5bC9QK3dRTFYxVUFBSjYvNDNUa0JPMzl0di96N2MveDl6Y1RuOTNqWWtoRUhTOGpTc0h0cXpkOSt2RDRZZFVBZW5pZEpaa2lqb3ZHV0p6akNRZ0E0QmhGUlczaVFiWDFUUWxPbitsWDk2OEpKZjRBcnFxTFltZERERjF5c3hKdXIyNk1vYUkyaW5BczhVeUtkYUg0bDYrUmFJYkN4b2pUWW1ZaTZuZ1pjZm9BZ0RiRVk0dWlycjhXRUt5T1JRR1ZEN3pPUVVSRS9wQXBwUUNpdXJqU1orTUtxaU5SaUxvY1QwQkVSRW1STWFWQUlhVlZrYkRYTVpLcU1od0pEVmkxaWFjUGZNOWZSN2lTem9CTEp4RWxTY2FVZ3NaNCtjcWFXTXczaHdvY1kxQVRpeXk3bko4WXZ1YzRVZjQvUGdqWGpmRDNRNVFrR1RIUUVBQksxaUwyd09qWWU2N1JzMUsxaEd4SHFvbEdBWlVQdmM1QnFSY1BWVWR6dWh4OHRjRkRhWW81MkY2ei81R3ltUFBWNE1CbzNEVGJEZ0R1bnUvZ2pwdDQrOTduTUtvSnQ0ZGpYMzFlVjlSR2tCUGMvM3RJWTZUOWF4dkVROVgrT2dSSTVLR01LUVVBWUl4NWZXYzBjbGJmM0Z5dm83UmJkVFFHRlN6eU9nZWxYcmhtUzFOQjMyS0lkZmh2MTFlV1YrQ1Y1UlV0YmkvYlVJM3paNy9WNHZieXl0QkJ0emVFbllOdUI0Q0w3MHYrSEZ0cVhFU3FOemNtL1ltSk1sVEduRDRBQURYV0IzNFpiRmdWaWNUVmJUejRYcGo4d2NUQzBYb3ViWkZJUEZRTjE0MkZ2TTVCNUJjWlZRcmNSbDFhSFkwa3ZxQzZFekdxMkJtTnJQMzVxaDNjR1dZQU1ib2pYTDNaNnhocHFhbjZjeGlSYlY3bklQS0xqQ29Gdnl3dnI2dUx4VmRvb2xsVU9wRzZXQXh4VjNuVlFZYUlOelY5R20rcWRYaTBZSCt4MEM3RUdxdU1wYkZsWG1jaDhvdU1LZ1VBRUhPZDEydGpuWHY2MUpwb0RJQXU5am9IZFl5ZDcvNjFRWUEzR25kOEFuWDl1YkJYVzZseDBGanhNUUNzM2JIZ29VcXY4eEQ1UmNhVkFvVyt1M1RuTGtTY3pua1ZVMDAwaXJVMU5hcHh3MEdHR1VUVlBHSmlUYWpic2dLZC9VaFhlNmtxR3JhdWhodHBnRUtmOERvUGtaOWtYQ213MVZsU0c0dGgvdGF0K0t5dURwRk9NdlZ4UXp5T2xidXFzV2piZGtTTktmL0YyazB0RHlVbjM2bFkwUE5aQlZiSFF6dFJ2M1VsMUhTT3Y3Zkpwc2FnY2ZzYVJPc3JvS3JiZGtUcWYrdDFKaUkvc1E5OUYzK1p2Nk8rNGR4K1BhNHowQzQ3d2hHc3I2dEhmVHdPbzBDV1pTRm9wVWRQVWlnYVlnNitDSVd3cHJvR3E2cHJVQjNkczNDTTZxSUZGVFZQZTV1UU90Wml6Ujh5N2xNUjY3dHV0RkZpb1owSTV2ZUFaU2RlcU1pUDNIZ1k5VnVXSTlhd2UyeUZpdndzdFBCaGpxMGhTcUtNS3dVQWNGNy9idldpY2hFRW9nRHE0M0ZzYldyQ3V2cDZiRzVzUkhVMGlpYkhoYU83TDFTd0xZRWxxWnZ3eURFR2pmRTRka1dqMkJvSzRiTzZPcXlxcnNHbmRYV29DSWNSY3I2YTRFVVZEWllqTnk2b3JObVNza0NVbGtJYlNqZm1EemtwSm9KempCTkZwSG96MU1SaFp4ZkNzdjA3NVloeG9taXEyb0Q2TFN0ZzRudm1LVko5ckdMK2czZDdtNHpJZnpyLzFINkg2YjZSZzg2M0xPcy9JWEo4YSs2Zlk5c29DQWFSYTl2SXRpeGsyemFDdG9XZ1dMQkU5dndBbGdnRWdOSGQzL2FOS293Q3Jpcml4aUJtWEVUZDNmOXNjaHcweGgzRVRHdXVrbFJYRmErTE9EKzdmZm5tajlyM3A2Zk9yTitFbS84b0lqL2Q5N1pnZmc5a0ZmU0duWlVQc1lPUUZKYllWRk5WcUluRGpUWWhGdHFKZU9QT0E3YWJlUlh6Szc0RlBKMlo1MUNJVXFqejdqbVM1TDRUQm4zVGd2MWpoWDVUSVAyOHpuTUFoZXBuQUJiR0ZBL2V1Ykw4TTY4RFVYcm9OK0hXbjRyb0F3QXk1dnlCQWthZy83MzkxUWZ2OURvTGtWOWxmQ25ZMTMwamp4NHRsalZSWUkwRU1CeUNZOUNoTzEwTlFmRVJSRDZDTVV2am9pLzh4NHBObXpydTlha3o2VFB4cGlMYldMOEJkRXFuUGpUUUNxcjZCa1R1cUhqMTl4eERRSlJDdnQ2UnROZkRRTEIyNU9BaGxpWEZDaFRicWtQVWt0NkFkQVBRVFlCdUNuVEY3dUlRVkdoUUlFR28yb0E0RUkwREVsY2dEa1VVMEZvQmFnSFVRcVFHYWlwVXJRMndkRU5BemZxZnJkajBPY0JsWUtsdGVwNTM0N0NnV0Q4VWtWTlZVUXhvRHhFSmVwM3JjS2tpTG9JNlZXd1E2QWRRL0dQN2dnZVhlcDJMaUlpSWlJaUlpSWlJaUlpSWlJaUlpSWlJaUlpSWlJaUlpSWlJaUlpSWlJaUlpSWlJaUlpSWlJaUlpSWlJaUlpSWlJaUlpSWlJaUlpSWlJaUlpSWlJaUlpSWlJaUlpSWlJaUlpSWlJaUlpSWlJaUlpSWlJaUlpSWlJaUlpSWlJaUlpSWlJaUlpSWlJaUlpSWlJaUlpSWlJaUlpSWlJaUlpSWlJaUlpSWlJaUlpSXZQZi9BUXhTbkNwOWtFTTdBQUFBQUVsRlRrU3VRbUNDIiwKCSJUaGVtZSIgOiAiIiwKCSJUeXBlIiA6ICJmbG93IiwKCSJWZXJzaW9uIiA6ICI1Igp9Cg=="/>
    </extobj>
    <extobj name="ECB019B1-382A-4266-B25C-5B523AA43C14-5">
      <extobjdata type="ECB019B1-382A-4266-B25C-5B523AA43C14" data="ewoJIkZpbGVJZCIgOiAiMjQyNzA4MDkwMDQ2IiwKCSJHcm91cElkIiA6ICI3ODQ0NDA4MzkiLAoJIkltYWdlIiA6ICJpVkJPUncwS0dnb0FBQUFOU1VoRVVnQUFBZ1VBQUFFdENBWUFBQUNZaXhQTEFBQUFDWEJJV1hNQUFBc1RBQUFMRXdFQW1wd1lBQUFnQUVsRVFWUjRuTzNkZVh4VTViMC84TS8zbkpuc1lWOVZFRWdVV2dTVXpiMTFSMUJCNm01M3RYcmJ1dlZxYTY4c1JvWGVlMjIxcmQzYzZPMXRmOVhyVWtWY1FVVGNOV0ZmM0lDQUlCQVN5RDZaN1p6bisvc0RVQ0FUU01oTXp1VE01LzE2NWFYT21lVkRaTTU4NXB6blBBOUF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NVV2NUckFKbGl6dVFoWTJGWmQxMDZwbHUzb01nZGVkUEwzdk02RXhFUjBiNVlDbEpzYnhrQTVFSUF1SEpjOXoxYjlEVVJ1U3Z2enRMM1BZeEhSRVQwSlphQ0ZKa3plY2hZc2F5WkNybG8zOXUvS2dWN0tCYUlRVW5lVEpZRElpTHlGa3RCQ2p3eWFjaXhkcGI5YWFKdHpVckJsM1MrcUZ1U04zM1pCeW1NUmtSRTFLS0Exd0g4U0cxakFYWWJIeVVUVkFJVFFyUEd2U3JHbE9UTlhQcGhTc0lSSFdEd2R4NGFwVVpLQ3ZzTm5DSWl5ZnVpSUhDS2p1NzdtcXFVekwzNStOS2tQUzlSaXV3OTNYdjUyQjc1Tm5SNkpvNzk0cEdDZG5ydjJ1RTlUcG16dG5yZjJ4NithTkN3Z0IzOE9OSDlXejVTY0NCOVJWUkw4cVl2NGM2VVV1S29iejg4d29iT0ZNaWxBRkRZZHdCRXJLUytSdkhndmdBQVZiemtRa3ZtM1RSNlNWSmZnQ2dKRGp6ZG04bGp2MWdLRHROZkx5b2ViV3pNSERzd2IvS3hmWE1XQ2ZEWHBuajFpejFMMXRjbnB4VHNvWGdadHBiay8wZFpXVEp5RXcyODZwSGhscVV6QUZ5T2ZmWUJxU3dGZXloVVg0Q1l1NSs5Y2V5eXBMNFEwV0ZvN2RndlZTeXc0TnlWQ2FkM1dRcmE2TkdMaThaWUtqTWhNaGtBeGh5ZGkyUDY1T3pkSEFiMHlmVTdvdTh1MlJ4K05OSGoyMXdLdnZJU0ZDWDUwMHY1VFlzT3k5RlhQUG8xQk14MEFhNUNndmQrQjVRQ0FJQUNDbUN1Q3U2Wis5TVRWaVQxQllsYTRkR0xpOGFJeWwwaSs1ZUJ2VnJjVDZ1KzZzQzl1NnVQeXdGTFFSdk11YmhvSW1DOXZPOXRCNVFDQUVCOTJNWExhK29UUGtjN1NnRUFRRlZmZENCM2QyTTVvRllhL0owL0R6VnFUUmVWYjBOYWZzOTNWQ25ZU3dFVjRGL2ltSHYvZGV1WVZVbDlZYUlFL2o2MXFFL015R010bFlHOURyV2ZWdFZYTForTy9VcnVIc0Ruak5GY3J6T0l5SVZCUVZsbzlyam5RL2VNSHVOMUhrcGZSMTM5MERFRHYvM3czOVRZSHd2a093Y3JCRjZRM1Y5S0xqVUJhOFhVUHk1L2N1cGZWaDduZFNieXQ2Z3hRdzlWQ0ZwRFJNNVgyLzRnTkd2OFMwMnp4bzVQUnJaMHdWTFFndis1Nk5oaHEyNFpNYjN4M2pIbjZhOUg1bnVkcHptWkREdXdKRFI3L056UTdER2p2VTVENmVPb3kvNVVmUFMzSDU1amkzeGlBZDlQdHpKd0lBRkVnTXZGMVpWVC83RDg4U2tQTHZ1NjE1bUlXa1V3U2NYNk1EUjcvSXVoZThhTjh6cE9NckFVSE9EaGk0NGQ5dGpGeGY4d2xuNmtzTzRWeTU0ZmptWHZDczBlOS9LSW8vTGIzVEJUWUFwZ0x3bk5IdjljNko2eEozZ2RocngwbVQzZzB2dC9iV2Zabndwd2pYUzY5N2RhSXJqS3RtVDFCZmVYUFlZelNuakpOSFVXRjhDVzB0Q3NjUytFWm8wZjYzV1k5dWhrTzQzVW1qT2xhR3JBMG84T1BOU3FrR3hBSm5iTHRYL2dYYnFERWdBWHc3YVdobWFOZTdaeDlyamp2UTVFSGEvL3hQNzNxOForTEVqeXdJQ09aOFVkNTlxUm8wK2E0M1VRNmx3ZW0xeDh3b2MvR2ZHSHB0bGpyNnovMWJDZUhSNUE1RUlJU2tPenhzMEwzWE5pcHp5OTI5bDNIc21sNkpYdWgxb1BRU0F5VlNETFFyUEgvYXZ4bnZHanZBNUVIYVAvZVRkUGc4b3Rva2pEVTEySFNmQzlrYmU5K2h1dlkxRDYrNThwUTBiTXVmaVlaOFNTWlFyY3FMQ2VzTFZMUldqVytGY2Jmelh1aDFVbEp4elJnWEVFSWhmQjF0MWp2enJaNmQyTVBUdzNaL0xnb1JEN3ppa25kRHMxTjJpOUM2UHZMUDZzc2JpaXdmRTZXaklJSU44U0cxTkRzOFk5cThhNXQyRG04cFZlaDZMVTZEL3g1dXVoTXN2ckhDbHkyNGpiWHExY2ZmLzU5M2tkaE5MUFExT0t2eDZFekRDQ0t4TnNEa0F3UVZRbTVBVURHcG8xL3QxMVZkRVZTejl2NnFoNEFzaGt3TDRvTkd2OHZMaTQ5M1NidGpUdDUrZkl5Q01GYzZZVS95OGs4REZFdmdkRkVZRHZ3WkpIQnZUTStvWFgyWkpNSUhLSjJNSGxvZG5qbi9ZNkRDVmYvM052bmdxRGg3ek9rVktLL3hyeDc2Lzh3T3NZbEY3bVRCNHlOZ2haZzhTRjRBQWlFSnpXTmRlNk1mWEptcjg0QkZPQ3U4ZCtQWnZ1WTc4eXNoUkE1SHVkL0RSQld3bUFTNzBPUWNuVjc5eWJ2cWtXbmtReTF5dElReUlRRVhsMCtPMHZwK05BWC9LSUVjM3RaUHR4QVRBMTNjZCtaV1lwSU9ya2VwOTc2L0d3NUVVUkNYcWRwWU1FYkpVbmg5KzY0RlN2ZzFESGUrYVNvU01iN3g1N2J1MHZSN1J2OXJmMDhPWFlyNlpaNDU1SnQ3RmZMQVZFblV5ZmlUY1ZCV3hkSUNJRlhtZnBXSkpyVytiRnI5MCtuNU1jWllpL1RpbisrcU9UaTU4TVExZEt3Rm9RTE16WkdabzFma1hqdmVOK00rcW9nak85enRkT29pS1hpSzNMbTJhUGZ6bzZlL1JJcndNQkxBVkVuVXF2Q2RmM3Q0ejFHb0RlWG1meGhLQmJVSFgrc0Z0ZkdlUjFGRXF0eHk0dS9vZEMxbGlXWFA3VnJXSkJNRW9zdWExM1llQnU3OUlsazRnQ2x6cXdWelQ5YXZ4VFhxZGhLU0RxUklLUzk0b0lCbnVkdzJOSFpObXl3T3NRbEZycE9EVjNhb21vNGpLdlU3QVVFSFVxbWxibkh6MTBqTmNCS0xQRlhPTjFoSlRJMkhrS2lJaUlEdGNUeTZ2UkdITXhzbjhlanUyVmd6NEZRZmpoT2lDV0FpSWlvalpTQUovWHhQQjVUUXdBMEQzWHhxaitlUmpXSndjRHUyY2pZSFhPaHNCU1FFUkUxRWE5OHV4NVVQU0VZQ3lBN0pxd2k4WGxEVmhjM29Ec2dHQjQzMXdNNzV1TG9wNDV5TXZxUEdmcVdRcUlpSWphNk1MaFhlZGM4YzkxOHk0N0dibTlwTjlab2pnZklxY0pkRVRVZ2Ixc2F4T1diVzJDQUNqcW1ZMFIvZk53VEs5czlNcFA3NmxGV0FxSWlJZ08wOVB2SXd4VXZBVGdKUUQ0OFlpdTNhVWc1M3lJbkNlUVV4UTRkdjJ1S05idmlnSUFlaGNFTUtwL0hvYjJ6c0dBYmxtdzBtd2dBa3NCRVJGUmt2eGxkVjBOVVBjRWdDY0E0TjlPN25ta0pZRkpvbkpPbG0xTmpFUzFjTm1XSnF6ZEZrRzNIQnMvUEttWHg0bjN4MUpBUkVTVUlnKzl2MnNyZ0VjQlBQcll4Y1Z6QlRMRjYwd0h3MUpBUkVSMG1QNTBSdStDM0s1ZEJ4clZnZGxaZHA4TGo4dWIxNzFrUmEzWHVRNVg1eGtTU1VSRWxDWSsyQkMrYjg3RnhUdHl1blZyVUpHMVlsbXZpT0IzV2NIZ1UwOWRCdHZyZkllTHBZQ0lpS2lONHE0T0JhUlA4eTF5N3FUang5M2Y4WW1TZzZXQWlJZ29pUVJ5UytQc2NUL3dPc2ZoWUNrZ0lpSktNb0g4cGVsWFkwNzBPa2Ric1JRUUVSRWxYNDZxOVd5bzVJUWp2QTdTRml3RlJFUkVLU0ZISUJoOGZtUEpvQnl2azdRV1N3RVJFVkhxak8wYjdEUEg2eEN0eFZKQVJFU1VRZ3BjM1RoNy9CMWU1MmdObGdJaUlxSVVFMkQyd083WlE3M09jU2dzQlVSRVJLbG5qeHVVTjZ3d0o3MC9kdE03SFJFUmtVOWtCUVNuRnhjZ21NYnpIYklVRUJFUmRaQXV1VFpHSEpucmRZd1dzUlFRRVJGMWtGRFVZTTIyaU5jeFdzUlNRRVJFMUFFY1YvSE8ra2JFSFBVNlNvdFlDb2lJaUZKT3pmSXZtamJWTkxsZUJ6a29sZ0lpSXFJVVU4VUQ2eXVqSzczT2NTZ3NCVVJFUktrMXYyQjYyYys5RHRFYUxBVkVSRVFwb29wMWVZRzZ5N3pPMFZvQnJ3TVFFUkg1a21xdHFqdEY3dmkwd2Vzb3JjVlNRRVJFbEh3T0xQMSs0WjNMUHZZNlNGdnc5QUVSRVZHU0dlZzkrWGN1bWVkMWpyWmlLU0FpSWtvaUFaNHBuRloycjljNURnZExBUkVSVVJzRkxka0VvRHJCcGxXNThjcnZkbkNjcEdFcElDSWlhcU9UaW5OdnVYYnV1cDVPbzl2TmN0M3hCdnBkUy9GclMrT1RwV1JUK3M1amZBZ2NhRWhFUkhTWWJsaFlYZ2VnYk04UDhJeW5jZHFOcFlDSWlDaEY5STAvRlRod1Q0TEtOMnFyZDUzU1VGdUwrdHBhMU5mVm9hbStIa0I2WGEzSVVrQkVSSlFrK3ZLRDJVNk9qSVhpZE5pWTZLZzVCWkFBQk9qV3N5ZTZkaTJFMnpVQXN5c01KN3ZSNjdqTnNCUVFFUkVkSm4yakpCQTN2VWJhdHA3cXFFNTBnRE1BNUVJQTdGa01VYU9OTUxYYllYWnRocW5kRHRteklTQmVwVzRaU3dFUkVWRWIyZjFIVFhMZStQNTNITVY1WW1sWG80Q0YzWi95cWdwdHJJYldiWU83Y3hQUVZQdmw0OUt3Qit3bkkwdUJLbDRXNkVTSXBQdi9uMlJSQVJaNUhZS0l5QytrUzg4YkZQanlVMTdkT0xTK0VxWm1LOHl1ejRGNDU3d0FJU05Md1hYUHI3dmdzY25GSndDNEY4QW9LRlpCVWJhOU50NER3RTBleDBzbVZXQ3hVWGRtbCtsTDMvRTZEQkdSbjJpc0NhYTJBcVo2TTdSbUs2REc2MGp0bHBHbEFBQ3VtN2QrT1lBTHIzditxOXZtVEM3NkVTeGZUTjJnQWl4MlhOelZaV2JwMjE2SElTTHlHNmU4RklnMWVSMGo2VEsyRkNTaWtGcFJLQ1R0VC91MFJFWDFUUmU0cTNCNjJWdGVoNkVVVUt5RDRCaXZZNlNCTFY0SG9Bem53MElBY0ViRC9WdzNiLzNUUnN3NFZYMFZ1bmZjS0NEUW1LaStGNHFZRjd6TWR4QXEwRGVOcTJmbVRTODdrNFhBdjFUa1BGVnM4enFIdDNTbmNlMEpYcWVnVk5OWDl0MFBaNEM0S0o3d09nUkx3UUYrTkhmRDB1dWVYejhSNm81WHdTT3E1dXB3M09xZE43M3MxR1ZiR3YvbWRiNERLZlF0WTh4WmVkUEt6aWljV2ZhbTEza290U3BlL2QwbVZaMEFSZTJoNyswL0NtMkE2a1ZyZm5kdXAxcU9sdHJ1MnJucko2bklTVkFzL09wV05hcFlwOERqZFdIM1FlL1NKVlZjb2Y5bkd4bWVONzMwYXEvRDhQUkJDNjZkVjc0RXdCS3ZjN1JFZ2JmVmNlOHF2R3ZwRzE1bm9ZNjFZOEdEYS9xY2UrT0Z0bTIvQmlEWDZ6d2RSUlZSaUY2eDZvRkpIM2lkaFRyR2RYTS9Ld1Z3N3I4dUgzcXFjYzBBQk56WEM2Y3Ryd0tBUjZjTVB0MlN3TTBlUjJ5UHVJbytHNERNekxtejdET3Z3K3pGVXRBR0FrUzl6Z0RGTzBaeFYrR01VbDVpbU1FcVgvdmp1LzBtM0hRWnhKb3JtZkUrZGlCeTdlcjdKNzNpZFJEcWVKYzg5ZW03ZU1yckZFbmpLUFJaWTNSbWx4bExQdlU2eklGNCtxQU5ycHRYL3BLSU9SdEFDNWYzYVJTS2wrc2k4VjhrLzlYMVhRdDZUdjcwMHROWkNBZ0FLdWIvNFNVWXZRNnF2ajd2cXJ2UEs5KysrdjRKLy9RNkM2VVBFVVE3MlpnREI0S25YWEZIRkV3cnV5SWRDd0hBVXRCbTF6eTNZZEcxYzllZHZyY2N5TzYvbEV0RjllZXV5Skg1MDBzdmVQUFQrdVFOU0ZSOXo3YjAzUHhwWmFmbFRpdDdQV25QUzc1UXNlREIvMVZGQ2twbytsREJmNjY2Ly96ZmU1MkQwc3QxY3plV1dzWTlVWUhYRG4xdmpVSjFZVzNZL1V2cWt6WGpBSGpHR0dkay9wMmxsM2U1YytrbkhtUm90VXc0N0pnUzF6eTNZUkdBUmUvOTI3Rkg1azlidFRYNXI2RHYyOUM3Y3FZdmFjVmZlTXBrRlFzZS9FMi84MjdwSXhaKzduV1daRlBGbzJzZU9IK2ExemtvUGYzd2hmSXlBT2M5TXFYb0ZCc3lDeUpuZnJWVlF3QVdXY0N6VGZHYVozdVdySy9mTXc3aHh4MFV6NEhxODhaeFpoYVdMUCtvZzE2ejNWZ0sydW1VaHo1TGJpRlFmR0NyM0pVem8zUkJVcCtYZksxaXdlOS8wZS84VzNvRGVqbUFQSy96SklPcVByZjZnWWszZUoyRDB0LzF6Mjk0RDhCWmoxeFUvRTNqNmpXaWVESFhxWHBCU2paMStGekRzbnZNd0x5QU9ET3lwM1dlTXJBWFMwRUtTTUF5YlQzVEpjQUh4dWpkQlRQS1hrMU5Ldks3aXNqS0h3MG92TWhWNElmU3VVOE5HanRnUDcrNmNmTVZRS2M2WjB3ZXUvNkY5VzhDOE9yU2JCZXE4MnlER2Rrenk5WjZsS0hkT3ZPT0kyMWQvMXo1WndaNnBpb09PY1d3QUI4Q1psTGV0TktUV1Fpb1hSWXZkclk4ZmR0MXJuRlBnT29MQ25TcWlkaDE5K0p5QzR5UmsxKzViZnkzOE1nTmNhOHpFYldDQzJDdWdUaytmM3JadHpweklRQjRwQ0JsZmpSMy9XSUEzNWd6dWVoTVdOWTlBRTdiL3g1YUNxTjM1ODFZOHJJSDhjakh2bmppSjZzQVRCNTA5U1BIcStnc0tDWkpHay9kcllDSzRIVVJhOGF6UHhuRk9RaW9zM0NoZUZHTk82Tmc1dExWWG9kSkZwYUNGTHQyM29ZM0FKeisxNmxGWjZsYWQ3dkdkTEV0dlROLzJ0S1h2TTVHL3JicDhldFhBTGh3NE5WL0hpT3daa0ZsUWpxdDY2R0FBdktHcXpwejNvMG52T3QxSHNvQXRyMFJycjRGa1crMDQxbGNBVjQwY0dZV1RGKzJLbW5aMGtUYTdDQ0lLTFVHWFBuUVdOdVcyVkNjbTZnY0ZQWWRBSkhrbmxFc0h0eTMyVzI3eXdEZU5KWTE4L21mak9JcW50VGhIcjI0K0F4TDVXNElFcGFESzhkMVQzU3pDK2hMNnNyTWdwbWxLMU9iMERzc0JVUVo1cWdySHo3UnRqQkxCR2RqbjMxQUI1UUNWZFYzRkRKejdrMG5MRTdxQ3hFZGhqbVRpODVVc2U0V3dlbjczcjUvS1ZBRDRLVWdNRE5yV3RtS2prM1k4VmdLaURMVTBWYzlkRElFczBUa0xDREZwVUR4cnNLYStkeE5vemdiSjZXZEE4ZCs3UzRGYWhUeWlyaG1SdjdNSmN1OVRkaHhXQXFJTXR6QXF4NCt6YkowZG1IZm8wOFhrZVR0RTBTY29rRjl5Z0RjOWR5TkozQVNMa3A3ZThkK1hURzJXNk9JbVpZL2Jla3lyek1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VYWNtWGdkSVJ4OVBQYnRuTnN4UmxzR1JScXdlRnJTYld1Z2xrTjVRN1ExSWJ3RGRBR1JEa0Exb05oVFpnR1R0dVMyb0NnZWlVVXNscW9Jb2dCaWdVU2lpQUdvaHFBSlFwU3BWbHVoTzE2RFdzclFhWW0rTE4wVy9PT2FWdDZ1OC9CMVE1L0cxMjE0NjJsWnJpb2ljQjJBa29IMWw5OS9GVGtrVmNSRlVRYkZLb2E4WmxYbHJmM3YrZXE5ekVXV0NqQzBGYXk4Ym5wVWI3VGRNTEIwdWd1RUNIS01peHdCYURFaWgxL2tFQ0Jub0JvR3NVOVYxQWxtajZxNUZMVDRadkhoeHhPdDg1TDNqL24zK0FFdDBKaFRYUW56OFhsYW9panl1bG52WG1sOVAydUIxSENJLzgrK081QUNiTHZyR1lBU0NwMEQwSkVCT1V1Z29nUVM5enRWbUNnZUMxYXI2SVNBZm1Iajh2YUlYMzFybmRTenFXQ051bS85dFFPY0lrTzExbGc2amlCdkJ6V3Z1UC84aHI2TVErWlZ2UzBFSllQMWc2dGtuaXVBaUJhNEFNTVRyVEttaWlpMWk2Wk5HOGNMZ1p4ZTlJNER4T2hPbHpvamJYNzFIRkRPOHp1RVoxUWRYUFREeEZxOWpFUG1SNzByQnJva25kcW5QenI5R1JHNkVvTWpyUEIxTkZWc0EvVk9nS2Z6b2dQbnZWM3VkaDVKcjVHM3pmd0xvbjd6TzRUVTFPbVAxYnlmTzhqb0hrZC80cGhROEJkZ25YbkxPdGFwNkg0Q3VYdWRKQTQwS25USElYdlFIZVJxdTEyR28vVWJjK3NySnNQR09RQ3l2czNoTkFXT2drOWJlUDNHKzExbUkvTVFYcFdEZHhPTHNySnlCZjFlUnk3M09rbTRVbUIvWTNqUjF3UHZ2aDczT1F1MVJZbzI4N2FUM0FZejNPa25hVUYyN3FzdUhJMUZTd3RObFJFbmlpMjhjV1RrRGIyVWhTRXlBQ1c2LzNObGU1NkQyR2ZudkoxNElGb0w5aVF3L3J2N2tIM2dkZzhoUGZGRUtJc1o4MStzTTZjeFZUUEE2QTdXUGlsenZkWVowWkFIWGVKMkJ5RTk4VVFxK0NEVjF2a3NMTzlEMmNKUG44eTdRNFR2aStoZnlCRGpYNnh4cFNmVEVvZGM4ejcvZlJFa1M4RHBBTXF5cXJna1hCQVBvbTV2cmRaUzBVeE9OWW1uVkxrNTIxSWwxSzdDSEFtalhESVhEQjNUQjJjZjEzZTgyeHlqK1BILzNSSUZIOTg3RGxMRkhObnZjWTYrWG95bm1vbGRoRnE0KzdlaG0yNS81WUF1MjFVU1FFN1J3L1RuTkwvWlpzS29DbjJ4dEFBRDgrTHdpQk8zOXY0ZVVycS9HQit0MkhmYWZDMEFncTJ0d05JQTMyL01rUkxTYkwwcUJxeTdlcWRpQm9kMjZZbGpYcmdoWXZqZ0EwaTVHRmVVTkRWaGRYUU5IMWVzNDFBNDJwSDk3bjJQWUVWMXc3ZG43VDlVUmpidGZsb0lCUGZPYWJRZUF4OS81SEUweEZ6MEtzaE51ZitlVEtteXJpU0E3YUNmY3ZyRXk5R1VwK1A0Wmc1R2JaZSszM1RIYTNsSUFzZXhCWUNrZ1NncGZsQUlGMWdNWTlVbHRIY3JyR3pDMGExY01MTWhIYnNBWGY3dzJpUnVEcmFFUVBxNnRROGh4QUFDaTJPcHhMR29Ic1NXWDAxRzFURlVMdk01QTVCZSsrTlJVTmJORXJQTUJ5WThaZzlVMU5WaGRVNFArZWJrNEtpOGZmWEp6ZkYwUTRzYWdLaExCdHFZbWJHa013ZDMzeUlBaUtrWTV5VXNuNXNTaXVZRkE1c3htM0ZZbUhtTXBJRW9TWDN4Uy9tTEZwaFgvUFdyd1diWWwvd1JRdlBmMjdVMWhiRy9hZlhsK2wyQVEvWEp6MFNNbkcxMkNXU2dJQm1CSjU1eW1JZXc0cUkvRlVSdUxvU0xjaEoyUktCS2VJRkJVS3ZTYTIxZVZ2OTdSR1NsNTFIRnl3RkxRSWtVc3orc01SSDdoaTFMdzBoa25qTDFnOGZMU2trR0RSaFIwdDI4SDlLZUE5TnYzUHZYeE9PcmpjYUIrOTM5YkFuVFB5a2FQN0d4MHpjcENYc0JHYmlDQVhEdUFnT1Y5V1RDcWlMZ3V3bzZEc091aVBoWkRkVFNHNm1nVU1YT0lZOG1LQm9qNVc5eDE3L3FQMVp0cjN2ekc4Y2Q4ODYwVlhEU3BreExqK09KOW1qSkcrZnNoU2hKZnZKbXlBb0UvYjd6a3pKc0cvK3VORDdFSnMwcUc0NzR1d1NHWHVzRDNJZklOQVhJT2ZJeFJZRmMwaWwzUmFMUG55N1lzRkFhRHlBOEdrRzNieUxac1pOa1dndGJ1bnl6TFFzQ3lZQUd3UkNBaXNDQ3daTTkvQTFEcy9tRGYrODk5LzkweGlyZ3hpQm1EK0o2Zm1IRVJkUTFDOFRnYUhRZE5qcFA0MjM5TFZJMEN5NkI0d20zQW5GK1diNndEZ1BKdm5UbDVTMk40TklDU3R2OW1LVDNZaDc1TFp2Tyt4UlA1aEM5S1FVMGtsb1V1OHZiR2I1MzFLeWNjZXVDWVZ6NnNCOG9mQi9ENHIwZjJ6WWVkUDFraDU0dmlaQWlLY1lpZFNOUVlSS05SN0V4UUdOS0thcVdLdkcrcExnNXI3T25wSzcvNGNrRGhsZ2tUZXBqOCtBeFYzUEp4ZGMzRFhzYWtqbkYwcnp6TXVtcEV3bTA5Q3BwZjBSZ01XUGpIVFNjQ0FBcHpFKzhLL25EdGFEaXVJaWNyY1RHWmZzbHdoS0lPN0JhT3J0MXdiaEV1UDJVQUFDQTcwUHlxb0l2SEg0bVRqKzJaOExHei8vVVJQdG5Xa0hBYkVhV0dMMHJCem1qRUVVZ1F3RjNCblB5Yk4xMTg5aDhkY1o4cWZtN3htcCt2MmhFQzhNU2VINVFjUDZoYmdlSkVXTmFKQUVhcFlyaUlGQ0c5ZnhjS3hUYUZyb1ZnalJvcHRTenp3ZTByTm41KzRCMjNURDU3cEdQclZhN0Vmd3BJWWNpSngwS093NithR1NBM3k4YklvN3UxK3Y2V3lDSHYvL1dqRHI2MldGRy9nNC94RzlBckR3TjZ0WHpLdjIvWEhQVHQydXhBSGdBZ1B5ZWQzNUpFL3VTTGQxMVRQTGEwSVJZZlU1Z1ZCRVM2UXpBakFIdkdwcWxuclZUb1h3UEdmdU9vNXhldUZjQ1VyTmhVQzJEK25oOEF3TU5Bc083NElZTUFIQVBnR0V1a0NLb0RBQndCa1I0QXV1MzVTY0h2UzEwbzZnSFVBbEtyME8wQytRS2lHMFYxQTlTc2R5S2g5WGQ4dWpQaFZ5WUZyUElwNXd3UFdIcW1BYTV6QlNOa253TWh1NkxSTElXdVNINXVJaUx5RzErVUFsVzhYUmtKWDErWWRjQnN4eUtqQlBKNzExWjhQdldzbXMrQmhiQ3NoWERkcFdFVCsyell2SGNiQU9BR0lJNFY1ZXNBSEhRdzNtK1BIOVF0RHF1M0RlbHRvTjFGa1EwTDJWREpBcEFOTWRsR2tRMGdDN0JpbHBpb2loV3pES0lxR29VZ2FsekVMS0EyWnN6T0x2RjQxYzVQdHRhVW9QVlhvVmVjTnpJL1V0QnJxQ2pHR09DY1RjQzV0bWgzUmVKeklqc2pFWWhpWVd1Zm40aUlNcGN2U29FRktkMFppYUtveTBIdUpOSmRnY3VnZWhrc0N6bVNyWnVtbmxVdXdES2p1bHdzK2NRWWJNMnl6TFlqcTFFaGl4YzdCejdGejNZZlphakZJY3BEZTcxeEJnSkhGSnpWTjVBbFIxakdQZEt5N0dNTk1Ob0NSa2RVaXdFUmxkYU5ycXFLUkhmY3RyTDhzMVRtSlNJaWYvQkZLYmh0WmZtNmg4Y1Ayd1VnOFlpbFJFUUVRSkVDUlNKeUdRQllGdURBeHVZZWNEZDk2K3l0VU4wSXdXWlY3QlNSbldxMEJrQ3RxTmE1bHRZSFhVUWNXK0syc2VKV0lCNFB1RmE4MFlJVGlNQUo1RnUyRXpkQlk1dGd3QWtHWGNzRTFkV2dRcklEbG5SUm9Cc0VYU0hhWGRYcUpVQXZFUjBBeFdDSURNRGVJZWVXamIxSEFYUjM3bGIvRVNPT2cvcFliRW1ySDBDZFduMDRqbGRYYkUrNGJVRFBQQXdmY1BEeEFWN1lVTkdJZFJXSkJ4UFdOTVk2T0EwUithSVVBTkNHV0h4UjFIVXZ5N2JiUDZaT2QzOGdENFRJUU9DcnoySDVjb1Mxd0FaZ0FydVhtVlFiY0RVSTF3S0NBSkFEdUM0Z2xnMWJiYWdOV0xEMisyM0xQdi8yMWVkOEs3Lyt0MUoxTkFaQTMwL2VNMUk2MjFZVHdSMy9iMVhDYlplY2VOUkJTNEZyRkk3YjlybVVBN2JWNHBVSHJiRnc5WTR2MTE4Z0l1LzVwUlFBME1XVjRjaGxBd3J5dlE2U05xcWpVY0FveHhQUUliMzM2VTdjT0dkWm14OG5BdlFxek1hcFEzdmhrcE9PYXRQVkQwU1VmbnhUQ2x4QmFWVWtESmFDcjFSR0lvMmxxemJ4OUVHRzZOODlCemRQT2piaHRvRTlVek1Uc0NwUVZSL0YzTEt0bUZ1MkZWZWNNZ0MvbURJTUFidDFLNVdlUGFKUGk1Y3NQdkxhQm15c0RDVXpMaEVkZ205S1FUaFd2cW8yK3JVd2dGeXZzNlNEdURHb2lVYVdQUTI0WG1laGp0RTFONGhKSjdSN2xlVjJlZks5TGJCRThNdXBYMnZWL1l2N0ZhSzRYMkhDYmMrOHY0V2xnS2lEdGE3T2R3SWxheEdyamNYZWRRKzFMa0NHcUluR1lGUkt2YzVCbWVmLzN0Mk1kZHM1RXlGUlorU2JJd1VBNEtvdXFvcEV6K21YeDRNRk5kRW8xTGhjSFpIYTVaVTd2NEZlWFpxdjBPZ2F4WlpkVFhqcXZjMTQrdjB2OXR1bUFKNTZid3VtWGZMMURrcEpSTW5pcTFKZ3FmdEJWU1FNbGdLZ01oS0pDOEp2ZTUyRE9yZGd3RUpXZ2pVTEFPRFkvb1dZZnNsd1dDSjQ4cjB0KzIzN2VHdDlSOFFqb2lUelZTa0lob0pMcS9OaUxqSjhXVG1qaWwyUnlONTFIeWhETk1WY0xOOVlrM0JiejhKc0REeklHZ1R0TVdsMC8yYWxvRDRjYjlWaksyckQyRjRUU2JpdE1kSnMvakFpU2pGZmxZS2IxNit2LzMyWDRoV3FPa2JhTU1tUDM5VEZZbkNNbG5tZGd6clc1cDFOK01HZkVnOGp1ZVRFb3pEenN1RXBlZDJ1dWNGbXQrVm50MjdYOG56Wk5zNVRRSlJHZkRQUWNLKzRNYS9YeERKN0pyVHFhQXdRWGV4MURzb01sZlhObHhnZmVrVGlLd3FJS0wzNTZrZ0JBSWpvdTVYaE1IcGtOeDhjbFNsMlJzSWFqZXNpcjNOUXgrcFZtSVhMVHhtWWNOdlhqa3pOaDdSckZJKy9zLzhLM2lMQXBTY05hTlhqeHhaMXgwOG1GQ2ZjTnJmMEMyeHI0ZFFDRWFXRzcwcUJBMmZKcm1qemJ5NlpRbFZSRllsc21MWm00dzZ2czFESDZsV1lqWmVrYWxjQUFBc0xTVVJCVkJ2T0xVcnFjMjZvYUVSMVkvUDNrekhBOXBvd25ucC9DOTcvYk5kKzI2NCs3V2djTjdCMTZ5eU1HZElEWTRiMFNManR3M1c3V0FxSU9wanZTc0VkeTdkcys5UFkzSElBUTd6TzRvVkd4MEhZZFRtTElTWEZEWSswL3E5U3dCWmNjK2FRRnIvNUUxSDY4OTJZQWdBSU8rN0N4bmpyUmovN1RVMDBCbEh3VWtUcVVEbFpObjc3L2VQeDAvT0wyN0tRSnhHbEdWK1dBbFh6ZG1VNE13ODc3b3hFNEJybHBFWFVvU0l4RnpmOWRUbitQSDg5VkwxT1EwU0h5M2VuRHdEQUtNcXFJaEVNNlpKNUk2QXJJK0hLTzFadC9OVHJITlR4WXE3QjF1cW1oTnZ5c2dQb25wL1Y1dWZzMnpVbndkTElpc2FJbTNBdWdvZGYyNEFCUFhOeDBkZ2pXL1g4OWVFNEdscVkweUFhNTVUbFJCM05sNlhnamxVYlAzdDQvTEJkQUhwNm5hVWpoUjBYamJFNDV5ZklVT1U3UXBqMHE4Um5qZzUzbm9KLzNuSVNlaWVZNWxnVitHeGJQVXFlWG91UHZ0aC85c0svdjdtcDFhWGdpWGMyYzU0Q29qVGl5OU1IQUxRaEZuc2o2bWJXQW9FMTBTZ1U4cjdYT2NqL1JJQ2hSM2JCSDY4ZGpaemcvcnVSejdZM1lsTVZKOU1rNm94OGVhUmdqemNxSTVGTEIrVG5lNTJqdzFSSG96QmNCQ2xqZGMwTDRzemhmUkp1TzM1d3Q1Uzhacy9DYkp3MnJEY1dydDcvQ3RpUHR0UmpVTzlEdi9lR0hWR0lpOGNsUHFydzlpZFYyTldRMlJPUkVYVTAzNVlDUzFCYUZRNGprMHBCWlRnU1dySnFFMDhmWktqKzNYSnc5eFhIZGZqcmpqK21SN05TOEhrcmp4UjhjM2dmZkxPRkluUE5uMHRaQ29nNm1GOVBINkErVnI2cUpoYkxtRXNRNHNhZ0poWloralNRV2VkTXlITzlDcHVQT2Fpc3o1aTNIcEd2K0xZVWxLeEZyQzRhZThjeG1UR0N1VFlhaFZGSnZCb09VUXAxeld1K0lGSjFJNy9oRTNWR3ZpMEZBT0NxTHRvVnlZeHZMTlhSR01RRjF6dWdEcGVvRkZUV1plNVU0MFNkbVcvSEZBQUFqUHRoWlNTS3ZubXBXVWMrblZSRkluR1Z4cmU4emtIZVVRQ09tL2pJbUlna21HOGdPUkpkc2xpK294R3UwVU8rcGpFSzA4SnNSNXdFaWFqaitib1V1STMyMHVxOGlJSFBqNGdZVlZTRkkydC92bW9IcndQTFlKOXVhOENZTzE1THVPMXc1eWxvamE1NVdlamZQUWZiOTFtOEtCSTNlT3VqS3B4NVhPSkJoSHM5K25vNTV5a2dTaU8rTGdXL0xDK3ZlN0I3OFFwVkhTMCtucEM5TGhhRG84cXJEdWl3SGR1L0VQZGUyZnpLaGNLY1ErOGlSSUJmWFRVU1h4d3dtMkxYL09hbkZZZ292Zm02RkFCQXpEVUxhNkt4MFQxeW1oL2k5SXVhYUF5QUx2WTZCM2tyTDl2R3FLTVR6MGN3cEcvQlFSL2J0MXNPSnJkeUZzSkVSZy9wanRGRHVyZjVjVWYxek1QSnh5YWVlSFR0bGpyVWg1M0R6a1JFYmVmN1VxQXc3MVZHd3ZCekthaUtoRFhtY0JHa1REZXdaeDRldW42czF6SGE1SUxSL1hIQjZQNEp0MTN6NTFJc0xhL3A0RVJFbWMzWDU5b0JJS3JPa2wxUi80NkVWZ1dxSXBIeWFXczI3amowdlltSWlGcm0rMUl3ZmVVWFcydWlzWTFlNTBpVlJpZU9pT3R5UEFFUkViV2I3MHNCQUVRZGQyRmpQUEh5ckoxZFRUUUtvL3FPMXptSWlLanp5NGhTb0dyZTNoSDI1eVJHT3lOUnFNRkNyM01RRVZIbjUvdUJoZ0FBbzJVN0l4RVVkU24wT2tuU1ZVYkNsWGVzMnZpcDF6bkllK3NyR2pGaDF1S0UyeWFlY0FSdXZlRFkvVzZMT2dhVC8ydjNmRmZqaW5waTFsVWptajN1eXQrOWg1ckdHSWIwTGNCZmZ0UjhFT050LzdzY2E3YlVvVEEzaUdkdU83WFo5bC9QK3dRTFYxVUFBSjYvNDNUa0JPMzl0di96N2MveDl6Y1RuOTNqWWtoRUhTOGpTc0h0cXpkOSt2RDRZZFVBZW5pZEpaa2lqb3ZHV0p6akNRZ0E0QmhGUlczaVFiWDFUUWxPbitsWDk2OEpKZjRBcnFxTFltZERERjF5c3hKdXIyNk1vYUkyaW5BczhVeUtkYUg0bDYrUmFJYkN4b2pUWW1ZaTZuZ1pjZm9BZ0RiRVk0dWlycjhXRUt5T1JRR1ZEN3pPUVVSRS9wQXBwUUNpdXJqU1orTUtxaU5SaUxvY1QwQkVSRW1STWFWQUlhVlZrYkRYTVpLcU1od0pEVmkxaWFjUGZNOWZSN2lTem9CTEp4RWxTY2FVZ3NaNCtjcWFXTXczaHdvY1kxQVRpeXk3bko4WXZ1YzRVZjQvUGdqWGpmRDNRNVFrR1RIUUVBQksxaUwyd09qWWU2N1JzMUsxaEd4SHFvbEdBWlVQdmM1QnFSY1BWVWR6dWh4OHRjRkRhWW81MkY2ei81R3ltUFBWNE1CbzNEVGJEZ0R1bnUvZ2pwdDQrOTduTUtvSnQ0ZGpYMzFlVjlSR2tCUGMvM3RJWTZUOWF4dkVROVgrT2dSSTVLR01LUVVBWUl4NWZXYzBjbGJmM0Z5dm83UmJkVFFHRlN6eU9nZWxYcmhtUzFOQjMyS0lkZmh2MTFlV1YrQ1Y1UlV0YmkvYlVJM3paNy9WNHZieXl0QkJ0emVFbllOdUI0Q0w3MHYrSEZ0cVhFU3FOemNtL1ltSk1sVEduRDRBQURYV0IzNFpiRmdWaWNUVmJUejRYcGo4d2NUQzBYb3ViWkZJUEZRTjE0MkZ2TTVCNUJjWlZRcmNSbDFhSFkwa3ZxQzZFekdxMkJtTnJQMzVxaDNjR1dZQU1ib2pYTDNaNnhocHFhbjZjeGlSYlY3bklQS0xqQ29Gdnl3dnI2dUx4VmRvb2xsVU9wRzZXQXh4VjNuVlFZYUlOelY5R20rcWRYaTBZSCt4MEM3RUdxdU1wYkZsWG1jaDhvdU1LZ1VBRUhPZDEydGpuWHY2MUpwb0RJQXU5am9IZFl5ZDcvNjFRWUEzR25kOEFuWDl1YkJYVzZseDBGanhNUUNzM2JIZ29VcXY4eEQ1UmNhVkFvVyt1M1RuTGtTY3pua1ZVMDAwaXJVMU5hcHh3MEdHR1VUVlBHSmlUYWpic2dLZC9VaFhlNmtxR3JhdWhodHBnRUtmOERvUGtaOWtYQ213MVZsU0c0dGgvdGF0K0t5dURwRk9NdlZ4UXp5T2xidXFzV2piZGtTTktmL0YyazB0RHlVbjM2bFkwUE5aQlZiSFF6dFJ2M1VsMUhTT3Y3Zkpwc2FnY2ZzYVJPc3JvS3JiZGtUcWYrdDFKaUkvc1E5OUYzK1p2Nk8rNGR4K1BhNHowQzQ3d2hHc3I2dEhmVHdPbzBDV1pTRm9wVWRQVWlnYVlnNitDSVd3cHJvR3E2cHJVQjNkczNDTTZxSUZGVFZQZTV1UU90Wml6Ujh5N2xNUjY3dHV0RkZpb1owSTV2ZUFaU2RlcU1pUDNIZ1k5VnVXSTlhd2UyeUZpdndzdFBCaGpxMGhTcUtNS3dVQWNGNy9idldpY2hFRW9nRHE0M0ZzYldyQ3V2cDZiRzVzUkhVMGlpYkhoYU83TDFTd0xZRWxxWnZ3eURFR2pmRTRka1dqMkJvSzRiTzZPcXlxcnNHbmRYV29DSWNSY3I2YTRFVVZEWllqTnk2b3JObVNza0NVbGtJYlNqZm1EemtwSm9KempCTkZwSG96MU1SaFp4ZkNzdjA3NVloeG9taXEyb0Q2TFN0ZzRudm1LVko5ckdMK2czZDdtNHpJZnpyLzFINkg2YjZSZzg2M0xPcy9JWEo4YSs2Zlk5c29DQWFSYTl2SXRpeGsyemFDdG9XZ1dMQkU5dndBbGdnRWdOSGQzL2FOS293Q3Jpcml4aUJtWEVUZDNmOXNjaHcweGgzRVRHdXVrbFJYRmErTE9EKzdmZm5tajlyM3A2Zk9yTitFbS84b0lqL2Q5N1pnZmc5a0ZmU0duWlVQc1lPUUZKYllWRk5WcUluRGpUWWhGdHFKZU9QT0E3YWJlUlh6Szc0RlBKMlo1MUNJVXFqejdqbVM1TDRUQm4zVGd2MWpoWDVUSVAyOHpuTUFoZXBuQUJiR0ZBL2V1Ykw4TTY4RFVYcm9OK0hXbjRyb0F3QXk1dnlCQWthZy83MzkxUWZ2OURvTGtWOWxmQ25ZMTMwamp4NHRsalZSWUkwRU1CeUNZOUNoTzEwTlFmRVJSRDZDTVV2am9pLzh4NHBObXpydTlha3o2VFB4cGlMYldMOEJkRXFuUGpUUUNxcjZCa1R1cUhqMTl4eERRSlJDdnQ2UnROZkRRTEIyNU9BaGxpWEZDaFRicWtQVWt0NkFkQVBRVFlCdUNuVEY3dUlRVkdoUUlFR28yb0E0RUkwREVsY2dEa1VVMEZvQmFnSFVRcVFHYWlwVXJRMndkRU5BemZxZnJkajBPY0JsWUtsdGVwNTM0N0NnV0Q4VWtWTlZVUXhvRHhFSmVwM3JjS2tpTG9JNlZXd1E2QWRRL0dQN2dnZVhlcDJMaUlpSWlJaUlpSWlJaUlpSWlJaUlpSWlJaUlpSWlJaUlpSWlJaUlpSWlJaUlpSWlJaUlpSWlJaUlpSWlJaUlpSWlJaUlpSWlJaUlpSWlJaUlpSWlJaUlpSWlJaUlpSWlJaUlpSWlJaUlpSWlJaUlpSWlJaUlpSWlJaUlpSWlJaUlpSWlJaUlpSWlJaUlpSWlJaUlpSWlJaUlpSWlJaUlpSWlJaUlpSWlJaUlpSXZQZi9BUXhTbkNwOWtFTTdBQUFBQUVsRlRrU3VRbUNDIiwKCSJUaGVtZSIgOiAiIiwKCSJUeXBlIiA6ICJmbG93IiwKCSJWZXJzaW9uIiA6ICI1Igp9Cg=="/>
    </extobj>
    <extobj name="ECB019B1-382A-4266-B25C-5B523AA43C14-6">
      <extobjdata type="ECB019B1-382A-4266-B25C-5B523AA43C14" data="ewoJIkZpbGVJZCIgOiAiMjQyNzA5NzQ5NTE5IiwKCSJHcm91cElkIiA6ICI3ODQ0NDA4MzkiLAoJIkltYWdlIiA6ICJpVkJPUncwS0dnb0FBQUFOU1VoRVVnQUFBU1VBQUFDYkNBWUFBQUFrMEkzR0FBQUFDWEJJV1hNQUFBc1RBQUFMRXdFQW1wd1lBQUFLd0VsRVFWUjRuTzNkYTNCVTVRSEc4ZWM5WnplN205MFFDQUZFcEZZQ0FyVWRxNUJNcTQ2T3JiUkZKWUoxNm1VNmROVEtsM2FtSDd4MEJJVmdRMjlPKzZXWGFVM2p0Ri9hV3AwUnJkcnhVc0RLUGFpTWpvTlJ2RUhDUllRRWttVjNzN3ZuN1ljUVJaTzR1V3c0dTV2L2I0WUpzeWZ2MlFkbTh1UTk3OWx6amdRQUFBQUFBQUFBQUFBQUFBQUFBQUFBQUFBQUFBQUFBQUFBQUFBQUFBQUFBQUFBQUFBQUFBQUFBQUFBQUFBQUFBQUFBQUFBQUFBQUFBQUFBQUFBQUFBQUFBQUFBQUFBQUFBQUFBQUFBQUFBQUFDTW5QRTdRREZxcnArMTBCcTM0WWFGRXlzY2ExZE9XTDFyaTkrWmdGSkJLUTFEYy8yc2hjWnhWbHVaSlpKMFUrMmszZzNXdnBEMWJBUGxCSXdlcFRRRVRVdHJGaGhyMWhqVFcwWjlQaTZsUHRhK1lLUTE1ZmUxYkQyVCtZQlNRaW5sOE5EVnM4NTN5OXpXZ2JiMUs2VStsQk13WW83ZkFRcWRkYjNoL3g4WmM1VTFaa3Q4WGUxekp4dHJMeG1EV0VESm9wUk9zK05IOHlibmQ0OW1FZVVFREUvQTd3Q0Y0T0Vsc3kvMlhLME91V1gxM1kxMUcxMmo1bkRhUEdVYWRwekl6enVZUmRab1VYeGQ3ZlBHbURYbEszZHV5ODkrZ2RJenJ0ZVVtcGJXTEhDc1dTMWo2aVZwd2JrUnpaa2E3dHVja0xYL2V1K2oxT1lkN3llYUJoby82SnBTVHBaeUFnWXhiZy9mbXBmV0xIYms3T29ycEFGRVpNd1BKc2VDQXhiUzZKaEYxbXBydkxGMmJmNzNEUlMzY1Z0S25tY2pmbWVRMFZsK1J3QUt6YmhZVTJxNlpzNzh1dG1SWlRYVndWM1JjSHFMdWZ1MXVOK1pBQXlzcEV1cDZabzU4NTJBWFNYcEZza1k0N2hLOURpcCtMcmFEYSszSncrL2NTRHBkMFJKVW9Qa3pLZy83OHVPQXBkWVI0c1duaHMyNTA4cisxWDV5cGQzK0owTk9OTkt0cFNhbHMyNjN2SDBtSXo1MUdLK2xRbEpXand4NHZxVXJMK1oxODE1UkVZM1NIMW5Ib3lzZFpmRkcrdWVrV2Nib3F0Yldud05DSnhCSmJ1bTVHVE5aSm5pT0x0b2pRME91TUhvYXJsbVo3eXg5c240dWdVWG4rRllnQzlLWXFiVVhIL2VYQmwzNWJLTEpsNGFDanBiNU5uTm05N3FubjJvSytOM3RQd3dab25rWGh0ZlY3ZmV5ajRRVzlXeTIrOUl3RmdwK3BsUzgzV3oveVlUMkNOamxudFdOWktXeXpFUHpaeGNkby9mMmZMTVNGcG1wRmZpNitvZTlUc01NRmFLdnBSa3pQSmlPVXpyejF6VDNWaDdWeWhnSmc1ampKRjYxNStBVWxRU2gyOUZiSVl4NXNFcDBhRGFqNmY5emxLeVd2OXhwZlU3UTdHWmUvTkczMzdSRi85TUNVQkpvWlFBRkJSS0NVQkJvWlFBRkJSS0NVQkI0ZXdiTUFLVDV0K2k2UFRhUWJkM3QyOVJaK3RqbnhsenM2TFQ2d1lkRTIvZnFvN1dUMzhFYmRMYzd5azY0K3VEanptd1hSMXZQakxFMU1XQlVnSkdvR3pDVEpWUHZYRFE3VDBuUHVnL3BpTEhtSzU5L1Y0TFRqam5jOGVrdTlweUpDMCtITDRCS0NpVUVvQ0NRaWtCS0NpVUVvQ0NRaW5sTU5oRlU5WmFlUjZYVkFINXh0bTNIS3lzcWl0Y25VaGxkVHlaVldjeW84NWtWb21NcDkzL2lhc2k1S2d5RXRERXNLdktVMzhxUXE2aUlWY1ZJVWV4TWtmUk1sZXVVNlEzTWdET01Fb3BoNG1SZ0s2YU4rRlRyMWtycFRLZXVsSlpkYWM4ZGZWa1AvNzdSeWN6Mm4rOFIvRWVUeWZUbmhJOW5sSlpUNU1pQVUyTkJUVXRGdFMwV0VCVEs0S3FETHNLQlJ6MU1PTUNQa1lwallBeFVqam9LQngwTkNVMit2MmRWUmxRV1VBNjNKMXAzL05oNG8xRHlWUjFkVnVnZWtMSXJZNkYzUElKSVZleGtLT0tVMTlqWllWemYzRWczeWlsQW5EQjlONUgwQm5abmVXcjNyNys5RzIzemEydUNGWHI3R3pHVEhFY3hVM0dPVjRlZGZQME9ISDBDVmZOVjdKenIrUVYvMzJ0SWxPL3FzU0h4WHZIWkVxcHdEM2MrbEdYV3RVcXFkWHZMS1VzTXVVQ1RmclN6VHE0dVVHUzUzT2EwYW40d3BXS25YT3Bqcnp5QjcrampBaG4zNEJUS3M2NVROUHE3dlE3Umw1TU92KzdxcnJnKzM3SEdCRktDVGhONWF6RnFyNXdoZDh4OHFMNks3ZXFzbWFKM3pHR2pWSUNQcU5xL2syYU5POUd2MlBrZ2RIVWhUOVJiT1lWZmdjWkZrb0pHTUNVQzFkb3dubmY4VHZHcUJuamFQclhWcXA4MmdLL293d1pwUVFNeEJoTnE3MVQwUm1YK3AxazFJd2IxTm1YUGFCUTFUeS9vd3dKcFFRTXdqaXVwbDl5djhMVkYvZ2RaZFNjWUVUblhQRUxCYVBUL1k2U0V4OEpLRkQyMlFlanlZQ3BkazJ3MnNoV2U4YWQ2Rm9sN01sanFkU3hOc1dXTnozcmQ4YnhJSk00cW5UWEFiOWo1RVc2KzZBeXlhTit4OGlKVWhwelJncVVTYkpTSnEyQkx2SGQxMTJtcENsVE1GWjF4WjQvTG54clpuWEYyYW1PL1ZHVFRpaWJqTXYybkpSTnhaVkp4U1V2MC9jNFlDNm1HMk9aeERHMWI3cEwyVlNIMzFGR0xYVmluOW8yM1NPYjdmRTdTazZVMG5DNUFja055UVRMcEVCSUNwVEpCRUpTSUNRVGpNaVVoYVZnV0NZWWtZTGgzbXRTMGtuWmRMTDNhN0piTm5GY050a2xtemd1cFpQNjRGQ24yanRTa3ZaWFNhcjYxa1hUVlJWSSt2MHZIZGV5UFYxcWUvR25TbmNmOUR2S3FLWGpoOVcyOFU1NTZXNi9vd3dKcFpURHlheWozUitGRkt1c1ZQbkVLa1dpRllxVVJ4UXVMMWRsSlBCSjJhU1R2VE9hK0ZIWlZPL3NScW1Ua3MzbWZoT3Z1RDlCWEdxOFRFSUhYcnBQUFozditCMWwxRExKRHJWdHVsdlpST0VmdHZXaGxITEk5S1MxYjk5UlNmM1hGVzZxblhUbUEyRk0yV3hhQjdjMktuSGtkYitqakZxMnAxdnRMOTViZEE4WDRPd2JjSXExbmc2My9FYnhBOXY4ampKcVhpYWxBMXZXS05YeGx0OVJobzFTQWlUSlNrZGUvWk5PdlArYzMwbEd6OHZvMFBhZkszSDRWYitUakFpSGI0Q2tFL3MyS0pzODVuZU12RGkyNTUvS0pJNzRIV1BFbUNrQlVza1VrcVNpTGlTSlVnSlFZQ2dsQUFXRlVnSlFVQ2dsQUFXRlVnSlFVQ2dsQUFXRlVnSlFVQ2dsQUFXRlQzVDd5cjRyVDc4OGRDS3pUTkppdjlOZzZMcjMvKzl6TDNSTmRyemRmMHpiUzBwM3R3ODZKdFd4dDk5cjhiWXR5c1FQRHo2bXMvK1lZbGNLcGZTVVpLK1dUREhPK2w2STN0L1M5SmVsczY4eFE3NW5tN1d5K3UrWXBrSk84UVBiaG4zaDdvakdITnloK01FZHd4cFQ3SXJ4Qi9sVGJsLy85cEtzekFKSlQ4bG92NlNuSmEraHZUUDlPNyt6NVprMTBzYXM5UzZQM3RleXlPOHd3RmdwaFptU1ZxeC9lN2VrSmJldi8rUzE1dnFhTytRVWZlZEtrald5TDJXTlZsZXNiSG5SN3pEQVdDdUpVaHFJbGVrMFZsWkRQeTd5amJGS0Q1alMycTNXYUhWMFZRdUhheGczU3JhVWZ2amsza2VibHRhOGE2eHBORExmMXFrYjdSdlpIbG50aWllOW81SUs0cG5HKzUvWWUrT01KYlByWEVlTFBlbnliQ2JqV2VuWHNUVXRQTEVrRC9aL21QQTdBb2FoWkV0Smt1NVkvODdMa2hZMzE4OWFLTmxicmZVMkp6UHUwNU1iZHB4b3FwOTF2ZU80QlZGS0RaS25mKy9kTG1tN0pPbUowanVqNHFlV040LzdIUUhEVU5LbDFPZjJKOS9kSldtWDN6a0E1RllTSzhFallhU1UzeGtrRmM4akpvQXpwT0FYZ2NmU3c4dHF2bUd0czFiU1paSzA0TnlJNWt3TjkyNjBTa3IyK1ErT0pqZHVleS81MjRIR2ovaHBKdGJ1bExWcm8vZnZlbVprT3dCSzE3Z3VwVDU5NWJUd0M1RkxaMDhMdjJ6ay9UM2lwUDVxN24yOTQ4OUx2amd2NEFiM0REUnUyS1ZFR1FFNWpZczFwVnh1ZS95ZERaSTJ2UExqdVdkSFY3MDJCZytPdHp0ZFk5ZUdWMUZHUUM2VTBta3UvbjFybmd2cFZCbXRwSXlBb2FLVWNqQUJ4NU1kN2lqYklubHJvNnRlZm5vc01nR2xiTnllZlJ1cUZZKy8rNWFYOWI0cGFYUHU3N1l0VXZiYTZLcVdPZ29KR0JrV3VvZmhzMmZyUGxub3RpMnV2TFZoaWdnWU5VcHBCSHJMeWYzWlRYVlZFZGVtNzZlTUFBQUFBQUFBQUFBQUFBQUFBQUFBQUFBQUFBQUFBQUFBQUFBQUFBQUFBQUFBQUFBQUFBQUFBQUFBQUFBQUFBQUFBQUFBQUFBQUFKU0svd05NR1VnRG9xamoxQUFBQUFCSlJVNUVya0pnZ2c9PSIsCgkiVGhlbWUiIDogIiIsCgkiVHlwZSIgOiAiZmxvdyIsCgkiVmVyc2lvbiIgOiAiMyIKfQo="/>
    </extobj>
    <extobj name="ECB019B1-382A-4266-B25C-5B523AA43C14-7">
      <extobjdata type="ECB019B1-382A-4266-B25C-5B523AA43C14" data="ewoJIkZpbGVJZCIgOiAiMjQyNzA5NzQ5NTE5IiwKCSJHcm91cElkIiA6ICI3ODQ0NDA4MzkiLAoJIkltYWdlIiA6ICJpVkJPUncwS0dnb0FBQUFOU1VoRVVnQUFBU1VBQUFDYkNBWUFBQUFrMEkzR0FBQUFDWEJJV1hNQUFBc1RBQUFMRXdFQW1wd1lBQUFLd0VsRVFWUjRuTzNkYTNCVTVRSEc4ZWM5WnplN205MFFDQUZFcEZZQ0FyVWRxNUJNcTQ2T3JiUkZKWUoxNm1VNmROVEtsM2FtSDd4MEJJVmdRMjlPKzZXWGFVM2p0Ri9hV3AwUnJkcnhVc0RLUGFpTWpvTlJ2RUhDUllRRWttVjNzN3ZuN1ljUVJaTzR1V3c0dTV2L2I0WUpzeWZ2MlFkbTh1UTk3OWx6amdRQUFBQUFBQUFBQUFBQUFBQUFBQUFBQUFBQUFBQUFBQUFBQUFBQUFBQUFBQUFBQUFBQUFBQUFBQUFBQUFBQUFBQUFBQUFBQUFBQUFBQUFBQUFBQUFBQUFBQUFBQUFBQUFBQUFBQUFBQUFBQUFDTW5QRTdRREZxcnArMTBCcTM0WWFGRXlzY2ExZE9XTDFyaTkrWmdGSkJLUTFEYy8yc2hjWnhWbHVaSlpKMFUrMmszZzNXdnBEMWJBUGxCSXdlcFRRRVRVdHJGaGhyMWhqVFcwWjlQaTZsUHRhK1lLUTE1ZmUxYkQyVCtZQlNRaW5sOE5EVnM4NTN5OXpXZ2JiMUs2VStsQk13WW83ZkFRcWRkYjNoL3g4WmM1VTFaa3Q4WGUxekp4dHJMeG1EV0VESm9wUk9zK05IOHlibmQ0OW1FZVVFREUvQTd3Q0Y0T0Vsc3kvMlhLME91V1gxM1kxMUcxMmo1bkRhUEdVYWRwekl6enVZUmRab1VYeGQ3ZlBHbURYbEszZHV5ODkrZ2RJenJ0ZVVtcGJXTEhDc1dTMWo2aVZwd2JrUnpaa2E3dHVja0xYL2V1K2oxT1lkN3llYUJoby82SnBTVHBaeUFnWXhiZy9mbXBmV0xIYms3T29ycEFGRVpNd1BKc2VDQXhiUzZKaEYxbXBydkxGMmJmNzNEUlMzY1Z0S25tY2pmbWVRMFZsK1J3QUt6YmhZVTJxNlpzNzh1dG1SWlRYVndWM1JjSHFMdWZ1MXVOK1pBQXlzcEV1cDZabzU4NTJBWFNYcEZza1k0N2hLOURpcCtMcmFEYSszSncrL2NTRHBkMFJKVW9Qa3pLZy83OHVPQXBkWVI0c1duaHMyNTA4cisxWDV5cGQzK0owTk9OTkt0cFNhbHMyNjN2SDBtSXo1MUdLK2xRbEpXand4NHZxVXJMK1oxODE1UkVZM1NIMW5Ib3lzZFpmRkcrdWVrV2Nib3F0Yldud05DSnhCSmJ1bTVHVE5aSm5pT0x0b2pRME91TUhvYXJsbVo3eXg5c240dWdVWG4rRllnQzlLWXFiVVhIL2VYQmwzNWJLTEpsNGFDanBiNU5uTm05N3FubjJvSytOM3RQd3dab25rWGh0ZlY3ZmV5ajRRVzlXeTIrOUl3RmdwK3BsUzgzV3oveVlUMkNOamxudFdOWktXeXpFUHpaeGNkby9mMmZMTVNGcG1wRmZpNitvZTlUc01NRmFLdnBSa3pQSmlPVXpyejF6VDNWaDdWeWhnSmc1ampKRjYxNStBVWxRU2gyOUZiSVl4NXNFcDBhRGFqNmY5emxLeVd2OXhwZlU3UTdHWmUvTkczMzdSRi85TUNVQkpvWlFBRkJSS0NVQkJvWlFBRkJSS0NVQkI0ZXdiTUFLVDV0K2k2UFRhUWJkM3QyOVJaK3RqbnhsenM2TFQ2d1lkRTIvZnFvN1dUMzhFYmRMYzd5azY0K3VEanptd1hSMXZQakxFMU1XQlVnSkdvR3pDVEpWUHZYRFE3VDBuUHVnL3BpTEhtSzU5L1Y0TFRqam5jOGVrdTlweUpDMCtITDRCS0NpVUVvQ0NRaWtCS0NpVUVvQ0NRaW5sTU5oRlU5WmFlUjZYVkFINXh0bTNIS3lzcWl0Y25VaGxkVHlaVldjeW84NWtWb21NcDkzL2lhc2k1S2d5RXRERXNLdktVMzhxUXE2aUlWY1ZJVWV4TWtmUk1sZXVVNlEzTWdET01Fb3BoNG1SZ0s2YU4rRlRyMWtycFRLZXVsSlpkYWM4ZGZWa1AvNzdSeWN6Mm4rOFIvRWVUeWZUbmhJOW5sSlpUNU1pQVUyTkJUVXRGdFMwV0VCVEs0S3FETHNLQlJ6MU1PTUNQa1lwallBeFVqam9LQngwTkNVMit2MmRWUmxRV1VBNjNKMXAzL05oNG8xRHlWUjFkVnVnZWtMSXJZNkYzUElKSVZleGtLT0tVMTlqWllWemYzRWczeWlsQW5EQjlONUgwQm5abmVXcjNyNys5RzIzemEydUNGWHI3R3pHVEhFY3hVM0dPVjRlZGZQME9ISDBDVmZOVjdKenIrUVYvMzJ0SWxPL3FzU0h4WHZIWkVxcHdEM2MrbEdYV3RVcXFkWHZMS1VzTXVVQ1RmclN6VHE0dVVHUzUzT2EwYW40d3BXS25YT3Bqcnp5QjcrampBaG4zNEJUS3M2NVROUHE3dlE3Umw1TU92KzdxcnJnKzM3SEdCRktDVGhONWF6RnFyNXdoZDh4OHFMNks3ZXFzbWFKM3pHR2pWSUNQcU5xL2syYU5POUd2MlBrZ2RIVWhUOVJiT1lWZmdjWkZrb0pHTUNVQzFkb3dubmY4VHZHcUJuamFQclhWcXA4MmdLL293d1pwUVFNeEJoTnE3MVQwUm1YK3AxazFJd2IxTm1YUGFCUTFUeS9vd3dKcFFRTXdqaXVwbDl5djhMVkYvZ2RaZFNjWUVUblhQRUxCYVBUL1k2U0V4OEpLRkQyMlFlanlZQ3BkazJ3MnNoV2U4YWQ2Rm9sN01sanFkU3hOc1dXTnozcmQ4YnhJSk00cW5UWEFiOWo1RVc2KzZBeXlhTit4OGlKVWhwelJncVVTYkpTSnEyQkx2SGQxMTJtcENsVE1GWjF4WjQvTG54clpuWEYyYW1PL1ZHVFRpaWJqTXYybkpSTnhaVkp4U1V2MC9jNFlDNm1HMk9aeERHMWI3cEwyVlNIMzFGR0xYVmluOW8yM1NPYjdmRTdTazZVMG5DNUFja055UVRMcEVCSUNwVEpCRUpTSUNRVGpNaVVoYVZnV0NZWWtZTGgzbXRTMGtuWmRMTDNhN0piTm5GY050a2xtemd1cFpQNjRGQ24yanRTa3ZaWFNhcjYxa1hUVlJWSSt2MHZIZGV5UFYxcWUvR25TbmNmOUR2S3FLWGpoOVcyOFU1NTZXNi9vd3dKcFpURHlheWozUitGRkt1c1ZQbkVLa1dpRllxVVJ4UXVMMWRsSlBCSjJhU1R2VE9hK0ZIWlZPL3NScW1Ua3MzbWZoT3Z1RDlCWEdxOFRFSUhYcnBQUFozditCMWwxRExKRHJWdHVsdlpST0VmdHZXaGxITEk5S1MxYjk5UlNmM1hGVzZxblhUbUEyRk0yV3hhQjdjMktuSGtkYitqakZxMnAxdnRMOTViZEE4WDRPd2JjSXExbmc2My9FYnhBOXY4ampKcVhpYWxBMXZXS05YeGx0OVJobzFTQWlUSlNrZGUvWk5PdlArYzMwbEd6OHZvMFBhZkszSDRWYitUakFpSGI0Q2tFL3MyS0pzODVuZU12RGkyNTUvS0pJNzRIV1BFbUNrQlVza1VrcVNpTGlTSlVnSlFZQ2dsQUFXRlVnSlFVQ2dsQUFXRlVnSlFVQ2dsQUFXRlVnSlFVQ2dsQUFXRlQzVDd5cjRyVDc4OGRDS3pUTkppdjlOZzZMcjMvKzl6TDNSTmRyemRmMHpiUzBwM3R3ODZKdFd4dDk5cjhiWXR5c1FQRHo2bXMvK1lZbGNLcGZTVVpLK1dUREhPK2w2STN0L1M5SmVsczY4eFE3NW5tN1d5K3UrWXBrSk84UVBiaG4zaDdvakdITnloK01FZHd4cFQ3SXJ4Qi9sVGJsLy85cEtzekFKSlQ4bG92NlNuSmEraHZUUDlPNyt6NVprMTBzYXM5UzZQM3RleXlPOHd3RmdwaFptU1ZxeC9lN2VrSmJldi8rUzE1dnFhTytRVWZlZEtrald5TDJXTlZsZXNiSG5SN3pEQVdDdUpVaHFJbGVrMFZsWkRQeTd5amJGS0Q1alMycTNXYUhWMFZRdUhheGczU3JhVWZ2amsza2VibHRhOGE2eHBORExmMXFrYjdSdlpIbG50aWllOW81SUs0cG5HKzUvWWUrT01KYlByWEVlTFBlbnliQ2JqV2VuWHNUVXRQTEVrRC9aL21QQTdBb2FoWkV0Smt1NVkvODdMa2hZMzE4OWFLTmxicmZVMkp6UHUwNU1iZHB4b3FwOTF2ZU80QlZGS0RaS25mKy9kTG1tN0pPbUowanVqNHFlV040LzdIUUhEVU5LbDFPZjJKOS9kSldtWDN6a0E1RllTSzhFallhU1UzeGtrRmM4akpvQXpwT0FYZ2NmU3c4dHF2bUd0czFiU1paSzA0TnlJNWt3TjkyNjBTa3IyK1ErT0pqZHVleS81MjRIR2ovaHBKdGJ1bExWcm8vZnZlbVprT3dCSzE3Z3VwVDU5NWJUd0M1RkxaMDhMdjJ6ay9UM2lwUDVxN24yOTQ4OUx2amd2NEFiM0REUnUyS1ZFR1FFNWpZczFwVnh1ZS95ZERaSTJ2UExqdVdkSFY3MDJCZytPdHp0ZFk5ZUdWMUZHUUM2VTBta3UvbjFybmd2cFZCbXRwSXlBb2FLVWNqQUJ4NU1kN2lqYklubHJvNnRlZm5vc01nR2xiTnllZlJ1cUZZKy8rNWFYOWI0cGFYUHU3N1l0VXZiYTZLcVdPZ29KR0JrV3VvZmhzMmZyUGxub3RpMnV2TFZoaWdnWU5VcHBCSHJMeWYzWlRYVlZFZGVtNzZlTUFBQUFBQUFBQUFBQUFBQUFBQUFBQUFBQUFBQUFBQUFBQUFBQUFBQUFBQUFBQUFBQUFBQUFBQUFBQUFBQUFBQUFBQUFBQUFBQUFKU0svd05NR1VnRG9xamoxQUFBQUFCSlJVNUVya0pnZ2c9PSIsCgkiVGhlbWUiIDogIiIsCgkiVHlwZSIgOiAiZmxvdyIsCgkiVmVyc2lvbiIgOiAiMyIKfQo="/>
    </extobj>
    <extobj name="ECB019B1-382A-4266-B25C-5B523AA43C14-8">
      <extobjdata type="ECB019B1-382A-4266-B25C-5B523AA43C14" data="ewoJIkZpbGVJZCIgOiAiMjQyNzA4MDkwMDQ2IiwKCSJHcm91cElkIiA6ICI3ODQ0NDA4MzkiLAoJIkltYWdlIiA6ICJpVkJPUncwS0dnb0FBQUFOU1VoRVVnQUFBZ1VBQUFFdENBWUFBQUNZaXhQTEFBQUFDWEJJV1hNQUFBc1RBQUFMRXdFQW1wd1lBQUFnQUVsRVFWUjRuTzNkZVh4VTViMC84TS8zbkpuc1lWOVZFRWdVV2dTVXpiMTFSMUJCNm01M3RYcmJ1dlZxYTY4c1JvWGVlMjIxcmQzYzZPMXRmOVhyVWtWY1FVVGNOV0ZmM0lDQUlCQVN5RDZaN1p6bisvc0RVQ0FUU01oTXp1VE01LzE2NWFYT21lVkRaTTU4NXB6blBBOUF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NVV2NUckFKbGl6dVFoWTJGWmQxMDZwbHUzb01nZGVkUEwzdk02RXhFUjBiNVlDbEpzYnhrQTVFSUF1SEpjOXoxYjlEVVJ1U3Z2enRMM1BZeEhSRVQwSlphQ0ZKa3plY2hZc2F5WkNybG8zOXUvS2dWN0tCYUlRVW5lVEpZRElpTHlGa3RCQ2p3eWFjaXhkcGI5YWFKdHpVckJsM1MrcUZ1U04zM1pCeW1NUmtSRTFLS0Exd0g4U0cxakFYWWJIeVVUVkFJVFFyUEd2U3JHbE9UTlhQcGhTc0lSSFdEd2R4NGFwVVpLQ3ZzTm5DSWl5ZnVpSUhDS2p1NzdtcXFVekwzNStOS2tQUzlSaXV3OTNYdjUyQjc1Tm5SNkpvNzk0cEdDZG5ydjJ1RTlUcG16dG5yZjJ4NithTkN3Z0IzOE9OSDlXejVTY0NCOVJWUkw4cVl2NGM2VVV1S29iejg4d29iT0ZNaWxBRkRZZHdCRXJLUytSdkhndmdBQVZiemtRa3ZtM1RSNlNWSmZnQ2dKRGp6ZG04bGp2MWdLRHROZkx5b2ViV3pNSERzd2IvS3hmWE1XQ2ZEWHBuajFpejFMMXRjbnB4VHNvWGdadHBiay8wZFpXVEp5RXcyODZwSGhscVV6QUZ5T2ZmWUJxU3dGZXloVVg0Q1l1NSs5Y2V5eXBMNFEwV0ZvN2RndlZTeXc0TnlWQ2FkM1dRcmE2TkdMaThaWUtqTWhNaGtBeGh5ZGkyUDY1T3pkSEFiMHlmVTdvdTh1MlJ4K05OSGoyMXdLdnZJU0ZDWDUwMHY1VFlzT3k5RlhQUG8xQk14MEFhNUNndmQrQjVRQ0FJQUNDbUN1Q3U2Wis5TVRWaVQxQllsYTRkR0xpOGFJeWwwaSs1ZUJ2VnJjVDZ1KzZzQzl1NnVQeXdGTFFSdk11YmhvSW1DOXZPOXRCNVFDQUVCOTJNWExhK29UUGtjN1NnRUFRRlZmZENCM2QyTTVvRllhL0owL0R6VnFUUmVWYjBOYWZzOTNWQ25ZU3dFVjRGL2ltSHYvZGV1WVZVbDlZYUlFL2o2MXFFL015R010bFlHOURyV2ZWdFZYTForTy9VcnVIc0Ruak5GY3J6T0l5SVZCUVZsbzlyam5RL2VNSHVOMUhrcGZSMTM5MERFRHYvM3czOVRZSHd2a093Y3JCRjZRM1Y5S0xqVUJhOFhVUHk1L2N1cGZWaDduZFNieXQ2Z3hRdzlWQ0ZwRFJNNVgyLzRnTkd2OFMwMnp4bzVQUnJaMHdWTFFndis1Nk5oaHEyNFpNYjN4M2pIbjZhOUg1bnVkcHptWkREdXdKRFI3L056UTdER2p2VTVENmVPb3kvNVVmUFMzSDU1amkzeGlBZDlQdHpKd0lBRkVnTXZGMVpWVC83RDg4U2tQTHZ1NjE1bUlXa1V3U2NYNk1EUjcvSXVoZThhTjh6cE9NckFVSE9EaGk0NGQ5dGpGeGY4d2xuNmtzTzRWeTU0ZmptWHZDczBlOS9LSW8vTGIzVEJUWUFwZ0x3bk5IdjljNko2eEozZ2RocngwbVQzZzB2dC9iV2Zabndwd2pYUzY5N2RhSXJqS3RtVDFCZmVYUFlZelNuakpOSFVXRjhDVzB0Q3NjUytFWm8wZjYzV1k5dWhrTzQzVW1qT2xhR3JBMG84T1BOU3FrR3hBSm5iTHRYL2dYYnFERWdBWHc3YVdobWFOZTdaeDlyamp2UTVFSGEvL3hQNzNxOForTEVqeXdJQ09aOFVkNTlxUm8wK2E0M1VRNmx3ZW0xeDh3b2MvR2ZHSHB0bGpyNnovMWJDZUhSNUE1RUlJU2tPenhzMEwzWE5pcHp5OTI5bDNIc21sNkpYdWgxb1BRU0F5VlNETFFyUEgvYXZ4bnZHanZBNUVIYVAvZVRkUGc4b3Rva2pEVTEySFNmQzlrYmU5K2h1dlkxRDYrNThwUTBiTXVmaVlaOFNTWlFyY3FMQ2VzTFZMUldqVytGY2Jmelh1aDFVbEp4elJnWEVFSWhmQjF0MWp2enJaNmQyTVBUdzNaL0xnb1JEN3ppa25kRHMxTjJpOUM2UHZMUDZzc2JpaXdmRTZXaklJSU44U0cxTkRzOFk5cThhNXQyRG04cFZlaDZMVTZEL3g1dXVoTXN2ckhDbHkyNGpiWHExY2ZmLzU5M2tkaE5MUFExT0t2eDZFekRDQ0t4TnNEa0F3UVZRbTVBVURHcG8xL3QxMVZkRVZTejl2NnFoNEFzaGt3TDRvTkd2OHZMaTQ5M1NidGpUdDUrZkl5Q01GYzZZVS95OGs4REZFdmdkRkVZRHZ3WkpIQnZUTStvWFgyWkpNSUhLSjJNSGxvZG5qbi9ZNkRDVmYvM052bmdxRGg3ek9rVktLL3hyeDc2Lzh3T3NZbEY3bVRCNHlOZ2haZzhTRjRBQWlFSnpXTmRlNk1mWEptcjg0QkZPQ3U4ZCtQWnZ1WTc4eXNoUkE1SHVkL0RSQld3bUFTNzBPUWNuVjc5eWJ2cWtXbmtReTF5dElReUlRRVhsMCtPMHZwK05BWC9LSUVjM3RaUHR4QVRBMTNjZCtaV1lwSU9ya2VwOTc2L0d3NUVVUkNYcWRwWU1FYkpVbmg5KzY0RlN2ZzFESGUrYVNvU01iN3g1N2J1MHZSN1J2OXJmMDhPWFlyNlpaNDU1SnQ3RmZMQVZFblV5ZmlUY1ZCV3hkSUNJRlhtZnBXSkpyVytiRnI5MCtuNU1jWllpL1RpbisrcU9UaTU4TVExZEt3Rm9RTE16WkdabzFma1hqdmVOK00rcW9nak85enRkT29pS1hpSzNMbTJhUGZ6bzZlL1JJcndNQkxBVkVuVXF2Q2RmM3Q0ejFHb0RlWG1meGhLQmJVSFgrc0Z0ZkdlUjFGRXF0eHk0dS9vZEMxbGlXWFA3VnJXSkJNRW9zdWExM1llQnU3OUlsazRnQ2x6cXdWelQ5YXZ4VFhxZGhLU0RxUklLUzk0b0lCbnVkdzJOSFpObXl3T3NRbEZycE9EVjNhb21vNGpLdlU3QVVFSFVxbWxibkh6MTBqTmNCS0xQRlhPTjFoSlRJMkhrS2lJaUlEdGNUeTZ2UkdITXhzbjhlanUyVmd6NEZRZmpoT2lDV0FpSWlvalpTQUovWHhQQjVUUXdBMEQzWHhxaitlUmpXSndjRHUyY2pZSFhPaHNCU1FFUkUxRWE5OHV4NVVQU0VZQ3lBN0pxd2k4WGxEVmhjM29Ec2dHQjQzMXdNNzV1TG9wNDV5TXZxUEdmcVdRcUlpSWphNk1MaFhlZGM4YzkxOHk0N0dibTlwTjlab2pnZklxY0pkRVRVZ2Ixc2F4T1diVzJDQUNqcW1ZMFIvZk53VEs5czlNcFA3NmxGV0FxSWlJZ08wOVB2SXd4VXZBVGdKUUQ0OFlpdTNhVWc1M3lJbkNlUVV4UTRkdjJ1S05idmlnSUFlaGNFTUtwL0hvYjJ6c0dBYmxtdzBtd2dBa3NCRVJGUmt2eGxkVjBOVVBjRWdDY0E0TjlPN25ta0pZRkpvbkpPbG0xTmpFUzFjTm1XSnF6ZEZrRzNIQnMvUEttWHg0bjN4MUpBUkVTVUlnKzl2MnNyZ0VjQlBQcll4Y1Z6QlRMRjYwd0h3MUpBUkVSMG1QNTBSdStDM0s1ZEJ4clZnZGxaZHA4TGo4dWIxNzFrUmEzWHVRNVg1eGtTU1VSRWxDWSsyQkMrYjg3RnhUdHl1blZyVUpHMVlsbXZpT0IzV2NIZ1UwOWRCdHZyZkllTHBZQ0lpS2lONHE0T0JhUlA4eTF5N3FUang5M2Y4WW1TZzZXQWlJZ29pUVJ5UytQc2NUL3dPc2ZoWUNrZ0lpSktNb0g4cGVsWFkwNzBPa2Ric1JRUUVSRWxYNDZxOVd5bzVJUWp2QTdTRml3RlJFUkVLU0ZISUJoOGZtUEpvQnl2azdRV1N3RVJFVkhxak8wYjdEUEg2eEN0eFZKQVJFU1VRZ3BjM1RoNy9CMWU1MmdObGdJaUlxSVVFMkQyd083WlE3M09jU2dzQlVSRVJLbG5qeHVVTjZ3d0o3MC9kdE03SFJFUmtVOWtCUVNuRnhjZ21NYnpIYklVRUJFUmRaQXV1VFpHSEpucmRZd1dzUlFRRVJGMWtGRFVZTTIyaU5jeFdzUlNRRVJFMUFFY1YvSE8ra2JFSFBVNlNvdFlDb2lJaUZKT3pmSXZtamJWTkxsZUJ6a29sZ0lpSXFJVVU4VUQ2eXVqSzczT2NTZ3NCVVJFUktrMXYyQjYyYys5RHRFYUxBVkVSRVFwb29wMWVZRzZ5N3pPMFZvQnJ3TVFFUkg1a21xdHFqdEY3dmkwd2Vzb3JjVlNRRVJFbEh3T0xQMSs0WjNMUHZZNlNGdnc5QUVSRVZHU0dlZzkrWGN1bWVkMWpyWmlLU0FpSWtvaUFaNHBuRloycjljNURnZExBUkVSVVJzRkxka0VvRHJCcGxXNThjcnZkbkNjcEdFcElDSWlhcU9UaW5OdnVYYnV1cDVPbzl2TmN0M3hCdnBkUy9GclMrT1RwV1JUK3M1amZBZ2NhRWhFUkhTWWJsaFlYZ2VnYk04UDhJeW5jZHFOcFlDSWlDaEY5STAvRlRod1Q0TEtOMnFyZDUzU1VGdUwrdHBhMU5mVm9hbStIa0I2WGEzSVVrQkVSSlFrK3ZLRDJVNk9qSVhpZE5pWTZLZzVCWkFBQk9qV3N5ZTZkaTJFMnpVQXN5c01KN3ZSNjdqTnNCUVFFUkVkSm4yakpCQTN2VWJhdHA3cXFFNTBnRE1BNUVJQTdGa01VYU9OTUxYYllYWnRocW5kRHRteklTQmVwVzRaU3dFUkVWRWIyZjFIVFhMZStQNTNITVY1WW1sWG80Q0YzWi95cWdwdHJJYldiWU83Y3hQUVZQdmw0OUt3Qit3bkkwdUJLbDRXNkVTSXBQdi9uMlJSQVJaNUhZS0l5QytrUzg4YkZQanlVMTdkT0xTK0VxWm1LOHl1ejRGNDU3d0FJU05Md1hYUHI3dmdzY25GSndDNEY4QW9LRlpCVWJhOU50NER3RTBleDBzbVZXQ3hVWGRtbCtsTDMvRTZEQkdSbjJpc0NhYTJBcVo2TTdSbUs2REc2MGp0bHBHbEFBQ3VtN2QrT1lBTHIzditxOXZtVEM3NkVTeGZUTjJnQWl4MlhOelZaV2JwMjE2SElTTHlHNmU4RklnMWVSMGo2VEsyRkNTaWtGcFJLQ1R0VC91MFJFWDFUUmU0cTNCNjJWdGVoNkVVVUt5RDRCaXZZNlNCTFY0SG9Bem53MElBY0ViRC9WdzNiLzNUUnN3NFZYMFZ1bmZjS0NEUW1LaStGNHFZRjd6TWR4QXEwRGVOcTJmbVRTODdrNFhBdjFUa1BGVnM4enFIdDNTbmNlMEpYcWVnVk5OWDl0MFBaNEM0S0o3d09nUkx3UUYrTkhmRDB1dWVYejhSNm81WHdTT3E1dXB3M09xZE43M3MxR1ZiR3YvbWRiNERLZlF0WTh4WmVkUEt6aWljV2ZhbTEza290U3BlL2QwbVZaMEFSZTJoNyswL0NtMkE2a1ZyZm5kdXAxcU9sdHJ1MnJucko2bklTVkFzL09wV05hcFlwOERqZFdIM1FlL1NKVlZjb2Y5bkd4bWVONzMwYXEvRDhQUkJDNjZkVjc0RXdCS3ZjN1JFZ2JmVmNlOHF2R3ZwRzE1bm9ZNjFZOEdEYS9xY2UrT0Z0bTIvQmlEWDZ6d2RSUlZSaUY2eDZvRkpIM2lkaFRyR2RYTS9Ld1Z3N3I4dUgzcXFjYzBBQk56WEM2Y3Ryd0tBUjZjTVB0MlN3TTBlUjJ5UHVJbytHNERNekxtejdET3Z3K3pGVXRBR0FrUzl6Z0RGTzBaeFYrR01VbDVpbU1FcVgvdmp1LzBtM0hRWnhKb3JtZkUrZGlCeTdlcjdKNzNpZFJEcWVKYzg5ZW03ZU1yckZFbmpLUFJaWTNSbWx4bExQdlU2eklGNCtxQU5ycHRYL3BLSU9SdEFDNWYzYVJTS2wrc2k4VjhrLzlYMVhRdDZUdjcwMHROWkNBZ0FLdWIvNFNVWXZRNnF2ajd2cXJ2UEs5KysrdjRKLy9RNkM2VVBFVVE3MlpnREI0S25YWEZIRkV3cnV5SWRDd0hBVXRCbTF6eTNZZEcxYzllZHZyY2N5TzYvbEV0RjllZXV5Skg1MDBzdmVQUFQrdVFOU0ZSOXo3YjAzUHhwWmFmbFRpdDdQV25QUzc1UXNlREIvMVZGQ2twbytsREJmNjY2Ly96ZmU1MkQwc3QxY3plV1dzWTlVWUhYRG4xdmpVSjFZVzNZL1V2cWt6WGpBSGpHR0dkay9wMmxsM2U1YytrbkhtUm90VXc0N0pnUzF6eTNZUkdBUmUvOTI3Rkg1azlidFRYNXI2RHYyOUM3Y3FZdmFjVmZlTXBrRlFzZS9FMi84MjdwSXhaKzduV1daRlBGbzJzZU9IK2ExemtvUGYzd2hmSXlBT2M5TXFYb0ZCc3lDeUpuZnJWVlF3QVdXY0N6VGZHYVozdVdySy9mTXc3aHh4MFV6NEhxODhaeFpoYVdMUCtvZzE2ejNWZ0sydW1VaHo1TGJpRlFmR0NyM0pVem8zUkJVcCtYZksxaXdlOS8wZS84VzNvRGVqbUFQSy96SklPcVByZjZnWWszZUoyRDB0LzF6Mjk0RDhCWmoxeFUvRTNqNmpXaWVESFhxWHBCU2paMStGekRzbnZNd0x5QU9ET3lwM1dlTXJBWFMwRUtTTUF5YlQzVEpjQUh4dWpkQlRQS1hrMU5Ldks3aXNqS0h3MG92TWhWNElmU3VVOE5HanRnUDcrNmNmTVZRS2M2WjB3ZXUvNkY5VzhDOE9yU2JCZXE4MnlER2Rrenk5WjZsS0hkT3ZPT0kyMWQvMXo1WndaNnBpb09PY1d3QUI4Q1psTGV0TktUV1Fpb1hSWXZkclk4ZmR0MXJuRlBnT29MQ25TcWlkaDE5K0p5QzR5UmsxKzViZnkzOE1nTmNhOHpFYldDQzJDdWdUaytmM3JadHpweklRQjRwQ0JsZmpSMy9XSUEzNWd6dWVoTVdOWTlBRTdiL3g1YUNxTjM1ODFZOHJJSDhjakh2bmppSjZzQVRCNTA5U1BIcStnc0tDWkpHay9kcllDSzRIVVJhOGF6UHhuRk9RaW9zM0NoZUZHTk82Tmc1dExWWG9kSkZwYUNGTHQyM29ZM0FKeisxNmxGWjZsYWQ3dkdkTEV0dlROLzJ0S1h2TTVHL3JicDhldFhBTGh3NE5WL0hpT3daa0ZsUWpxdDY2R0FBdktHcXpwejNvMG52T3QxSHNvQXRyMFJycjRGa1crMDQxbGNBVjQwY0dZV1RGKzJLbW5aMGtUYTdDQ0lLTFVHWFBuUVdOdVcyVkNjbTZnY0ZQWWRBSkhrbmxFc0h0eTMyVzI3eXdEZU5KWTE4L21mak9JcW50VGhIcjI0K0F4TDVXNElFcGFESzhkMVQzU3pDK2hMNnNyTWdwbWxLMU9iMERzc0JVUVo1cWdySHo3UnRqQkxCR2RqbjMxQUI1UUNWZFYzRkRKejdrMG5MRTdxQ3hFZGhqbVRpODVVc2U0V3dlbjczcjUvS1ZBRDRLVWdNRE5yV3RtS2prM1k4VmdLaURMVTBWYzlkRElFczBUa0xDREZwVUR4cnNLYStkeE5vemdiSjZXZEE4ZCs3UzRGYWhUeWlyaG1SdjdNSmN1OVRkaHhXQXFJTXR6QXF4NCt6YkowZG1IZm8wOFhrZVR0RTBTY29rRjl5Z0RjOWR5TkozQVNMa3A3ZThkK1hURzJXNk9JbVpZL2Jla3lyek1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VYWNtWGdkSVJ4OVBQYnRuTnN4UmxzR1JScXdlRnJTYld1Z2xrTjVRN1ExSWJ3RGRBR1JEa0Exb05oVFpnR1R0dVMyb0NnZWlVVXNscW9Jb2dCaWdVU2lpQUdvaHFBSlFwU3BWbHVoTzE2RFdzclFhWW0rTE4wVy9PT2FWdDZ1OC9CMVE1L0cxMjE0NjJsWnJpb2ljQjJBa29IMWw5OS9GVGtrVmNSRlVRYkZLb2E4WmxYbHJmM3YrZXE5ekVXV0NqQzBGYXk4Ym5wVWI3VGRNTEIwdWd1RUNIS01peHdCYURFaWgxL2tFQ0Jub0JvR3NVOVYxQWxtajZxNUZMVDRadkhoeHhPdDg1TDNqL24zK0FFdDBKaFRYUW56OFhsYW9panl1bG52WG1sOVAydUIxSENJLzgrK081QUNiTHZyR1lBU0NwMEQwSkVCT1V1Z29nUVM5enRWbUNnZUMxYXI2SVNBZm1Iajh2YUlYMzFybmRTenFXQ051bS85dFFPY0lrTzExbGc2amlCdkJ6V3Z1UC84aHI2TVErWlZ2UzBFSllQMWc2dGtuaXVBaUJhNEFNTVRyVEttaWlpMWk2Wk5HOGNMZ1p4ZTlJNER4T2hPbHpvamJYNzFIRkRPOHp1RVoxUWRYUFREeEZxOWpFUG1SNzByQnJva25kcW5QenI5R1JHNkVvTWpyUEIxTkZWc0EvVk9nS2Z6b2dQbnZWM3VkaDVKcjVHM3pmd0xvbjd6TzRUVTFPbVAxYnlmTzhqb0hrZC80cGhROEJkZ25YbkxPdGFwNkg0Q3VYdWRKQTQwS25USElYdlFIZVJxdTEyR28vVWJjK3NySnNQR09RQ3l2czNoTkFXT2drOWJlUDNHKzExbUkvTVFYcFdEZHhPTHNySnlCZjFlUnk3M09rbTRVbUIvWTNqUjF3UHZ2aDczT1F1MVJZbzI4N2FUM0FZejNPa25hVUYyN3FzdUhJMUZTd3RObFJFbmlpMjhjV1RrRGIyVWhTRXlBQ1c2LzNObGU1NkQyR2ZudkoxNElGb0w5aVF3L3J2N2tIM2dkZzhoUGZGRUtJc1o4MStzTTZjeFZUUEE2QTdXUGlsenZkWVowWkFIWGVKMkJ5RTk4VVFxK0NEVjF2a3NMTzlEMmNKUG44eTdRNFR2aStoZnlCRGpYNnh4cFNmVEVvZGM4ejcvZlJFa1M4RHBBTXF5cXJna1hCQVBvbTV2cmRaUzBVeE9OWW1uVkxrNTIxSWwxSzdDSEFtalhESVhEQjNUQjJjZjEzZTgyeHlqK1BILzNSSUZIOTg3RGxMRkhObnZjWTYrWG95bm1vbGRoRnE0KzdlaG0yNS81WUF1MjFVU1FFN1J3L1RuTkwvWlpzS29DbjJ4dEFBRDgrTHdpQk8zOXY0ZVVycS9HQit0MkhmYWZDMEFncTJ0d05JQTMyL01rUkxTYkwwcUJxeTdlcWRpQm9kMjZZbGpYcmdoWXZqZ0EwaTVHRmVVTkRWaGRYUU5IMWVzNDFBNDJwSDk3bjJQWUVWMXc3ZG43VDlVUmpidGZsb0lCUGZPYWJRZUF4OS81SEUweEZ6MEtzaE51ZitlVEtteXJpU0E3YUNmY3ZyRXk5R1VwK1A0Wmc1R2JaZSszM1RIYTNsSUFzZXhCWUNrZ1NncGZsQUlGMWdNWTlVbHRIY3JyR3pDMGExY01MTWhIYnNBWGY3dzJpUnVEcmFFUVBxNnRROGh4QUFDaTJPcHhMR29Ic1NXWDAxRzFURlVMdk01QTVCZSsrTlJVTmJORXJQTUJ5WThaZzlVMU5WaGRVNFArZWJrNEtpOGZmWEp6ZkYwUTRzYWdLaExCdHFZbWJHa013ZDMzeUlBaUtrWTV5VXNuNXNTaXVZRkE1c3htM0ZZbUhtTXBJRW9TWDN4Uy9tTEZwaFgvUFdyd1diWWwvd1JRdlBmMjdVMWhiRy9hZlhsK2wyQVEvWEp6MFNNbkcxMkNXU2dJQm1CSjU1eW1JZXc0cUkvRlVSdUxvU0xjaEoyUktCS2VJRkJVS3ZTYTIxZVZ2OTdSR1NsNTFIRnl3RkxRSWtVc3orc01SSDdoaTFMdzBoa25qTDFnOGZMU2trR0RSaFIwdDI4SDlLZUE5TnYzUHZYeE9PcmpjYUIrOTM5YkFuVFB5a2FQN0d4MHpjcENYc0JHYmlDQVhEdUFnT1Y5V1RDcWlMZ3V3bzZEc091aVBoWkRkVFNHNm1nVU1YT0lZOG1LQm9qNVc5eDE3L3FQMVp0cjN2ekc4Y2Q4ODYwVlhEU3BreExqK09KOW1qSkcrZnNoU2hKZnZKbXlBb0UvYjd6a3pKc0cvK3VORDdFSnMwcUc0NzR1d1NHWHVzRDNJZklOQVhJT2ZJeFJZRmMwaWwzUmFMUG55N1lzRkFhRHlBOEdrRzNieUxac1pOa1dndGJ1bnl6TFFzQ3lZQUd3UkNBaXNDQ3daTTkvQTFEcy9tRGYrODk5LzkweGlyZ3hpQm1EK0o2Zm1IRVJkUTFDOFRnYUhRZE5qcFA0MjM5TFZJMEN5NkI0d20zQW5GK1diNndEZ1BKdm5UbDVTMk40TklDU3R2OW1LVDNZaDc1TFp2Tyt4UlA1aEM5S1FVMGtsb1V1OHZiR2I1MzFLeWNjZXVDWVZ6NnNCOG9mQi9ENHIwZjJ6WWVkUDFraDU0dmlaQWlLY1lpZFNOUVlSS05SN0V4UUdOS0thcVdLdkcrcExnNXI3T25wSzcvNGNrRGhsZ2tUZXBqOCtBeFYzUEp4ZGMzRFhzYWtqbkYwcnp6TXVtcEV3bTA5Q3BwZjBSZ01XUGpIVFNjQ0FBcHpFKzhLL25EdGFEaXVJaWNyY1RHWmZzbHdoS0lPN0JhT3J0MXdiaEV1UDJVQUFDQTcwUHlxb0l2SEg0bVRqKzJaOExHei8vVVJQdG5Xa0hBYkVhV0dMMHJCem1qRUVVZ1F3RjNCblB5Yk4xMTg5aDhkY1o4cWZtN3htcCt2MmhFQzhNU2VINVFjUDZoYmdlSkVXTmFKQUVhcFlyaUlGQ0c5ZnhjS3hUYUZyb1ZnalJvcHRTenp3ZTByTm41KzRCMjNURDU3cEdQclZhN0Vmd3BJWWNpSngwS093NithR1NBM3k4YklvN3UxK3Y2V3lDSHYvL1dqRHI2MldGRy9nNC94RzlBckR3TjZ0WHpLdjIvWEhQVHQydXhBSGdBZ1B5ZWQzNUpFL3VTTGQxMVRQTGEwSVJZZlU1Z1ZCRVM2UXpBakFIdkdwcWxuclZUb1h3UEdmdU9vNXhldUZjQ1VyTmhVQzJEK25oOEF3TU5Bc083NElZTUFIQVBnR0V1a0NLb0RBQndCa1I0QXV1MzVTY0h2UzEwbzZnSFVBbEtyME8wQytRS2lHMFYxQTlTc2R5S2g5WGQ4dWpQaFZ5WUZyUElwNXd3UFdIcW1BYTV6QlNOa253TWh1NkxSTElXdVNINXVJaUx5RzErVUFsVzhYUmtKWDErWWRjQnN4eUtqQlBKNzExWjhQdldzbXMrQmhiQ3NoWERkcFdFVCsyell2SGNiQU9BR0lJNFY1ZXNBSEhRdzNtK1BIOVF0RHF1M0RlbHRvTjFGa1EwTDJWREpBcEFOTWRsR2tRMGdDN0JpbHBpb2loV3pES0lxR29VZ2FsekVMS0EyWnN6T0x2RjQxYzVQdHRhVW9QVlhvVmVjTnpJL1V0QnJxQ2pHR09DY1RjQzV0bWgzUmVKeklqc2pFWWhpWVd1Zm40aUlNcGN2U29FRktkMFppYUtveTBIdUpOSmRnY3VnZWhrc0N6bVNyWnVtbmxVdXdES2p1bHdzK2NRWWJNMnl6TFlqcTFFaGl4YzdCejdGejNZZlphakZJY3BEZTcxeEJnSkhGSnpWTjVBbFIxakdQZEt5N0dNTk1Ob0NSa2RVaXdFUmxkYU5ycXFLUkhmY3RyTDhzMVRtSlNJaWYvQkZLYmh0WmZtNmg4Y1Ayd1VnOFlpbFJFUUVRSkVDUlNKeUdRQllGdURBeHVZZWNEZDk2K3l0VU4wSXdXWlY3QlNSbldxMEJrQ3RxTmE1bHRZSFhVUWNXK0syc2VKV0lCNFB1RmE4MFlJVGlNQUo1RnUyRXpkQlk1dGd3QWtHWGNzRTFkV2dRcklEbG5SUm9Cc0VYU0hhWGRYcUpVQXZFUjBBeFdDSURNRGVJZWVXamIxSEFYUjM3bGIvRVNPT2cvcFliRW1ySDBDZFduMDRqbGRYYkUrNGJVRFBQQXdmY1BEeEFWN1lVTkdJZFJXSkJ4UFdOTVk2T0EwUithSVVBTkNHV0h4UjFIVXZ5N2JiUDZaT2QzOGdENFRJUU9DcnoySDVjb1Mxd0FaZ0FydVhtVlFiY0RVSTF3S0NBSkFEdUM0Z2xnMWJiYWdOV0xEMisyM0xQdi8yMWVkOEs3Lyt0MUoxTkFaQTMwL2VNMUk2MjFZVHdSMy9iMVhDYlplY2VOUkJTNEZyRkk3YjlybVVBN2JWNHBVSHJiRnc5WTR2MTE4Z0l1LzVwUlFBME1XVjRjaGxBd3J5dlE2U05xcWpVY0FveHhQUUliMzM2VTdjT0dkWm14OG5BdlFxek1hcFEzdmhrcE9PYXRQVkQwU1VmbnhUQ2x4QmFWVWtESmFDcjFSR0lvMmxxemJ4OUVHRzZOODlCemRQT2piaHRvRTlVek1Uc0NwUVZSL0YzTEt0bUZ1MkZWZWNNZ0MvbURJTUFidDFLNVdlUGFKUGk1Y3NQdkxhQm15c0RDVXpMaEVkZ205S1FUaFd2cW8yK3JVd2dGeXZzNlNEdURHb2lVYVdQUTI0WG1laGp0RTFONGhKSjdSN2xlVjJlZks5TGJCRThNdXBYMnZWL1l2N0ZhSzRYMkhDYmMrOHY0V2xnS2lEdGE3T2R3SWxheEdyamNYZWRRKzFMa0NHcUluR1lGUkt2YzVCbWVmLzN0Mk1kZHM1RXlGUlorU2JJd1VBNEtvdXFvcEV6K21YeDRNRk5kRW8xTGhjSFpIYTVaVTd2NEZlWFpxdjBPZ2F4WlpkVFhqcXZjMTQrdjB2OXR1bUFKNTZid3VtWGZMMURrcEpSTW5pcTFKZ3FmdEJWU1FNbGdLZ01oS0pDOEp2ZTUyRE9yZGd3RUpXZ2pVTEFPRFkvb1dZZnNsd1dDSjQ4cjB0KzIzN2VHdDlSOFFqb2lUelZTa0lob0pMcS9OaUxqSjhXVG1qaWwyUnlONTFIeWhETk1WY0xOOVlrM0JiejhKc0REeklHZ1R0TVdsMC8yYWxvRDRjYjlWaksyckQyRjRUU2JpdE1kSnMvakFpU2pGZmxZS2IxNit2LzMyWDRoV3FPa2JhTU1tUDM5VEZZbkNNbG5tZGd6clc1cDFOK01HZkVnOGp1ZVRFb3pEenN1RXBlZDJ1dWNGbXQrVm50MjdYOG56Wk5zNVRRSlJHZkRQUWNLKzRNYS9YeERKN0pyVHFhQXdRWGV4MURzb01sZlhObHhnZmVrVGlLd3FJS0wzNTZrZ0JBSWpvdTVYaE1IcGtOeDhjbFNsMlJzSWFqZXNpcjNOUXgrcFZtSVhMVHhtWWNOdlhqa3pOaDdSckZJKy9zLzhLM2lMQXBTY05hTlhqeHhaMXgwOG1GQ2ZjTnJmMEMyeHI0ZFFDRWFXRzcwcUJBMmZKcm1qemJ5NlpRbFZSRllsc21MWm00dzZ2czFESDZsV1lqWmVrYWxjQUFBc0xTVVJCVkJ2T0xVcnFjMjZvYUVSMVkvUDNrekhBOXBvd25ucC9DOTcvYk5kKzI2NCs3V2djTjdCMTZ5eU1HZElEWTRiMFNManR3M1c3V0FxSU9wanZTc0VkeTdkcys5UFkzSElBUTd6TzRvVkd4MEhZZFRtTElTWEZEWSswL3E5U3dCWmNjK2FRRnIvNUUxSDY4OTJZQWdBSU8rN0N4bmpyUmovN1RVMDBCbEh3VWtUcVVEbFpObjc3L2VQeDAvT0wyN0tRSnhHbEdWK1dBbFh6ZG1VNE13ODc3b3hFNEJybHBFWFVvU0l4RnpmOWRUbitQSDg5VkwxT1EwU0h5M2VuRHdEQUtNcXFJaEVNNlpKNUk2QXJJK0hLTzFadC9OVHJITlR4WXE3QjF1cW1oTnZ5c2dQb25wL1Y1dWZzMnpVbndkTElpc2FJbTNBdWdvZGYyNEFCUFhOeDBkZ2pXL1g4OWVFNEdscVkweUFhNTVUbFJCM05sNlhnamxVYlAzdDQvTEJkQUhwNm5hVWpoUjBYamJFNDV5ZklVT1U3UXBqMHE4Um5qZzUzbm9KLzNuSVNlaWVZNWxnVitHeGJQVXFlWG91UHZ0aC85c0svdjdtcDFhWGdpWGMyYzU0Q29qVGl5OU1IQUxRaEZuc2o2bWJXQW9FMTBTZ1U4cjdYT2NqL1JJQ2hSM2JCSDY4ZGpaemcvcnVSejdZM1lsTVZKOU1rNm94OGVhUmdqemNxSTVGTEIrVG5lNTJqdzFSSG96QmNCQ2xqZGMwTDRzemhmUkp1TzM1d3Q1Uzhacy9DYkp3MnJEY1dydDcvQ3RpUHR0UmpVTzlEdi9lR0hWR0lpOGNsUHFydzlpZFYyTldRMlJPUkVYVTAzNVlDUzFCYUZRNGprMHBCWlRnU1dySnFFMDhmWktqKzNYSnc5eFhIZGZqcmpqK21SN05TOEhrcmp4UjhjM2dmZkxPRkluUE5uMHRaQ29nNm1GOVBINkErVnI2cUpoYkxtRXNRNHNhZ0poWloralNRV2VkTXlITzlDcHVQT2Fpc3o1aTNIcEd2K0xZVWxLeEZyQzRhZThjeG1UR0N1VFlhaFZGSnZCb09VUXAxeld1K0lGSjFJNy9oRTNWR3ZpMEZBT0NxTHRvVnlZeHZMTlhSR01RRjF6dWdEcGVvRkZUV1plNVU0MFNkbVcvSEZBQUFqUHRoWlNTS3ZubXBXVWMrblZSRkluR1Z4cmU4emtIZVVRQ09tL2pJbUlna21HOGdPUkpkc2xpK294R3UwVU8rcGpFSzA4SnNSNXdFaWFqaitib1V1STMyMHVxOGlJSFBqNGdZVlZTRkkydC92bW9IcndQTFlKOXVhOENZTzE1THVPMXc1eWxvamE1NVdlamZQUWZiOTFtOEtCSTNlT3VqS3B4NVhPSkJoSHM5K25vNTV5a2dTaU8rTGdXL0xDK3ZlN0I3OFFwVkhTMCtucEM5TGhhRG84cXJEdWl3SGR1L0VQZGUyZnpLaGNLY1ErOGlSSUJmWFRVU1h4d3dtMkxYL09hbkZZZ292Zm02RkFCQXpEVUxhNkt4MFQxeW1oL2k5SXVhYUF5QUx2WTZCM2tyTDl2R3FLTVR6MGN3cEcvQlFSL2J0MXNPSnJkeUZzSkVSZy9wanRGRHVyZjVjVWYxek1QSnh5YWVlSFR0bGpyVWg1M0R6a1JFYmVmN1VxQXc3MVZHd3ZCekthaUtoRFhtY0JHa1REZXdaeDRldW42czF6SGE1SUxSL1hIQjZQNEp0MTN6NTFJc0xhL3A0RVJFbWMzWDU5b0JJS3JPa2wxUi80NkVWZ1dxSXBIeWFXczI3amowdlltSWlGcm0rMUl3ZmVVWFcydWlzWTFlNTBpVlJpZU9pT3R5UEFFUkViV2I3MHNCQUVRZGQyRmpQUEh5ckoxZFRUUUtvL3FPMXptSWlLanp5NGhTb0dyZTNoSDI1eVJHT3lOUnFNRkNyM01RRVZIbjUvdUJoZ0FBbzJVN0l4RVVkU24wT2tuU1ZVYkNsWGVzMnZpcDF6bkllK3NyR2pGaDF1S0UyeWFlY0FSdXZlRFkvVzZMT2dhVC8ydjNmRmZqaW5waTFsVWptajN1eXQrOWg1ckdHSWIwTGNCZmZ0UjhFT050LzdzY2E3YlVvVEEzaUdkdU83WFo5bC9QK3dRTFYxVUFBSjYvNDNUa0JPMzl0di96N2MveDl6Y1RuOTNqWWtoRUhTOGpTc0h0cXpkOSt2RDRZZFVBZW5pZEpaa2lqb3ZHV0p6akNRZ0E0QmhGUlczaVFiWDFUUWxPbitsWDk2OEpKZjRBcnFxTFltZERERjF5c3hKdXIyNk1vYUkyaW5BczhVeUtkYUg0bDYrUmFJYkN4b2pUWW1ZaTZuZ1pjZm9BZ0RiRVk0dWlycjhXRUt5T1JRR1ZEN3pPUVVSRS9wQXBwUUNpdXJqU1orTUtxaU5SaUxvY1QwQkVSRW1STWFWQUlhVlZrYkRYTVpLcU1od0pEVmkxaWFjUGZNOWZSN2lTem9CTEp4RWxTY2FVZ3NaNCtjcWFXTXczaHdvY1kxQVRpeXk3bko4WXZ1YzRVZjQvUGdqWGpmRDNRNVFrR1RIUUVBQksxaUwyd09qWWU2N1JzMUsxaEd4SHFvbEdBWlVQdmM1QnFSY1BWVWR6dWh4OHRjRkRhWW81MkY2ei81R3ltUFBWNE1CbzNEVGJEZ0R1bnUvZ2pwdDQrOTduTUtvSnQ0ZGpYMzFlVjlSR2tCUGMvM3RJWTZUOWF4dkVROVgrT2dSSTVLR01LUVVBWUl4NWZXYzBjbGJmM0Z5dm83UmJkVFFHRlN6eU9nZWxYcmhtUzFOQjMyS0lkZmh2MTFlV1YrQ1Y1UlV0YmkvYlVJM3paNy9WNHZieXl0QkJ0emVFbllOdUI0Q0w3MHYrSEZ0cVhFU3FOemNtL1ltSk1sVEduRDRBQURYV0IzNFpiRmdWaWNUVmJUejRYcGo4d2NUQzBYb3ViWkZJUEZRTjE0MkZ2TTVCNUJjWlZRcmNSbDFhSFkwa3ZxQzZFekdxMkJtTnJQMzVxaDNjR1dZQU1ib2pYTDNaNnhocHFhbjZjeGlSYlY3bklQS0xqQ29Gdnl3dnI2dUx4VmRvb2xsVU9wRzZXQXh4VjNuVlFZYUlOelY5R20rcWRYaTBZSCt4MEM3RUdxdU1wYkZsWG1jaDhvdU1LZ1VBRUhPZDEydGpuWHY2MUpwb0RJQXU5am9IZFl5ZDcvNjFRWUEzR25kOEFuWDl1YkJYVzZseDBGanhNUUNzM2JIZ29VcXY4eEQ1UmNhVkFvVyt1M1RuTGtTY3pua1ZVMDAwaXJVMU5hcHh3MEdHR1VUVlBHSmlUYWpic2dLZC9VaFhlNmtxR3JhdWhodHBnRUtmOERvUGtaOWtYQ213MVZsU0c0dGgvdGF0K0t5dURwRk9NdlZ4UXp5T2xidXFzV2piZGtTTktmL0YyazB0RHlVbjM2bFkwUE5aQlZiSFF6dFJ2M1VsMUhTT3Y3Zkpwc2FnY2ZzYVJPc3JvS3JiZGtUcWYrdDFKaUkvc1E5OUYzK1p2Nk8rNGR4K1BhNHowQzQ3d2hHc3I2dEhmVHdPbzBDV1pTRm9wVWRQVWlnYVlnNitDSVd3cHJvR3E2cHJVQjNkczNDTTZxSUZGVFZQZTV1UU90Wml6Ujh5N2xNUjY3dHV0RkZpb1owSTV2ZUFaU2RlcU1pUDNIZ1k5VnVXSTlhd2UyeUZpdndzdFBCaGpxMGhTcUtNS3dVQWNGNy9idldpY2hFRW9nRHE0M0ZzYldyQ3V2cDZiRzVzUkhVMGlpYkhoYU83TDFTd0xZRWxxWnZ3eURFR2pmRTRka1dqMkJvSzRiTzZPcXlxcnNHbmRYV29DSWNSY3I2YTRFVVZEWllqTnk2b3JObVNza0NVbGtJYlNqZm1EemtwSm9KempCTkZwSG96MU1SaFp4ZkNzdjA3NVloeG9taXEyb0Q2TFN0ZzRudm1LVko5ckdMK2czZDdtNHpJZnpyLzFINkg2YjZSZzg2M0xPcy9JWEo4YSs2Zlk5c29DQWFSYTl2SXRpeGsyemFDdG9XZ1dMQkU5dndBbGdnRWdOSGQzL2FOS293Q3Jpcml4aUJtWEVUZDNmOXNjaHcweGgzRVRHdXVrbFJYRmErTE9EKzdmZm5tajlyM3A2Zk9yTitFbS84b0lqL2Q5N1pnZmc5a0ZmU0duWlVQc1lPUUZKYllWRk5WcUluRGpUWWhGdHFKZU9QT0E3YWJlUlh6Szc0RlBKMlo1MUNJVXFqejdqbVM1TDRUQm4zVGd2MWpoWDVUSVAyOHpuTUFoZXBuQUJiR0ZBL2V1Ykw4TTY4RFVYcm9OK0hXbjRyb0F3QXk1dnlCQWthZy83MzkxUWZ2OURvTGtWOWxmQ25ZMTMwamp4NHRsalZSWUkwRU1CeUNZOUNoTzEwTlFmRVJSRDZDTVV2am9pLzh4NHBObXpydTlha3o2VFB4cGlMYldMOEJkRXFuUGpUUUNxcjZCa1R1cUhqMTl4eERRSlJDdnQ2UnROZkRRTEIyNU9BaGxpWEZDaFRicWtQVWt0NkFkQVBRVFlCdUNuVEY3dUlRVkdoUUlFR28yb0E0RUkwREVsY2dEa1VVMEZvQmFnSFVRcVFHYWlwVXJRMndkRU5BemZxZnJkajBPY0JsWUtsdGVwNTM0N0NnV0Q4VWtWTlZVUXhvRHhFSmVwM3JjS2tpTG9JNlZXd1E2QWRRL0dQN2dnZVhlcDJMaUlpSWlJaUlpSWlJaUlpSWlJaUlpSWlJaUlpSWlJaUlpSWlJaUlpSWlJaUlpSWlJaUlpSWlJaUlpSWlJaUlpSWlJaUlpSWlJaUlpSWlJaUlpSWlJaUlpSWlJaUlpSWlJaUlpSWlJaUlpSWlJaUlpSWlJaUlpSWlJaUlpSWlJaUlpSWlJaUlpSWlJaUlpSWlJaUlpSWlJaUlpSWlJaUlpSWlJaUlpSWlJaUlpSXZQZi9BUXhTbkNwOWtFTTdBQUFBQUVsRlRrU3VRbUNDIiwKCSJUaGVtZSIgOiAiIiwKCSJUeXBlIiA6ICJmbG93IiwKCSJWZXJzaW9uIiA6ICI1Igp9Cg=="/>
    </extobj>
    <extobj name="ECB019B1-382A-4266-B25C-5B523AA43C14-9">
      <extobjdata type="ECB019B1-382A-4266-B25C-5B523AA43C14" data="ewoJIkZpbGVJZCIgOiAiMjQyNzA4MDkwMDQ2IiwKCSJHcm91cElkIiA6ICI3ODQ0NDA4MzkiLAoJIkltYWdlIiA6ICJpVkJPUncwS0dnb0FBQUFOU1VoRVVnQUFBZ1VBQUFFdENBWUFBQUNZaXhQTEFBQUFDWEJJV1hNQUFBc1RBQUFMRXdFQW1wd1lBQUFnQUVsRVFWUjRuTzNkZVh4VTViMC84TS8zbkpuc1lWOVZFRWdVV2dTVXpiMTFSMUJCNm01M3RYcmJ1dlZxYTY4c1JvWGVlMjIxcmQzYzZPMXRmOVhyVWtWY1FVVGNOV0ZmM0lDQUlCQVN5RDZaN1p6bisvc0RVQ0FUU01oTXp1VE01LzE2NWFYT21lVkRaTTU4NXB6blBBOUF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NVV2NUckFKbGl6dVFoWTJGWmQxMDZwbHUzb01nZGVkUEwzdk02RXhFUjBiNVlDbEpzYnhrQTVFSUF1SEpjOXoxYjlEVVJ1U3Z2enRMM1BZeEhSRVQwSlphQ0ZKa3plY2hZc2F5WkNybG8zOXUvS2dWN0tCYUlRVW5lVEpZRElpTHlGa3RCQ2p3eWFjaXhkcGI5YWFKdHpVckJsM1MrcUZ1U04zM1pCeW1NUmtSRTFLS0Exd0g4U0cxakFYWWJIeVVUVkFJVFFyUEd2U3JHbE9UTlhQcGhTc0lSSFdEd2R4NGFwVVpLQ3ZzTm5DSWl5ZnVpSUhDS2p1NzdtcXFVekwzNStOS2tQUzlSaXV3OTNYdjUyQjc1Tm5SNkpvNzk0cEdDZG5ydjJ1RTlUcG16dG5yZjJ4NithTkN3Z0IzOE9OSDlXejVTY0NCOVJWUkw4cVl2NGM2VVV1S29iejg4d29iT0ZNaWxBRkRZZHdCRXJLUytSdkhndmdBQVZiemtRa3ZtM1RSNlNWSmZnQ2dKRGp6ZG04bGp2MWdLRHROZkx5b2ViV3pNSERzd2IvS3hmWE1XQ2ZEWHBuajFpejFMMXRjbnB4VHNvWGdadHBiay8wZFpXVEp5RXcyODZwSGhscVV6QUZ5T2ZmWUJxU3dGZXloVVg0Q1l1NSs5Y2V5eXBMNFEwV0ZvN2RndlZTeXc0TnlWQ2FkM1dRcmE2TkdMaThaWUtqTWhNaGtBeGh5ZGkyUDY1T3pkSEFiMHlmVTdvdTh1MlJ4K05OSGoyMXdLdnZJU0ZDWDUwMHY1VFlzT3k5RlhQUG8xQk14MEFhNUNndmQrQjVRQ0FJQUNDbUN1Q3U2Wis5TVRWaVQxQllsYTRkR0xpOGFJeWwwaSs1ZUJ2VnJjVDZ1KzZzQzl1NnVQeXdGTFFSdk11YmhvSW1DOXZPOXRCNVFDQUVCOTJNWExhK29UUGtjN1NnRUFRRlZmZENCM2QyTTVvRllhL0owL0R6VnFUUmVWYjBOYWZzOTNWQ25ZU3dFVjRGL2ltSHYvZGV1WVZVbDlZYUlFL2o2MXFFL015R010bFlHOURyV2ZWdFZYTForTy9VcnVIc0Ruak5GY3J6T0l5SVZCUVZsbzlyam5RL2VNSHVOMUhrcGZSMTM5MERFRHYvM3czOVRZSHd2a093Y3JCRjZRM1Y5S0xqVUJhOFhVUHk1L2N1cGZWaDduZFNieXQ2Z3hRdzlWQ0ZwRFJNNVgyLzRnTkd2OFMwMnp4bzVQUnJaMHdWTFFndis1Nk5oaHEyNFpNYjN4M2pIbjZhOUg1bnVkcHptWkREdXdKRFI3L056UTdER2p2VTVENmVPb3kvNVVmUFMzSDU1amkzeGlBZDlQdHpKd0lBRkVnTXZGMVpWVC83RDg4U2tQTHZ1NjE1bUlXa1V3U2NYNk1EUjcvSXVoZThhTjh6cE9NckFVSE9EaGk0NGQ5dGpGeGY4d2xuNmtzTzRWeTU0ZmptWHZDczBlOS9LSW8vTGIzVEJUWUFwZ0x3bk5IdjljNko2eEozZ2RocngwbVQzZzB2dC9iV2Zabndwd2pYUzY5N2RhSXJqS3RtVDFCZmVYUFlZelNuakpOSFVXRjhDVzB0Q3NjUytFWm8wZjYzV1k5dWhrTzQzVW1qT2xhR3JBMG84T1BOU3FrR3hBSm5iTHRYL2dYYnFERWdBWHc3YVdobWFOZTdaeDlyamp2UTVFSGEvL3hQNzNxOForTEVqeXdJQ09aOFVkNTlxUm8wK2E0M1VRNmx3ZW0xeDh3b2MvR2ZHSHB0bGpyNnovMWJDZUhSNUE1RUlJU2tPenhzMEwzWE5pcHp5OTI5bDNIc21sNkpYdWgxb1BRU0F5VlNETFFyUEgvYXZ4bnZHanZBNUVIYVAvZVRkUGc4b3Rva2pEVTEySFNmQzlrYmU5K2h1dlkxRDYrNThwUTBiTXVmaVlaOFNTWlFyY3FMQ2VzTFZMUldqVytGY2Jmelh1aDFVbEp4elJnWEVFSWhmQjF0MWp2enJaNmQyTVBUdzNaL0xnb1JEN3ppa25kRHMxTjJpOUM2UHZMUDZzc2JpaXdmRTZXaklJSU44U0cxTkRzOFk5cThhNXQyRG04cFZlaDZMVTZEL3g1dXVoTXN2ckhDbHkyNGpiWHExY2ZmLzU5M2tkaE5MUFExT0t2eDZFekRDQ0t4TnNEa0F3UVZRbTVBVURHcG8xL3QxMVZkRVZTejl2NnFoNEFzaGt3TDRvTkd2OHZMaTQ5M1NidGpUdDUrZkl5Q01GYzZZVS95OGs4REZFdmdkRkVZRHZ3WkpIQnZUTStvWFgyWkpNSUhLSjJNSGxvZG5qbi9ZNkRDVmYvM052bmdxRGg3ek9rVktLL3hyeDc2Lzh3T3NZbEY3bVRCNHlOZ2haZzhTRjRBQWlFSnpXTmRlNk1mWEptcjg0QkZPQ3U4ZCtQWnZ1WTc4eXNoUkE1SHVkL0RSQld3bUFTNzBPUWNuVjc5eWJ2cWtXbmtReTF5dElReUlRRVhsMCtPMHZwK05BWC9LSUVjM3RaUHR4QVRBMTNjZCtaV1lwSU9ya2VwOTc2L0d3NUVVUkNYcWRwWU1FYkpVbmg5KzY0RlN2ZzFESGUrYVNvU01iN3g1N2J1MHZSN1J2OXJmMDhPWFlyNlpaNDU1SnQ3RmZMQVZFblV5ZmlUY1ZCV3hkSUNJRlhtZnBXSkpyVytiRnI5MCtuNU1jWllpL1RpbisrcU9UaTU4TVExZEt3Rm9RTE16WkdabzFma1hqdmVOK00rcW9nak85enRkT29pS1hpSzNMbTJhUGZ6bzZlL1JJcndNQkxBVkVuVXF2Q2RmM3Q0ejFHb0RlWG1meGhLQmJVSFgrc0Z0ZkdlUjFGRXF0eHk0dS9vZEMxbGlXWFA3VnJXSkJNRW9zdWExM1llQnU3OUlsazRnQ2x6cXdWelQ5YXZ4VFhxZGhLU0RxUklLUzk0b0lCbnVkdzJOSFpObXl3T3NRbEZycE9EVjNhb21vNGpLdlU3QVVFSFVxbWxibkh6MTBqTmNCS0xQRlhPTjFoSlRJMkhrS2lJaUlEdGNUeTZ2UkdITXhzbjhlanUyVmd6NEZRZmpoT2lDV0FpSWlvalpTQUovWHhQQjVUUXdBMEQzWHhxaitlUmpXSndjRHUyY2pZSFhPaHNCU1FFUkUxRWE5OHV4NVVQU0VZQ3lBN0pxd2k4WGxEVmhjM29Ec2dHQjQzMXdNNzV1TG9wNDV5TXZxUEdmcVdRcUlpSWphNk1MaFhlZGM4YzkxOHk0N0dibTlwTjlab2pnZklxY0pkRVRVZ2Ixc2F4T1diVzJDQUNqcW1ZMFIvZk53VEs5czlNcFA3NmxGV0FxSWlJZ08wOVB2SXd4VXZBVGdKUUQ0OFlpdTNhVWc1M3lJbkNlUVV4UTRkdjJ1S05idmlnSUFlaGNFTUtwL0hvYjJ6c0dBYmxtdzBtd2dBa3NCRVJGUmt2eGxkVjBOVVBjRWdDY0E0TjlPN25ta0pZRkpvbkpPbG0xTmpFUzFjTm1XSnF6ZEZrRzNIQnMvUEttWHg0bjN4MUpBUkVTVUlnKzl2MnNyZ0VjQlBQcll4Y1Z6QlRMRjYwd0h3MUpBUkVSMG1QNTBSdStDM0s1ZEJ4clZnZGxaZHA4TGo4dWIxNzFrUmEzWHVRNVg1eGtTU1VSRWxDWSsyQkMrYjg3RnhUdHl1blZyVUpHMVlsbXZpT0IzV2NIZ1UwOWRCdHZyZkllTHBZQ0lpS2lONHE0T0JhUlA4eTF5N3FUang5M2Y4WW1TZzZXQWlJZ29pUVJ5UytQc2NUL3dPc2ZoWUNrZ0lpSktNb0g4cGVsWFkwNzBPa2Ric1JRUUVSRWxYNDZxOVd5bzVJUWp2QTdTRml3RlJFUkVLU0ZISUJoOGZtUEpvQnl2azdRV1N3RVJFVkhxak8wYjdEUEg2eEN0eFZKQVJFU1VRZ3BjM1RoNy9CMWU1MmdObGdJaUlxSVVFMkQyd083WlE3M09jU2dzQlVSRVJLbG5qeHVVTjZ3d0o3MC9kdE03SFJFUmtVOWtCUVNuRnhjZ21NYnpIYklVRUJFUmRaQXV1VFpHSEpucmRZd1dzUlFRRVJGMWtGRFVZTTIyaU5jeFdzUlNRRVJFMUFFY1YvSE8ra2JFSFBVNlNvdFlDb2lJaUZKT3pmSXZtamJWTkxsZUJ6a29sZ0lpSXFJVVU4VUQ2eXVqSzczT2NTZ3NCVVJFUktrMXYyQjYyYys5RHRFYUxBVkVSRVFwb29wMWVZRzZ5N3pPMFZvQnJ3TVFFUkg1a21xdHFqdEY3dmkwd2Vzb3JjVlNRRVJFbEh3T0xQMSs0WjNMUHZZNlNGdnc5QUVSRVZHU0dlZzkrWGN1bWVkMWpyWmlLU0FpSWtvaUFaNHBuRloycjljNURnZExBUkVSVVJzRkxka0VvRHJCcGxXNThjcnZkbkNjcEdFcElDSWlhcU9UaW5OdnVYYnV1cDVPbzl2TmN0M3hCdnBkUy9GclMrT1RwV1JUK3M1amZBZ2NhRWhFUkhTWWJsaFlYZ2VnYk04UDhJeW5jZHFOcFlDSWlDaEY5STAvRlRod1Q0TEtOMnFyZDUzU1VGdUwrdHBhMU5mVm9hbStIa0I2WGEzSVVrQkVSSlFrK3ZLRDJVNk9qSVhpZE5pWTZLZzVCWkFBQk9qV3N5ZTZkaTJFMnpVQXN5c01KN3ZSNjdqTnNCUVFFUkVkSm4yakpCQTN2VWJhdHA3cXFFNTBnRE1BNUVJQTdGa01VYU9OTUxYYllYWnRocW5kRHRteklTQmVwVzRaU3dFUkVWRWIyZjFIVFhMZStQNTNITVY1WW1sWG80Q0YzWi95cWdwdHJJYldiWU83Y3hQUVZQdmw0OUt3Qit3bkkwdUJLbDRXNkVTSXBQdi9uMlJSQVJaNUhZS0l5QytrUzg4YkZQanlVMTdkT0xTK0VxWm1LOHl1ejRGNDU3d0FJU05Md1hYUHI3dmdzY25GSndDNEY4QW9LRlpCVWJhOU50NER3RTBleDBzbVZXQ3hVWGRtbCtsTDMvRTZEQkdSbjJpc0NhYTJBcVo2TTdSbUs2REc2MGp0bHBHbEFBQ3VtN2QrT1lBTHIzditxOXZtVEM3NkVTeGZUTjJnQWl4MlhOelZaV2JwMjE2SElTTHlHNmU4RklnMWVSMGo2VEsyRkNTaWtGcFJLQ1R0VC91MFJFWDFUUmU0cTNCNjJWdGVoNkVVVUt5RDRCaXZZNlNCTFY0SG9Bem53MElBY0ViRC9WdzNiLzNUUnN3NFZYMFZ1bmZjS0NEUW1LaStGNHFZRjd6TWR4QXEwRGVOcTJmbVRTODdrNFhBdjFUa1BGVnM4enFIdDNTbmNlMEpYcWVnVk5OWDl0MFBaNEM0S0o3d09nUkx3UUYrTkhmRDB1dWVYejhSNm81WHdTT3E1dXB3M09xZE43M3MxR1ZiR3YvbWRiNERLZlF0WTh4WmVkUEt6aWljV2ZhbTEza290U3BlL2QwbVZaMEFSZTJoNyswL0NtMkE2a1ZyZm5kdXAxcU9sdHJ1MnJucko2bklTVkFzL09wV05hcFlwOERqZFdIM1FlL1NKVlZjb2Y5bkd4bWVONzMwYXEvRDhQUkJDNjZkVjc0RXdCS3ZjN1JFZ2JmVmNlOHF2R3ZwRzE1bm9ZNjFZOEdEYS9xY2UrT0Z0bTIvQmlEWDZ6d2RSUlZSaUY2eDZvRkpIM2lkaFRyR2RYTS9Ld1Z3N3I4dUgzcXFjYzBBQk56WEM2Y3Ryd0tBUjZjTVB0MlN3TTBlUjJ5UHVJbytHNERNekxtejdET3Z3K3pGVXRBR0FrUzl6Z0RGTzBaeFYrR01VbDVpbU1FcVgvdmp1LzBtM0hRWnhKb3JtZkUrZGlCeTdlcjdKNzNpZFJEcWVKYzg5ZW03ZU1yckZFbmpLUFJaWTNSbWx4bExQdlU2eklGNCtxQU5ycHRYL3BLSU9SdEFDNWYzYVJTS2wrc2k4VjhrLzlYMVhRdDZUdjcwMHROWkNBZ0FLdWIvNFNVWXZRNnF2ajd2cXJ2UEs5KysrdjRKLy9RNkM2VVBFVVE3MlpnREI0S25YWEZIRkV3cnV5SWRDd0hBVXRCbTF6eTNZZEcxYzllZHZyY2N5TzYvbEV0RjllZXV5Skg1MDBzdmVQUFQrdVFOU0ZSOXo3YjAzUHhwWmFmbFRpdDdQV25QUzc1UXNlREIvMVZGQ2twbytsREJmNjY2Ly96ZmU1MkQwc3QxY3plV1dzWTlVWUhYRG4xdmpVSjFZVzNZL1V2cWt6WGpBSGpHR0dkay9wMmxsM2U1YytrbkhtUm90VXc0N0pnUzF6eTNZUkdBUmUvOTI3Rkg1azlidFRYNXI2RHYyOUM3Y3FZdmFjVmZlTXBrRlFzZS9FMi84MjdwSXhaKzduV1daRlBGbzJzZU9IK2ExemtvUGYzd2hmSXlBT2M5TXFYb0ZCc3lDeUpuZnJWVlF3QVdXY0N6VGZHYVozdVdySy9mTXc3aHh4MFV6NEhxODhaeFpoYVdMUCtvZzE2ejNWZ0sydW1VaHo1TGJpRlFmR0NyM0pVem8zUkJVcCtYZksxaXdlOS8wZS84VzNvRGVqbUFQSy96SklPcVByZjZnWWszZUoyRDB0LzF6Mjk0RDhCWmoxeFUvRTNqNmpXaWVESFhxWHBCU2paMStGekRzbnZNd0x5QU9ET3lwM1dlTXJBWFMwRUtTTUF5YlQzVEpjQUh4dWpkQlRQS1hrMU5Ldks3aXNqS0h3MG92TWhWNElmU3VVOE5HanRnUDcrNmNmTVZRS2M2WjB3ZXUvNkY5VzhDOE9yU2JCZXE4MnlER2Rrenk5WjZsS0hkT3ZPT0kyMWQvMXo1WndaNnBpb09PY1d3QUI4Q1psTGV0TktUV1Fpb1hSWXZkclk4ZmR0MXJuRlBnT29MQ25TcWlkaDE5K0p5QzR5UmsxKzViZnkzOE1nTmNhOHpFYldDQzJDdWdUaytmM3JadHpweklRQjRwQ0JsZmpSMy9XSUEzNWd6dWVoTVdOWTlBRTdiL3g1YUNxTjM1ODFZOHJJSDhjakh2bmppSjZzQVRCNTA5U1BIcStnc0tDWkpHay9kcllDSzRIVVJhOGF6UHhuRk9RaW9zM0NoZUZHTk82Tmc1dExWWG9kSkZwYUNGTHQyM29ZM0FKeisxNmxGWjZsYWQ3dkdkTEV0dlROLzJ0S1h2TTVHL3JicDhldFhBTGh3NE5WL0hpT3daa0ZsUWpxdDY2R0FBdktHcXpwejNvMG52T3QxSHNvQXRyMFJycjRGa1crMDQxbGNBVjQwY0dZV1RGKzJLbW5aMGtUYTdDQ0lLTFVHWFBuUVdOdVcyVkNjbTZnY0ZQWWRBSkhrbmxFc0h0eTMyVzI3eXdEZU5KWTE4L21mak9JcW50VGhIcjI0K0F4TDVXNElFcGFESzhkMVQzU3pDK2hMNnNyTWdwbWxLMU9iMERzc0JVUVo1cWdySHo3UnRqQkxCR2RqbjMxQUI1UUNWZFYzRkRKejdrMG5MRTdxQ3hFZGhqbVRpODVVc2U0V3dlbjczcjUvS1ZBRDRLVWdNRE5yV3RtS2prM1k4VmdLaURMVTBWYzlkRElFczBUa0xDREZwVUR4cnNLYStkeE5vemdiSjZXZEE4ZCs3UzRGYWhUeWlyaG1SdjdNSmN1OVRkaHhXQXFJTXR6QXF4NCt6YkowZG1IZm8wOFhrZVR0RTBTY29rRjl5Z0RjOWR5TkozQVNMa3A3ZThkK1hURzJXNk9JbVpZL2Jla3lyek1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FUkVSRVJVYWNtWGdkSVJ4OVBQYnRuTnN4UmxzR1JScXdlRnJTYld1Z2xrTjVRN1ExSWJ3RGRBR1JEa0Exb05oVFpnR1R0dVMyb0NnZWlVVXNscW9Jb2dCaWdVU2lpQUdvaHFBSlFwU3BWbHVoTzE2RFdzclFhWW0rTE4wVy9PT2FWdDZ1OC9CMVE1L0cxMjE0NjJsWnJpb2ljQjJBa29IMWw5OS9GVGtrVmNSRlVRYkZLb2E4WmxYbHJmM3YrZXE5ekVXV0NqQzBGYXk4Ym5wVWI3VGRNTEIwdWd1RUNIS01peHdCYURFaWgxL2tFQ0Jub0JvR3NVOVYxQWxtajZxNUZMVDRadkhoeHhPdDg1TDNqL24zK0FFdDBKaFRYUW56OFhsYW9panl1bG52WG1sOVAydUIxSENJLzgrK081QUNiTHZyR1lBU0NwMEQwSkVCT1V1Z29nUVM5enRWbUNnZUMxYXI2SVNBZm1Iajh2YUlYMzFybmRTenFXQ051bS85dFFPY0lrTzExbGc2amlCdkJ6V3Z1UC84aHI2TVErWlZ2UzBFSllQMWc2dGtuaXVBaUJhNEFNTVRyVEttaWlpMWk2Wk5HOGNMZ1p4ZTlJNER4T2hPbHpvamJYNzFIRkRPOHp1RVoxUWRYUFREeEZxOWpFUG1SNzByQnJva25kcW5QenI5R1JHNkVvTWpyUEIxTkZWc0EvVk9nS2Z6b2dQbnZWM3VkaDVKcjVHM3pmd0xvbjd6TzRUVTFPbVAxYnlmTzhqb0hrZC80cGhROEJkZ25YbkxPdGFwNkg0Q3VYdWRKQTQwS25USElYdlFIZVJxdTEyR28vVWJjK3NySnNQR09RQ3l2czNoTkFXT2drOWJlUDNHKzExbUkvTVFYcFdEZHhPTHNySnlCZjFlUnk3M09rbTRVbUIvWTNqUjF3UHZ2aDczT1F1MVJZbzI4N2FUM0FZejNPa25hVUYyN3FzdUhJMUZTd3RObFJFbmlpMjhjV1RrRGIyVWhTRXlBQ1c2LzNObGU1NkQyR2ZudkoxNElGb0w5aVF3L3J2N2tIM2dkZzhoUGZGRUtJc1o4MStzTTZjeFZUUEE2QTdXUGlsenZkWVowWkFIWGVKMkJ5RTk4VVFxK0NEVjF2a3NMTzlEMmNKUG44eTdRNFR2aStoZnlCRGpYNnh4cFNmVEVvZGM4ejcvZlJFa1M4RHBBTXF5cXJna1hCQVBvbTV2cmRaUzBVeE9OWW1uVkxrNTIxSWwxSzdDSEFtalhESVhEQjNUQjJjZjEzZTgyeHlqK1BILzNSSUZIOTg3RGxMRkhObnZjWTYrWG95bm1vbGRoRnE0KzdlaG0yNS81WUF1MjFVU1FFN1J3L1RuTkwvWlpzS29DbjJ4dEFBRDgrTHdpQk8zOXY0ZVVycS9HQit0MkhmYWZDMEFncTJ0d05JQTMyL01rUkxTYkwwcUJxeTdlcWRpQm9kMjZZbGpYcmdoWXZqZ0EwaTVHRmVVTkRWaGRYUU5IMWVzNDFBNDJwSDk3bjJQWUVWMXc3ZG43VDlVUmpidGZsb0lCUGZPYWJRZUF4OS81SEUweEZ6MEtzaE51ZitlVEtteXJpU0E3YUNmY3ZyRXk5R1VwK1A0Wmc1R2JaZSszM1RIYTNsSUFzZXhCWUNrZ1NncGZsQUlGMWdNWTlVbHRIY3JyR3pDMGExY01MTWhIYnNBWGY3dzJpUnVEcmFFUVBxNnRROGh4QUFDaTJPcHhMR29Ic1NXWDAxRzFURlVMdk01QTVCZSsrTlJVTmJORXJQTUJ5WThaZzlVMU5WaGRVNFArZWJrNEtpOGZmWEp6ZkYwUTRzYWdLaExCdHFZbWJHa013ZDMzeUlBaUtrWTV5VXNuNXNTaXVZRkE1c3htM0ZZbUhtTXBJRW9TWDN4Uy9tTEZwaFgvUFdyd1diWWwvd1JRdlBmMjdVMWhiRy9hZlhsK2wyQVEvWEp6MFNNbkcxMkNXU2dJQm1CSjU1eW1JZXc0cUkvRlVSdUxvU0xjaEoyUktCS2VJRkJVS3ZTYTIxZVZ2OTdSR1NsNTFIRnl3RkxRSWtVc3orc01SSDdoaTFMdzBoa25qTDFnOGZMU2trR0RSaFIwdDI4SDlLZUE5TnYzUHZYeE9PcmpjYUIrOTM5YkFuVFB5a2FQN0d4MHpjcENYc0JHYmlDQVhEdUFnT1Y5V1RDcWlMZ3V3bzZEc091aVBoWkRkVFNHNm1nVU1YT0lZOG1LQm9qNVc5eDE3L3FQMVp0cjN2ekc4Y2Q4ODYwVlhEU3BreExqK09KOW1qSkcrZnNoU2hKZnZKbXlBb0UvYjd6a3pKc0cvK3VORDdFSnMwcUc0NzR1d1NHWHVzRDNJZklOQVhJT2ZJeFJZRmMwaWwzUmFMUG55N1lzRkFhRHlBOEdrRzNieUxac1pOa1dndGJ1bnl6TFFzQ3lZQUd3UkNBaXNDQ3daTTkvQTFEcy9tRGYrODk5LzkweGlyZ3hpQm1EK0o2Zm1IRVJkUTFDOFRnYUhRZE5qcFA0MjM5TFZJMEN5NkI0d20zQW5GK1diNndEZ1BKdm5UbDVTMk40TklDU3R2OW1LVDNZaDc1TFp2Tyt4UlA1aEM5S1FVMGtsb1V1OHZiR2I1MzFLeWNjZXVDWVZ6NnNCOG9mQi9ENHIwZjJ6WWVkUDFraDU0dmlaQWlLY1lpZFNOUVlSS05SN0V4UUdOS0thcVdLdkcrcExnNXI3T25wSzcvNGNrRGhsZ2tUZXBqOCtBeFYzUEp4ZGMzRFhzYWtqbkYwcnp6TXVtcEV3bTA5Q3BwZjBSZ01XUGpIVFNjQ0FBcHpFKzhLL25EdGFEaXVJaWNyY1RHWmZzbHdoS0lPN0JhT3J0MXdiaEV1UDJVQUFDQTcwUHlxb0l2SEg0bVRqKzJaOExHei8vVVJQdG5Xa0hBYkVhV0dMMHJCem1qRUVVZ1F3RjNCblB5Yk4xMTg5aDhkY1o4cWZtN3htcCt2MmhFQzhNU2VINVFjUDZoYmdlSkVXTmFKQUVhcFlyaUlGQ0c5ZnhjS3hUYUZyb1ZnalJvcHRTenp3ZTByTm41KzRCMjNURDU3cEdQclZhN0Vmd3BJWWNpSngwS093NithR1NBM3k4YklvN3UxK3Y2V3lDSHYvL1dqRHI2MldGRy9nNC94RzlBckR3TjZ0WHpLdjIvWEhQVHQydXhBSGdBZ1B5ZWQzNUpFL3VTTGQxMVRQTGEwSVJZZlU1Z1ZCRVM2UXpBakFIdkdwcWxuclZUb1h3UEdmdU9vNXhldUZjQ1VyTmhVQzJEK25oOEF3TU5Bc083NElZTUFIQVBnR0V1a0NLb0RBQndCa1I0QXV1MzVTY0h2UzEwbzZnSFVBbEtyME8wQytRS2lHMFYxQTlTc2R5S2g5WGQ4dWpQaFZ5WUZyUElwNXd3UFdIcW1BYTV6QlNOa253TWh1NkxSTElXdVNINXVJaUx5RzErVUFsVzhYUmtKWDErWWRjQnN4eUtqQlBKNzExWjhQdldzbXMrQmhiQ3NoWERkcFdFVCsyell2SGNiQU9BR0lJNFY1ZXNBSEhRdzNtK1BIOVF0RHF1M0RlbHRvTjFGa1EwTDJWREpBcEFOTWRsR2tRMGdDN0JpbHBpb2loV3pES0lxR29VZ2FsekVMS0EyWnN6T0x2RjQxYzVQdHRhVW9QVlhvVmVjTnpJL1V0QnJxQ2pHR09DY1RjQzV0bWgzUmVKeklqc2pFWWhpWVd1Zm40aUlNcGN2U29FRktkMFppYUtveTBIdUpOSmRnY3VnZWhrc0N6bVNyWnVtbmxVdXdES2p1bHdzK2NRWWJNMnl6TFlqcTFFaGl4YzdCejdGejNZZlphakZJY3BEZTcxeEJnSkhGSnpWTjVBbFIxakdQZEt5N0dNTk1Ob0NSa2RVaXdFUmxkYU5ycXFLUkhmY3RyTDhzMVRtSlNJaWYvQkZLYmh0WmZtNmg4Y1Ayd1VnOFlpbFJFUUVRSkVDUlNKeUdRQllGdURBeHVZZWNEZDk2K3l0VU4wSXdXWlY3QlNSbldxMEJrQ3RxTmE1bHRZSFhVUWNXK0syc2VKV0lCNFB1RmE4MFlJVGlNQUo1RnUyRXpkQlk1dGd3QWtHWGNzRTFkV2dRcklEbG5SUm9Cc0VYU0hhWGRYcUpVQXZFUjBBeFdDSURNRGVJZWVXamIxSEFYUjM3bGIvRVNPT2cvcFliRW1ySDBDZFduMDRqbGRYYkUrNGJVRFBQQXdmY1BEeEFWN1lVTkdJZFJXSkJ4UFdOTVk2T0EwUithSVVBTkNHV0h4UjFIVXZ5N2JiUDZaT2QzOGdENFRJUU9DcnoySDVjb1Mxd0FaZ0FydVhtVlFiY0RVSTF3S0NBSkFEdUM0Z2xnMWJiYWdOV0xEMisyM0xQdi8yMWVkOEs3Lyt0MUoxTkFaQTMwL2VNMUk2MjFZVHdSMy9iMVhDYlplY2VOUkJTNEZyRkk3YjlybVVBN2JWNHBVSHJiRnc5WTR2MTE4Z0l1LzVwUlFBME1XVjRjaGxBd3J5dlE2U05xcWpVY0FveHhQUUliMzM2VTdjT0dkWm14OG5BdlFxek1hcFEzdmhrcE9PYXRQVkQwU1VmbnhUQ2x4QmFWVWtESmFDcjFSR0lvMmxxemJ4OUVHRzZOODlCemRQT2piaHRvRTlVek1Uc0NwUVZSL0YzTEt0bUZ1MkZWZWNNZ0MvbURJTUFidDFLNVdlUGFKUGk1Y3NQdkxhQm15c0RDVXpMaEVkZ205S1FUaFd2cW8yK3JVd2dGeXZzNlNEdURHb2lVYVdQUTI0WG1laGp0RTFONGhKSjdSN2xlVjJlZks5TGJCRThNdXBYMnZWL1l2N0ZhSzRYMkhDYmMrOHY0V2xnS2lEdGE3T2R3SWxheEdyamNYZWRRKzFMa0NHcUluR1lGUkt2YzVCbWVmLzN0Mk1kZHM1RXlGUlorU2JJd1VBNEtvdXFvcEV6K21YeDRNRk5kRW8xTGhjSFpIYTVaVTd2NEZlWFpxdjBPZ2F4WlpkVFhqcXZjMTQrdjB2OXR1bUFKNTZid3VtWGZMMURrcEpSTW5pcTFKZ3FmdEJWU1FNbGdLZ01oS0pDOEp2ZTUyRE9yZGd3RUpXZ2pVTEFPRFkvb1dZZnNsd1dDSjQ4cjB0KzIzN2VHdDlSOFFqb2lUelZTa0lob0pMcS9OaUxqSjhXVG1qaWwyUnlONTFIeWhETk1WY0xOOVlrM0JiejhKc0REeklHZ1R0TVdsMC8yYWxvRDRjYjlWaksyckQyRjRUU2JpdE1kSnMvakFpU2pGZmxZS2IxNit2LzMyWDRoV3FPa2JhTU1tUDM5VEZZbkNNbG5tZGd6clc1cDFOK01HZkVnOGp1ZVRFb3pEenN1RXBlZDJ1dWNGbXQrVm50MjdYOG56Wk5zNVRRSlJHZkRQUWNLKzRNYS9YeERKN0pyVHFhQXdRWGV4MURzb01sZlhObHhnZmVrVGlLd3FJS0wzNTZrZ0JBSWpvdTVYaE1IcGtOeDhjbFNsMlJzSWFqZXNpcjNOUXgrcFZtSVhMVHhtWWNOdlhqa3pOaDdSckZJKy9zLzhLM2lMQXBTY05hTlhqeHhaMXgwOG1GQ2ZjTnJmMEMyeHI0ZFFDRWFXRzcwcUJBMmZKcm1qemJ5NlpRbFZSRllsc21MWm00dzZ2czFESDZsV1lqWmVrYWxjQUFBc0xTVVJCVkJ2T0xVcnFjMjZvYUVSMVkvUDNrekhBOXBvd25ucC9DOTcvYk5kKzI2NCs3V2djTjdCMTZ5eU1HZElEWTRiMFNManR3M1c3V0FxSU9wanZTc0VkeTdkcys5UFkzSElBUTd6TzRvVkd4MEhZZFRtTElTWEZEWSswL3E5U3dCWmNjK2FRRnIvNUUxSDY4OTJZQWdBSU8rN0N4bmpyUmovN1RVMDBCbEh3VWtUcVVEbFpObjc3L2VQeDAvT0wyN0tRSnhHbEdWK1dBbFh6ZG1VNE13ODc3b3hFNEJybHBFWFVvU0l4RnpmOWRUbitQSDg5VkwxT1EwU0h5M2VuRHdEQUtNcXFJaEVNNlpKNUk2QXJJK0hLTzFadC9OVHJITlR4WXE3QjF1cW1oTnZ5c2dQb25wL1Y1dWZzMnpVbndkTElpc2FJbTNBdWdvZGYyNEFCUFhOeDBkZ2pXL1g4OWVFNEdscVkweUFhNTVUbFJCM05sNlhnamxVYlAzdDQvTEJkQUhwNm5hVWpoUjBYamJFNDV5ZklVT1U3UXBqMHE4Um5qZzUzbm9KLzNuSVNlaWVZNWxnVitHeGJQVXFlWG91UHZ0aC85c0svdjdtcDFhWGdpWGMyYzU0Q29qVGl5OU1IQUxRaEZuc2o2bWJXQW9FMTBTZ1U4cjdYT2NqL1JJQ2hSM2JCSDY4ZGpaemcvcnVSejdZM1lsTVZKOU1rNm94OGVhUmdqemNxSTVGTEIrVG5lNTJqdzFSSG96QmNCQ2xqZGMwTDRzemhmUkp1TzM1d3Q1Uzhacy9DYkp3MnJEY1dydDcvQ3RpUHR0UmpVTzlEdi9lR0hWR0lpOGNsUHFydzlpZFYyTldRMlJPUkVYVTAzNVlDUzFCYUZRNGprMHBCWlRnU1dySnFFMDhmWktqKzNYSnc5eFhIZGZqcmpqK21SN05TOEhrcmp4UjhjM2dmZkxPRkluUE5uMHRaQ29nNm1GOVBINkErVnI2cUpoYkxtRXNRNHNhZ0poWloralNRV2VkTXlITzlDcHVQT2Fpc3o1aTNIcEd2K0xZVWxLeEZyQzRhZThjeG1UR0N1VFlhaFZGSnZCb09VUXAxeld1K0lGSjFJNy9oRTNWR3ZpMEZBT0NxTHRvVnlZeHZMTlhSR01RRjF6dWdEcGVvRkZUV1plNVU0MFNkbVcvSEZBQUFqUHRoWlNTS3ZubXBXVWMrblZSRkluR1Z4cmU4emtIZVVRQ09tL2pJbUlna21HOGdPUkpkc2xpK294R3UwVU8rcGpFSzA4SnNSNXdFaWFqaitib1V1STMyMHVxOGlJSFBqNGdZVlZTRkkydC92bW9IcndQTFlKOXVhOENZTzE1THVPMXc1eWxvamE1NVdlamZQUWZiOTFtOEtCSTNlT3VqS3B4NVhPSkJoSHM5K25vNTV5a2dTaU8rTGdXL0xDK3ZlN0I3OFFwVkhTMCtucEM5TGhhRG84cXJEdWl3SGR1L0VQZGUyZnpLaGNLY1ErOGlSSUJmWFRVU1h4d3dtMkxYL09hbkZZZ292Zm02RkFCQXpEVUxhNkt4MFQxeW1oL2k5SXVhYUF5QUx2WTZCM2tyTDl2R3FLTVR6MGN3cEcvQlFSL2J0MXNPSnJkeUZzSkVSZy9wanRGRHVyZjVjVWYxek1QSnh5YWVlSFR0bGpyVWg1M0R6a1JFYmVmN1VxQXc3MVZHd3ZCekthaUtoRFhtY0JHa1REZXdaeDRldW42czF6SGE1SUxSL1hIQjZQNEp0MTN6NTFJc0xhL3A0RVJFbWMzWDU5b0JJS3JPa2wxUi80NkVWZ1dxSXBIeWFXczI3amowdlltSWlGcm0rMUl3ZmVVWFcydWlzWTFlNTBpVlJpZU9pT3R5UEFFUkViV2I3MHNCQUVRZGQyRmpQUEh5ckoxZFRUUUtvL3FPMXptSWlLanp5NGhTb0dyZTNoSDI1eVJHT3lOUnFNRkNyM01RRVZIbjUvdUJoZ0FBbzJVN0l4RVVkU24wT2tuU1ZVYkNsWGVzMnZpcDF6bkllK3NyR2pGaDF1S0UyeWFlY0FSdXZlRFkvVzZMT2dhVC8ydjNmRmZqaW5waTFsVWptajN1eXQrOWg1ckdHSWIwTGNCZmZ0UjhFT050LzdzY2E3YlVvVEEzaUdkdU83WFo5bC9QK3dRTFYxVUFBSjYvNDNUa0JPMzl0di96N2MveDl6Y1RuOTNqWWtoRUhTOGpTc0h0cXpkOSt2RDRZZFVBZW5pZEpaa2lqb3ZHV0p6akNRZ0E0QmhGUlczaVFiWDFUUWxPbitsWDk2OEpKZjRBcnFxTFltZERERjF5c3hKdXIyNk1vYUkyaW5BczhVeUtkYUg0bDYrUmFJYkN4b2pUWW1ZaTZuZ1pjZm9BZ0RiRVk0dWlycjhXRUt5T1JRR1ZEN3pPUVVSRS9wQXBwUUNpdXJqU1orTUtxaU5SaUxvY1QwQkVSRW1STWFWQUlhVlZrYkRYTVpLcU1od0pEVmkxaWFjUGZNOWZSN2lTem9CTEp4RWxTY2FVZ3NaNCtjcWFXTXczaHdvY1kxQVRpeXk3bko4WXZ1YzRVZjQvUGdqWGpmRDNRNVFrR1RIUUVBQksxaUwyd09qWWU2N1JzMUsxaEd4SHFvbEdBWlVQdmM1QnFSY1BWVWR6dWh4OHRjRkRhWW81MkY2ei81R3ltUFBWNE1CbzNEVGJEZ0R1bnUvZ2pwdDQrOTduTUtvSnQ0ZGpYMzFlVjlSR2tCUGMvM3RJWTZUOWF4dkVROVgrT2dSSTVLR01LUVVBWUl4NWZXYzBjbGJmM0Z5dm83UmJkVFFHRlN6eU9nZWxYcmhtUzFOQjMyS0lkZmh2MTFlV1YrQ1Y1UlV0YmkvYlVJM3paNy9WNHZieXl0QkJ0emVFbllOdUI0Q0w3MHYrSEZ0cVhFU3FOemNtL1ltSk1sVEduRDRBQURYV0IzNFpiRmdWaWNUVmJUejRYcGo4d2NUQzBYb3ViWkZJUEZRTjE0MkZ2TTVCNUJjWlZRcmNSbDFhSFkwa3ZxQzZFekdxMkJtTnJQMzVxaDNjR1dZQU1ib2pYTDNaNnhocHFhbjZjeGlSYlY3bklQS0xqQ29Gdnl3dnI2dUx4VmRvb2xsVU9wRzZXQXh4VjNuVlFZYUlOelY5R20rcWRYaTBZSCt4MEM3RUdxdU1wYkZsWG1jaDhvdU1LZ1VBRUhPZDEydGpuWHY2MUpwb0RJQXU5am9IZFl5ZDcvNjFRWUEzR25kOEFuWDl1YkJYVzZseDBGanhNUUNzM2JIZ29VcXY4eEQ1UmNhVkFvVyt1M1RuTGtTY3pua1ZVMDAwaXJVMU5hcHh3MEdHR1VUVlBHSmlUYWpic2dLZC9VaFhlNmtxR3JhdWhodHBnRUtmOERvUGtaOWtYQ213MVZsU0c0dGgvdGF0K0t5dURwRk9NdlZ4UXp5T2xidXFzV2piZGtTTktmL0YyazB0RHlVbjM2bFkwUE5aQlZiSFF6dFJ2M1VsMUhTT3Y3Zkpwc2FnY2ZzYVJPc3JvS3JiZGtUcWYrdDFKaUkvc1E5OUYzK1p2Nk8rNGR4K1BhNHowQzQ3d2hHc3I2dEhmVHdPbzBDV1pTRm9wVWRQVWlnYVlnNitDSVd3cHJvR3E2cHJVQjNkczNDTTZxSUZGVFZQZTV1UU90Wml6Ujh5N2xNUjY3dHV0RkZpb1owSTV2ZUFaU2RlcU1pUDNIZ1k5VnVXSTlhd2UyeUZpdndzdFBCaGpxMGhTcUtNS3dVQWNGNy9idldpY2hFRW9nRHE0M0ZzYldyQ3V2cDZiRzVzUkhVMGlpYkhoYU83TDFTd0xZRWxxWnZ3eURFR2pmRTRka1dqMkJvSzRiTzZPcXlxcnNHbmRYV29DSWNSY3I2YTRFVVZEWllqTnk2b3JObVNza0NVbGtJYlNqZm1EemtwSm9KempCTkZwSG96MU1SaFp4ZkNzdjA3NVloeG9taXEyb0Q2TFN0ZzRudm1LVko5ckdMK2czZDdtNHpJZnpyLzFINkg2YjZSZzg2M0xPcy9JWEo4YSs2Zlk5c29DQWFSYTl2SXRpeGsyemFDdG9XZ1dMQkU5dndBbGdnRWdOSGQzL2FOS293Q3Jpcml4aUJtWEVUZDNmOXNjaHcweGgzRVRHdXVrbFJYRmErTE9EKzdmZm5tajlyM3A2Zk9yTitFbS84b0lqL2Q5N1pnZmc5a0ZmU0duWlVQc1lPUUZKYllWRk5WcUluRGpUWWhGdHFKZU9QT0E3YWJlUlh6Szc0RlBKMlo1MUNJVXFqejdqbVM1TDRUQm4zVGd2MWpoWDVUSVAyOHpuTUFoZXBuQUJiR0ZBL2V1Ykw4TTY4RFVYcm9OK0hXbjRyb0F3QXk1dnlCQWthZy83MzkxUWZ2OURvTGtWOWxmQ25ZMTMwamp4NHRsalZSWUkwRU1CeUNZOUNoTzEwTlFmRVJSRDZDTVV2am9pLzh4NHBObXpydTlha3o2VFB4cGlMYldMOEJkRXFuUGpUUUNxcjZCa1R1cUhqMTl4eERRSlJDdnQ2UnROZkRRTEIyNU9BaGxpWEZDaFRicWtQVWt0NkFkQVBRVFlCdUNuVEY3dUlRVkdoUUlFR28yb0E0RUkwREVsY2dEa1VVMEZvQmFnSFVRcVFHYWlwVXJRMndkRU5BemZxZnJkajBPY0JsWUtsdGVwNTM0N0NnV0Q4VWtWTlZVUXhvRHhFSmVwM3JjS2tpTG9JNlZXd1E2QWRRL0dQN2dnZVhlcDJMaUlpSWlJaUlpSWlJaUlpSWlJaUlpSWlJaUlpSWlJaUlpSWlJaUlpSWlJaUlpSWlJaUlpSWlJaUlpSWlJaUlpSWlJaUlpSWlJaUlpSWlJaUlpSWlJaUlpSWlJaUlpSWlJaUlpSWlJaUlpSWlJaUlpSWlJaUlpSWlJaUlpSWlJaUlpSWlJaUlpSWlJaUlpSWlJaUlpSWlJaUlpSWlJaUlpSWlJaUlpSWlJaUlpSXZQZi9BUXhTbkNwOWtFTTdBQUFBQUVsRlRrU3VRbUNDIiwKCSJUaGVtZSIgOiAiIiwKCSJUeXBlIiA6ICJmbG93IiwKCSJWZXJzaW9uIiA6ICI1Igp9Cg=="/>
    </extobj>
  </extobjs>
</s:customData>
</file>

<file path=customXml/itemProps1.xml><?xml version="1.0" encoding="utf-8"?>
<ds:datastoreItem xmlns:ds="http://schemas.openxmlformats.org/officeDocument/2006/customXml" ds:itemID="{00C791A6-BC97-44AC-A46A-DED0F6F452B1}">
  <ds:schemaRefs/>
</ds:datastoreItem>
</file>

<file path=customXml/itemProps2.xml><?xml version="1.0" encoding="utf-8"?>
<ds:datastoreItem xmlns:ds="http://schemas.openxmlformats.org/officeDocument/2006/customXml" ds:itemID="{7A5976A5-36B7-43F3-A03B-2CBA3FEA9E8A}">
  <ds:schemaRefs/>
</ds:datastoreItem>
</file>

<file path=customXml/itemProps3.xml><?xml version="1.0" encoding="utf-8"?>
<ds:datastoreItem xmlns:ds="http://schemas.openxmlformats.org/officeDocument/2006/customXml" ds:itemID="{A27D41F5-26B3-4256-AEA2-BCF714AB9088}">
  <ds:schemaRefs/>
</ds:datastoreItem>
</file>

<file path=customXml/itemProps4.xml><?xml version="1.0" encoding="utf-8"?>
<ds:datastoreItem xmlns:ds="http://schemas.openxmlformats.org/officeDocument/2006/customXml" ds:itemID="{F7599CB2-0CFA-4D5E-B9CC-F9832D53FF15}">
  <ds:schemaRefs>
    <ds:schemaRef ds:uri="http://www.wps.cn/officeDocument/2013/wpsCustomDat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7</TotalTime>
  <Words>277</Words>
  <Application>Microsoft Office PowerPoint</Application>
  <PresentationFormat>宽屏</PresentationFormat>
  <Paragraphs>75</Paragraphs>
  <Slides>1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9" baseType="lpstr">
      <vt:lpstr>等线</vt:lpstr>
      <vt:lpstr>Arial</vt:lpstr>
      <vt:lpstr>Calibri</vt:lpstr>
      <vt:lpstr>Wingdings</vt:lpstr>
      <vt:lpstr>OfficePLUS主题</vt:lpstr>
      <vt:lpstr>主题5</vt:lpstr>
      <vt:lpstr>1_OfficePLUS主题</vt:lpstr>
      <vt:lpstr>think-cell Slide</vt:lpstr>
      <vt:lpstr>Progress Guard：Team project management platform</vt:lpstr>
      <vt:lpstr>PowerPoint 演示文稿</vt:lpstr>
      <vt:lpstr>System Implementation</vt:lpstr>
      <vt:lpstr>System Contribution</vt:lpstr>
      <vt:lpstr>Scalability and Elasticity</vt:lpstr>
      <vt:lpstr>AWS Components</vt:lpstr>
      <vt:lpstr>AWS Components</vt:lpstr>
      <vt:lpstr>Project Contribution</vt:lpstr>
      <vt:lpstr>Project Contribution</vt:lpstr>
      <vt:lpstr>System video demo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lai</cp:lastModifiedBy>
  <cp:revision>98</cp:revision>
  <cp:lastPrinted>2019-11-27T16:00:00Z</cp:lastPrinted>
  <dcterms:created xsi:type="dcterms:W3CDTF">2019-11-27T16:00:00Z</dcterms:created>
  <dcterms:modified xsi:type="dcterms:W3CDTF">2023-07-23T11:4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  <property fmtid="{D5CDD505-2E9C-101B-9397-08002B2CF9AE}" pid="4" name="ICV">
    <vt:lpwstr>057FA9C5AEC9455CB9566089CB0DB9A8_12</vt:lpwstr>
  </property>
  <property fmtid="{D5CDD505-2E9C-101B-9397-08002B2CF9AE}" pid="5" name="KSOProductBuildVer">
    <vt:lpwstr>2052-12.1.0.15120</vt:lpwstr>
  </property>
</Properties>
</file>